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gif" ContentType="image/gif"/>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Override1.xml" ContentType="application/vnd.openxmlformats-officedocument.themeOverride+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2.xml" ContentType="application/vnd.openxmlformats-officedocument.presentationml.notesSlide+xml"/>
  <Override PartName="/ppt/tags/tag1.xml" ContentType="application/vnd.openxmlformats-officedocument.presentationml.tags+xml"/>
  <Override PartName="/ppt/notesSlides/notesSlide13.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4.xml" ContentType="application/vnd.openxmlformats-officedocument.presentationml.tags+xml"/>
  <Override PartName="/ppt/notesSlides/notesSlide22.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18.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4"/>
  </p:sldMasterIdLst>
  <p:notesMasterIdLst>
    <p:notesMasterId r:id="rId69"/>
  </p:notesMasterIdLst>
  <p:handoutMasterIdLst>
    <p:handoutMasterId r:id="rId70"/>
  </p:handoutMasterIdLst>
  <p:sldIdLst>
    <p:sldId id="283" r:id="rId5"/>
    <p:sldId id="264" r:id="rId6"/>
    <p:sldId id="358" r:id="rId7"/>
    <p:sldId id="359" r:id="rId8"/>
    <p:sldId id="360" r:id="rId9"/>
    <p:sldId id="337" r:id="rId10"/>
    <p:sldId id="338" r:id="rId11"/>
    <p:sldId id="340" r:id="rId12"/>
    <p:sldId id="339" r:id="rId13"/>
    <p:sldId id="341" r:id="rId14"/>
    <p:sldId id="363" r:id="rId15"/>
    <p:sldId id="297" r:id="rId16"/>
    <p:sldId id="335" r:id="rId17"/>
    <p:sldId id="294" r:id="rId18"/>
    <p:sldId id="295" r:id="rId19"/>
    <p:sldId id="296" r:id="rId20"/>
    <p:sldId id="293" r:id="rId21"/>
    <p:sldId id="362" r:id="rId22"/>
    <p:sldId id="361" r:id="rId23"/>
    <p:sldId id="315" r:id="rId24"/>
    <p:sldId id="319" r:id="rId25"/>
    <p:sldId id="320" r:id="rId26"/>
    <p:sldId id="322" r:id="rId27"/>
    <p:sldId id="344" r:id="rId28"/>
    <p:sldId id="345" r:id="rId29"/>
    <p:sldId id="346" r:id="rId30"/>
    <p:sldId id="347" r:id="rId31"/>
    <p:sldId id="348" r:id="rId32"/>
    <p:sldId id="350" r:id="rId33"/>
    <p:sldId id="352" r:id="rId34"/>
    <p:sldId id="353" r:id="rId35"/>
    <p:sldId id="354" r:id="rId36"/>
    <p:sldId id="355" r:id="rId37"/>
    <p:sldId id="324" r:id="rId38"/>
    <p:sldId id="325" r:id="rId39"/>
    <p:sldId id="326" r:id="rId40"/>
    <p:sldId id="342" r:id="rId41"/>
    <p:sldId id="327" r:id="rId42"/>
    <p:sldId id="329" r:id="rId43"/>
    <p:sldId id="330" r:id="rId44"/>
    <p:sldId id="331" r:id="rId45"/>
    <p:sldId id="343" r:id="rId46"/>
    <p:sldId id="356" r:id="rId47"/>
    <p:sldId id="333" r:id="rId48"/>
    <p:sldId id="364" r:id="rId49"/>
    <p:sldId id="365" r:id="rId50"/>
    <p:sldId id="366" r:id="rId51"/>
    <p:sldId id="367" r:id="rId52"/>
    <p:sldId id="368" r:id="rId53"/>
    <p:sldId id="369" r:id="rId54"/>
    <p:sldId id="370" r:id="rId55"/>
    <p:sldId id="371" r:id="rId56"/>
    <p:sldId id="372" r:id="rId57"/>
    <p:sldId id="373" r:id="rId58"/>
    <p:sldId id="374" r:id="rId59"/>
    <p:sldId id="375" r:id="rId60"/>
    <p:sldId id="376" r:id="rId61"/>
    <p:sldId id="377" r:id="rId62"/>
    <p:sldId id="378" r:id="rId63"/>
    <p:sldId id="379" r:id="rId64"/>
    <p:sldId id="380" r:id="rId65"/>
    <p:sldId id="268" r:id="rId66"/>
    <p:sldId id="281" r:id="rId67"/>
    <p:sldId id="284" r:id="rId68"/>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C018ECC4-6DAC-46EB-A4D7-F444844EA491}">
          <p14:sldIdLst>
            <p14:sldId id="283"/>
            <p14:sldId id="264"/>
            <p14:sldId id="358"/>
            <p14:sldId id="359"/>
            <p14:sldId id="360"/>
            <p14:sldId id="337"/>
            <p14:sldId id="338"/>
            <p14:sldId id="340"/>
            <p14:sldId id="339"/>
            <p14:sldId id="341"/>
            <p14:sldId id="363"/>
            <p14:sldId id="297"/>
            <p14:sldId id="335"/>
            <p14:sldId id="294"/>
            <p14:sldId id="295"/>
            <p14:sldId id="296"/>
            <p14:sldId id="293"/>
            <p14:sldId id="362"/>
            <p14:sldId id="361"/>
            <p14:sldId id="315"/>
            <p14:sldId id="319"/>
            <p14:sldId id="320"/>
            <p14:sldId id="322"/>
            <p14:sldId id="344"/>
            <p14:sldId id="345"/>
            <p14:sldId id="346"/>
            <p14:sldId id="347"/>
            <p14:sldId id="348"/>
            <p14:sldId id="350"/>
            <p14:sldId id="352"/>
            <p14:sldId id="353"/>
            <p14:sldId id="354"/>
            <p14:sldId id="355"/>
            <p14:sldId id="324"/>
            <p14:sldId id="325"/>
            <p14:sldId id="326"/>
            <p14:sldId id="342"/>
            <p14:sldId id="327"/>
            <p14:sldId id="329"/>
            <p14:sldId id="330"/>
            <p14:sldId id="331"/>
            <p14:sldId id="343"/>
            <p14:sldId id="356"/>
            <p14:sldId id="333"/>
            <p14:sldId id="364"/>
            <p14:sldId id="365"/>
            <p14:sldId id="366"/>
            <p14:sldId id="367"/>
            <p14:sldId id="368"/>
            <p14:sldId id="369"/>
            <p14:sldId id="370"/>
            <p14:sldId id="371"/>
            <p14:sldId id="372"/>
            <p14:sldId id="373"/>
            <p14:sldId id="374"/>
            <p14:sldId id="375"/>
            <p14:sldId id="376"/>
            <p14:sldId id="377"/>
            <p14:sldId id="378"/>
            <p14:sldId id="379"/>
            <p14:sldId id="380"/>
            <p14:sldId id="268"/>
            <p14:sldId id="281"/>
            <p14:sldId id="284"/>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9B4F96"/>
    <a:srgbClr val="A5397D"/>
    <a:srgbClr val="505050"/>
    <a:srgbClr val="E0397F"/>
    <a:srgbClr val="4DAB88"/>
    <a:srgbClr val="417B6A"/>
    <a:srgbClr val="9F568D"/>
    <a:srgbClr val="4A304F"/>
    <a:srgbClr val="5C2D9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912" autoAdjust="0"/>
    <p:restoredTop sz="58161" autoAdjust="0"/>
  </p:normalViewPr>
  <p:slideViewPr>
    <p:cSldViewPr>
      <p:cViewPr varScale="1">
        <p:scale>
          <a:sx n="43" d="100"/>
          <a:sy n="43" d="100"/>
        </p:scale>
        <p:origin x="1392" y="48"/>
      </p:cViewPr>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00" d="100"/>
        <a:sy n="100" d="100"/>
      </p:scale>
      <p:origin x="0" y="-18692"/>
    </p:cViewPr>
  </p:sorterViewPr>
  <p:notesViewPr>
    <p:cSldViewPr showGuides="1">
      <p:cViewPr varScale="1">
        <p:scale>
          <a:sx n="70" d="100"/>
          <a:sy n="70" d="100"/>
        </p:scale>
        <p:origin x="3240" y="72"/>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theme" Target="theme/theme1.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notesMaster" Target="notesMasters/notesMaster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handoutMaster" Target="handoutMasters/handoutMaster1.xml"/><Relationship Id="rId75"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 Type="http://schemas.openxmlformats.org/officeDocument/2006/relationships/slide" Target="slides/slide3.xml"/><Relationship Id="rId71" Type="http://schemas.openxmlformats.org/officeDocument/2006/relationships/commentAuthors" Target="commentAuthor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A6F02E3-6E80-475D-8839-66318E4F0155}" type="doc">
      <dgm:prSet loTypeId="urn:microsoft.com/office/officeart/2005/8/layout/hProcess11" loCatId="process" qsTypeId="urn:microsoft.com/office/officeart/2005/8/quickstyle/3d2" qsCatId="3D" csTypeId="urn:microsoft.com/office/officeart/2005/8/colors/accent1_2" csCatId="accent1" phldr="1"/>
      <dgm:spPr/>
    </dgm:pt>
    <dgm:pt modelId="{BBBCD777-4241-4981-888C-D38E70F6DF5A}">
      <dgm:prSet phldrT="[Text]"/>
      <dgm:spPr/>
      <dgm:t>
        <a:bodyPr/>
        <a:lstStyle/>
        <a:p>
          <a:r>
            <a:rPr lang="en-US" dirty="0" smtClean="0"/>
            <a:t>CTP 2 Mai 2015</a:t>
          </a:r>
          <a:endParaRPr lang="en-US" dirty="0"/>
        </a:p>
      </dgm:t>
    </dgm:pt>
    <dgm:pt modelId="{15482A1D-D496-4E60-AA4D-600C119A8D1A}" type="parTrans" cxnId="{866774A4-F9EE-4A24-A63F-A41E09000CE2}">
      <dgm:prSet/>
      <dgm:spPr/>
      <dgm:t>
        <a:bodyPr/>
        <a:lstStyle/>
        <a:p>
          <a:endParaRPr lang="en-US"/>
        </a:p>
      </dgm:t>
    </dgm:pt>
    <dgm:pt modelId="{BF1E70E1-2FA1-4FD9-A629-456D079CF99E}" type="sibTrans" cxnId="{866774A4-F9EE-4A24-A63F-A41E09000CE2}">
      <dgm:prSet/>
      <dgm:spPr/>
      <dgm:t>
        <a:bodyPr/>
        <a:lstStyle/>
        <a:p>
          <a:endParaRPr lang="en-US"/>
        </a:p>
      </dgm:t>
    </dgm:pt>
    <dgm:pt modelId="{7A0CA892-FCDE-464E-8F6F-067C88EE000C}">
      <dgm:prSet phldrT="[Text]"/>
      <dgm:spPr/>
      <dgm:t>
        <a:bodyPr/>
        <a:lstStyle/>
        <a:p>
          <a:r>
            <a:rPr lang="en-US" dirty="0" smtClean="0"/>
            <a:t>CTP 3 (FC) </a:t>
          </a:r>
          <a:r>
            <a:rPr lang="en-US" dirty="0" err="1" smtClean="0"/>
            <a:t>Octobre</a:t>
          </a:r>
          <a:r>
            <a:rPr lang="en-US" dirty="0" smtClean="0"/>
            <a:t> 2015</a:t>
          </a:r>
          <a:endParaRPr lang="en-US" dirty="0"/>
        </a:p>
      </dgm:t>
    </dgm:pt>
    <dgm:pt modelId="{A5A7F6BD-5CB9-4E60-936B-6213A4D7F635}" type="parTrans" cxnId="{6182CE3A-C3AA-4DE3-98E7-902DDABFB3B7}">
      <dgm:prSet/>
      <dgm:spPr/>
      <dgm:t>
        <a:bodyPr/>
        <a:lstStyle/>
        <a:p>
          <a:endParaRPr lang="en-US"/>
        </a:p>
      </dgm:t>
    </dgm:pt>
    <dgm:pt modelId="{2C6AE7D1-FB1D-42F9-BADB-EC6B29CC73AF}" type="sibTrans" cxnId="{6182CE3A-C3AA-4DE3-98E7-902DDABFB3B7}">
      <dgm:prSet/>
      <dgm:spPr/>
      <dgm:t>
        <a:bodyPr/>
        <a:lstStyle/>
        <a:p>
          <a:endParaRPr lang="en-US"/>
        </a:p>
      </dgm:t>
    </dgm:pt>
    <dgm:pt modelId="{0E9E3181-93A1-4A3F-A384-1B206213C7C6}">
      <dgm:prSet phldrT="[Text]"/>
      <dgm:spPr/>
      <dgm:t>
        <a:bodyPr/>
        <a:lstStyle/>
        <a:p>
          <a:r>
            <a:rPr lang="en-US" dirty="0" smtClean="0"/>
            <a:t>RTM           </a:t>
          </a:r>
          <a:r>
            <a:rPr lang="en-US" dirty="0" err="1" smtClean="0"/>
            <a:t>été</a:t>
          </a:r>
          <a:r>
            <a:rPr lang="en-US" dirty="0" smtClean="0"/>
            <a:t> 2016</a:t>
          </a:r>
          <a:endParaRPr lang="en-US" dirty="0"/>
        </a:p>
      </dgm:t>
    </dgm:pt>
    <dgm:pt modelId="{1C3DED5E-C7D1-41E8-BEAB-666D89F12DB0}" type="parTrans" cxnId="{9A06874C-B979-4269-BECA-514AAE3FBA11}">
      <dgm:prSet/>
      <dgm:spPr/>
      <dgm:t>
        <a:bodyPr/>
        <a:lstStyle/>
        <a:p>
          <a:endParaRPr lang="en-US"/>
        </a:p>
      </dgm:t>
    </dgm:pt>
    <dgm:pt modelId="{8483A446-8FE0-47BA-89E3-15142CB3AA09}" type="sibTrans" cxnId="{9A06874C-B979-4269-BECA-514AAE3FBA11}">
      <dgm:prSet/>
      <dgm:spPr/>
      <dgm:t>
        <a:bodyPr/>
        <a:lstStyle/>
        <a:p>
          <a:endParaRPr lang="en-US"/>
        </a:p>
      </dgm:t>
    </dgm:pt>
    <dgm:pt modelId="{E0B819AA-C1EB-4A9E-862B-8FF33801390E}">
      <dgm:prSet phldrT="[Text]"/>
      <dgm:spPr/>
      <dgm:t>
        <a:bodyPr/>
        <a:lstStyle/>
        <a:p>
          <a:r>
            <a:rPr lang="en-US" dirty="0" err="1" smtClean="0"/>
            <a:t>Pleins</a:t>
          </a:r>
          <a:r>
            <a:rPr lang="en-US" dirty="0" smtClean="0"/>
            <a:t> de CTP à </a:t>
          </a:r>
          <a:r>
            <a:rPr lang="en-US" dirty="0" err="1" smtClean="0"/>
            <a:t>partir</a:t>
          </a:r>
          <a:r>
            <a:rPr lang="en-US" dirty="0" smtClean="0"/>
            <a:t> de </a:t>
          </a:r>
          <a:r>
            <a:rPr lang="en-US" dirty="0" err="1" smtClean="0"/>
            <a:t>Juin</a:t>
          </a:r>
          <a:endParaRPr lang="en-US" dirty="0"/>
        </a:p>
      </dgm:t>
    </dgm:pt>
    <dgm:pt modelId="{1C443C8B-5137-40FA-B1B5-00F68A52D9CD}" type="parTrans" cxnId="{63D307C5-E0F3-4B03-AACC-3C990E4867B9}">
      <dgm:prSet/>
      <dgm:spPr/>
      <dgm:t>
        <a:bodyPr/>
        <a:lstStyle/>
        <a:p>
          <a:endParaRPr lang="en-US"/>
        </a:p>
      </dgm:t>
    </dgm:pt>
    <dgm:pt modelId="{D1DB0483-BE18-4344-B0C0-F65B137CA502}" type="sibTrans" cxnId="{63D307C5-E0F3-4B03-AACC-3C990E4867B9}">
      <dgm:prSet/>
      <dgm:spPr/>
      <dgm:t>
        <a:bodyPr/>
        <a:lstStyle/>
        <a:p>
          <a:endParaRPr lang="en-US"/>
        </a:p>
      </dgm:t>
    </dgm:pt>
    <dgm:pt modelId="{94496F75-EEA3-4325-8178-08F0AF9AB32E}" type="pres">
      <dgm:prSet presAssocID="{AA6F02E3-6E80-475D-8839-66318E4F0155}" presName="Name0" presStyleCnt="0">
        <dgm:presLayoutVars>
          <dgm:dir/>
          <dgm:resizeHandles val="exact"/>
        </dgm:presLayoutVars>
      </dgm:prSet>
      <dgm:spPr/>
    </dgm:pt>
    <dgm:pt modelId="{05CFBE7D-6AED-4B50-A319-DFD4B4C7D1E4}" type="pres">
      <dgm:prSet presAssocID="{AA6F02E3-6E80-475D-8839-66318E4F0155}" presName="arrow" presStyleLbl="bgShp" presStyleIdx="0" presStyleCnt="1"/>
      <dgm:spPr/>
    </dgm:pt>
    <dgm:pt modelId="{A1FE0FB5-AF0D-4F16-A5DB-283F84C6C406}" type="pres">
      <dgm:prSet presAssocID="{AA6F02E3-6E80-475D-8839-66318E4F0155}" presName="points" presStyleCnt="0"/>
      <dgm:spPr/>
    </dgm:pt>
    <dgm:pt modelId="{A1CAF83C-A873-40A5-BA52-DB37492BD480}" type="pres">
      <dgm:prSet presAssocID="{BBBCD777-4241-4981-888C-D38E70F6DF5A}" presName="compositeA" presStyleCnt="0"/>
      <dgm:spPr/>
    </dgm:pt>
    <dgm:pt modelId="{337318EF-73A0-45FA-88A2-61F608047E65}" type="pres">
      <dgm:prSet presAssocID="{BBBCD777-4241-4981-888C-D38E70F6DF5A}" presName="textA" presStyleLbl="revTx" presStyleIdx="0" presStyleCnt="4" custScaleX="157971">
        <dgm:presLayoutVars>
          <dgm:bulletEnabled val="1"/>
        </dgm:presLayoutVars>
      </dgm:prSet>
      <dgm:spPr/>
      <dgm:t>
        <a:bodyPr/>
        <a:lstStyle/>
        <a:p>
          <a:endParaRPr lang="en-US"/>
        </a:p>
      </dgm:t>
    </dgm:pt>
    <dgm:pt modelId="{0276FFD2-C92D-4D8D-B101-8554C6A14BF9}" type="pres">
      <dgm:prSet presAssocID="{BBBCD777-4241-4981-888C-D38E70F6DF5A}" presName="circleA" presStyleLbl="node1" presStyleIdx="0" presStyleCnt="4"/>
      <dgm:spPr/>
    </dgm:pt>
    <dgm:pt modelId="{260FB27D-7762-414C-BF63-1022A8118F90}" type="pres">
      <dgm:prSet presAssocID="{BBBCD777-4241-4981-888C-D38E70F6DF5A}" presName="spaceA" presStyleCnt="0"/>
      <dgm:spPr/>
    </dgm:pt>
    <dgm:pt modelId="{CD891EC2-3FBB-4926-986A-60067D905AD3}" type="pres">
      <dgm:prSet presAssocID="{BF1E70E1-2FA1-4FD9-A629-456D079CF99E}" presName="space" presStyleCnt="0"/>
      <dgm:spPr/>
    </dgm:pt>
    <dgm:pt modelId="{FD530007-F041-4723-98D3-3EEFBD316181}" type="pres">
      <dgm:prSet presAssocID="{E0B819AA-C1EB-4A9E-862B-8FF33801390E}" presName="compositeB" presStyleCnt="0"/>
      <dgm:spPr/>
    </dgm:pt>
    <dgm:pt modelId="{782C66B0-20C3-4B87-A678-2A543699C2D1}" type="pres">
      <dgm:prSet presAssocID="{E0B819AA-C1EB-4A9E-862B-8FF33801390E}" presName="textB" presStyleLbl="revTx" presStyleIdx="1" presStyleCnt="4">
        <dgm:presLayoutVars>
          <dgm:bulletEnabled val="1"/>
        </dgm:presLayoutVars>
      </dgm:prSet>
      <dgm:spPr/>
      <dgm:t>
        <a:bodyPr/>
        <a:lstStyle/>
        <a:p>
          <a:endParaRPr lang="en-US"/>
        </a:p>
      </dgm:t>
    </dgm:pt>
    <dgm:pt modelId="{41141D70-EDBE-4D3F-B0CF-9920FD6D4226}" type="pres">
      <dgm:prSet presAssocID="{E0B819AA-C1EB-4A9E-862B-8FF33801390E}" presName="circleB" presStyleLbl="node1" presStyleIdx="1" presStyleCnt="4"/>
      <dgm:spPr/>
    </dgm:pt>
    <dgm:pt modelId="{28323D4A-16BB-4872-8AE1-B54DC9AC06E1}" type="pres">
      <dgm:prSet presAssocID="{E0B819AA-C1EB-4A9E-862B-8FF33801390E}" presName="spaceB" presStyleCnt="0"/>
      <dgm:spPr/>
    </dgm:pt>
    <dgm:pt modelId="{DBFD02A1-BD63-4D28-BA04-48DFF04BC94B}" type="pres">
      <dgm:prSet presAssocID="{D1DB0483-BE18-4344-B0C0-F65B137CA502}" presName="space" presStyleCnt="0"/>
      <dgm:spPr/>
    </dgm:pt>
    <dgm:pt modelId="{DB55FB81-3BA7-4511-A8AD-92A32BF1DCD3}" type="pres">
      <dgm:prSet presAssocID="{7A0CA892-FCDE-464E-8F6F-067C88EE000C}" presName="compositeA" presStyleCnt="0"/>
      <dgm:spPr/>
    </dgm:pt>
    <dgm:pt modelId="{F1112AAB-B707-4D80-977C-8F2D91C42EDA}" type="pres">
      <dgm:prSet presAssocID="{7A0CA892-FCDE-464E-8F6F-067C88EE000C}" presName="textA" presStyleLbl="revTx" presStyleIdx="2" presStyleCnt="4" custScaleX="166291">
        <dgm:presLayoutVars>
          <dgm:bulletEnabled val="1"/>
        </dgm:presLayoutVars>
      </dgm:prSet>
      <dgm:spPr/>
      <dgm:t>
        <a:bodyPr/>
        <a:lstStyle/>
        <a:p>
          <a:endParaRPr lang="en-US"/>
        </a:p>
      </dgm:t>
    </dgm:pt>
    <dgm:pt modelId="{26B0ED47-7652-48EE-B97B-6D0CAFC7DF5D}" type="pres">
      <dgm:prSet presAssocID="{7A0CA892-FCDE-464E-8F6F-067C88EE000C}" presName="circleA" presStyleLbl="node1" presStyleIdx="2" presStyleCnt="4"/>
      <dgm:spPr/>
    </dgm:pt>
    <dgm:pt modelId="{DD503CB3-2525-4D53-B8BD-979127D4E92E}" type="pres">
      <dgm:prSet presAssocID="{7A0CA892-FCDE-464E-8F6F-067C88EE000C}" presName="spaceA" presStyleCnt="0"/>
      <dgm:spPr/>
    </dgm:pt>
    <dgm:pt modelId="{8050C568-ADF5-4D14-AC00-E97ACEE9AD7E}" type="pres">
      <dgm:prSet presAssocID="{2C6AE7D1-FB1D-42F9-BADB-EC6B29CC73AF}" presName="space" presStyleCnt="0"/>
      <dgm:spPr/>
    </dgm:pt>
    <dgm:pt modelId="{A5A91DD8-6F27-439E-990D-AE3A1A281254}" type="pres">
      <dgm:prSet presAssocID="{0E9E3181-93A1-4A3F-A384-1B206213C7C6}" presName="compositeB" presStyleCnt="0"/>
      <dgm:spPr/>
    </dgm:pt>
    <dgm:pt modelId="{E32EB201-9FFF-4E54-B4BB-7CA567707791}" type="pres">
      <dgm:prSet presAssocID="{0E9E3181-93A1-4A3F-A384-1B206213C7C6}" presName="textB" presStyleLbl="revTx" presStyleIdx="3" presStyleCnt="4">
        <dgm:presLayoutVars>
          <dgm:bulletEnabled val="1"/>
        </dgm:presLayoutVars>
      </dgm:prSet>
      <dgm:spPr/>
      <dgm:t>
        <a:bodyPr/>
        <a:lstStyle/>
        <a:p>
          <a:endParaRPr lang="en-US"/>
        </a:p>
      </dgm:t>
    </dgm:pt>
    <dgm:pt modelId="{8A843190-9E16-489D-A62B-40A100EC8C6F}" type="pres">
      <dgm:prSet presAssocID="{0E9E3181-93A1-4A3F-A384-1B206213C7C6}" presName="circleB" presStyleLbl="node1" presStyleIdx="3" presStyleCnt="4"/>
      <dgm:spPr/>
    </dgm:pt>
    <dgm:pt modelId="{DB201CC6-3966-4E31-A735-C4D111CF347E}" type="pres">
      <dgm:prSet presAssocID="{0E9E3181-93A1-4A3F-A384-1B206213C7C6}" presName="spaceB" presStyleCnt="0"/>
      <dgm:spPr/>
    </dgm:pt>
  </dgm:ptLst>
  <dgm:cxnLst>
    <dgm:cxn modelId="{866774A4-F9EE-4A24-A63F-A41E09000CE2}" srcId="{AA6F02E3-6E80-475D-8839-66318E4F0155}" destId="{BBBCD777-4241-4981-888C-D38E70F6DF5A}" srcOrd="0" destOrd="0" parTransId="{15482A1D-D496-4E60-AA4D-600C119A8D1A}" sibTransId="{BF1E70E1-2FA1-4FD9-A629-456D079CF99E}"/>
    <dgm:cxn modelId="{262DDA3B-DD74-4DEA-9346-ACE9A4FE3E81}" type="presOf" srcId="{BBBCD777-4241-4981-888C-D38E70F6DF5A}" destId="{337318EF-73A0-45FA-88A2-61F608047E65}" srcOrd="0" destOrd="0" presId="urn:microsoft.com/office/officeart/2005/8/layout/hProcess11"/>
    <dgm:cxn modelId="{9A06874C-B979-4269-BECA-514AAE3FBA11}" srcId="{AA6F02E3-6E80-475D-8839-66318E4F0155}" destId="{0E9E3181-93A1-4A3F-A384-1B206213C7C6}" srcOrd="3" destOrd="0" parTransId="{1C3DED5E-C7D1-41E8-BEAB-666D89F12DB0}" sibTransId="{8483A446-8FE0-47BA-89E3-15142CB3AA09}"/>
    <dgm:cxn modelId="{63D307C5-E0F3-4B03-AACC-3C990E4867B9}" srcId="{AA6F02E3-6E80-475D-8839-66318E4F0155}" destId="{E0B819AA-C1EB-4A9E-862B-8FF33801390E}" srcOrd="1" destOrd="0" parTransId="{1C443C8B-5137-40FA-B1B5-00F68A52D9CD}" sibTransId="{D1DB0483-BE18-4344-B0C0-F65B137CA502}"/>
    <dgm:cxn modelId="{587309CA-6BFB-48E8-8689-669A2DCC4D7C}" type="presOf" srcId="{7A0CA892-FCDE-464E-8F6F-067C88EE000C}" destId="{F1112AAB-B707-4D80-977C-8F2D91C42EDA}" srcOrd="0" destOrd="0" presId="urn:microsoft.com/office/officeart/2005/8/layout/hProcess11"/>
    <dgm:cxn modelId="{F41CA8BB-7467-445E-837A-AF970846DA20}" type="presOf" srcId="{AA6F02E3-6E80-475D-8839-66318E4F0155}" destId="{94496F75-EEA3-4325-8178-08F0AF9AB32E}" srcOrd="0" destOrd="0" presId="urn:microsoft.com/office/officeart/2005/8/layout/hProcess11"/>
    <dgm:cxn modelId="{6182CE3A-C3AA-4DE3-98E7-902DDABFB3B7}" srcId="{AA6F02E3-6E80-475D-8839-66318E4F0155}" destId="{7A0CA892-FCDE-464E-8F6F-067C88EE000C}" srcOrd="2" destOrd="0" parTransId="{A5A7F6BD-5CB9-4E60-936B-6213A4D7F635}" sibTransId="{2C6AE7D1-FB1D-42F9-BADB-EC6B29CC73AF}"/>
    <dgm:cxn modelId="{F1710C4D-0F02-40EE-8C4C-AF17362EF2F0}" type="presOf" srcId="{0E9E3181-93A1-4A3F-A384-1B206213C7C6}" destId="{E32EB201-9FFF-4E54-B4BB-7CA567707791}" srcOrd="0" destOrd="0" presId="urn:microsoft.com/office/officeart/2005/8/layout/hProcess11"/>
    <dgm:cxn modelId="{C1BB938E-DCC1-45F2-8FAF-183579BEF9A0}" type="presOf" srcId="{E0B819AA-C1EB-4A9E-862B-8FF33801390E}" destId="{782C66B0-20C3-4B87-A678-2A543699C2D1}" srcOrd="0" destOrd="0" presId="urn:microsoft.com/office/officeart/2005/8/layout/hProcess11"/>
    <dgm:cxn modelId="{41615693-EA9B-4C90-9E23-30597ACB8412}" type="presParOf" srcId="{94496F75-EEA3-4325-8178-08F0AF9AB32E}" destId="{05CFBE7D-6AED-4B50-A319-DFD4B4C7D1E4}" srcOrd="0" destOrd="0" presId="urn:microsoft.com/office/officeart/2005/8/layout/hProcess11"/>
    <dgm:cxn modelId="{AA562D7E-64A2-478C-988B-674A2E7F214A}" type="presParOf" srcId="{94496F75-EEA3-4325-8178-08F0AF9AB32E}" destId="{A1FE0FB5-AF0D-4F16-A5DB-283F84C6C406}" srcOrd="1" destOrd="0" presId="urn:microsoft.com/office/officeart/2005/8/layout/hProcess11"/>
    <dgm:cxn modelId="{C3C7565F-10FD-47E3-AC4F-959023E5CE89}" type="presParOf" srcId="{A1FE0FB5-AF0D-4F16-A5DB-283F84C6C406}" destId="{A1CAF83C-A873-40A5-BA52-DB37492BD480}" srcOrd="0" destOrd="0" presId="urn:microsoft.com/office/officeart/2005/8/layout/hProcess11"/>
    <dgm:cxn modelId="{22B356FA-0236-4F7E-A700-BD25AB2D9178}" type="presParOf" srcId="{A1CAF83C-A873-40A5-BA52-DB37492BD480}" destId="{337318EF-73A0-45FA-88A2-61F608047E65}" srcOrd="0" destOrd="0" presId="urn:microsoft.com/office/officeart/2005/8/layout/hProcess11"/>
    <dgm:cxn modelId="{B055E76E-F754-4D8C-918E-4A4AE650E751}" type="presParOf" srcId="{A1CAF83C-A873-40A5-BA52-DB37492BD480}" destId="{0276FFD2-C92D-4D8D-B101-8554C6A14BF9}" srcOrd="1" destOrd="0" presId="urn:microsoft.com/office/officeart/2005/8/layout/hProcess11"/>
    <dgm:cxn modelId="{FB5124CF-BF87-441E-B935-28C5FB3159BC}" type="presParOf" srcId="{A1CAF83C-A873-40A5-BA52-DB37492BD480}" destId="{260FB27D-7762-414C-BF63-1022A8118F90}" srcOrd="2" destOrd="0" presId="urn:microsoft.com/office/officeart/2005/8/layout/hProcess11"/>
    <dgm:cxn modelId="{0AD273B2-E0D8-42D5-87C3-394A1D32F119}" type="presParOf" srcId="{A1FE0FB5-AF0D-4F16-A5DB-283F84C6C406}" destId="{CD891EC2-3FBB-4926-986A-60067D905AD3}" srcOrd="1" destOrd="0" presId="urn:microsoft.com/office/officeart/2005/8/layout/hProcess11"/>
    <dgm:cxn modelId="{C81E5E8C-BF94-43DE-A295-64DEEA33A7DD}" type="presParOf" srcId="{A1FE0FB5-AF0D-4F16-A5DB-283F84C6C406}" destId="{FD530007-F041-4723-98D3-3EEFBD316181}" srcOrd="2" destOrd="0" presId="urn:microsoft.com/office/officeart/2005/8/layout/hProcess11"/>
    <dgm:cxn modelId="{8FC69CEF-50E4-48BF-92FE-D9F59091AD9D}" type="presParOf" srcId="{FD530007-F041-4723-98D3-3EEFBD316181}" destId="{782C66B0-20C3-4B87-A678-2A543699C2D1}" srcOrd="0" destOrd="0" presId="urn:microsoft.com/office/officeart/2005/8/layout/hProcess11"/>
    <dgm:cxn modelId="{87EC14D4-5679-4CE5-9A0C-5A3EC1183396}" type="presParOf" srcId="{FD530007-F041-4723-98D3-3EEFBD316181}" destId="{41141D70-EDBE-4D3F-B0CF-9920FD6D4226}" srcOrd="1" destOrd="0" presId="urn:microsoft.com/office/officeart/2005/8/layout/hProcess11"/>
    <dgm:cxn modelId="{D17FF63B-8944-448B-88B1-9BE8D0924C6E}" type="presParOf" srcId="{FD530007-F041-4723-98D3-3EEFBD316181}" destId="{28323D4A-16BB-4872-8AE1-B54DC9AC06E1}" srcOrd="2" destOrd="0" presId="urn:microsoft.com/office/officeart/2005/8/layout/hProcess11"/>
    <dgm:cxn modelId="{2D6F0FDD-2A3F-4CE6-B826-95DA642EB0E5}" type="presParOf" srcId="{A1FE0FB5-AF0D-4F16-A5DB-283F84C6C406}" destId="{DBFD02A1-BD63-4D28-BA04-48DFF04BC94B}" srcOrd="3" destOrd="0" presId="urn:microsoft.com/office/officeart/2005/8/layout/hProcess11"/>
    <dgm:cxn modelId="{98CF7513-C2BE-4F65-8640-DE56EB25E25D}" type="presParOf" srcId="{A1FE0FB5-AF0D-4F16-A5DB-283F84C6C406}" destId="{DB55FB81-3BA7-4511-A8AD-92A32BF1DCD3}" srcOrd="4" destOrd="0" presId="urn:microsoft.com/office/officeart/2005/8/layout/hProcess11"/>
    <dgm:cxn modelId="{9A11FB11-5230-4279-BB5E-6A020AC00D37}" type="presParOf" srcId="{DB55FB81-3BA7-4511-A8AD-92A32BF1DCD3}" destId="{F1112AAB-B707-4D80-977C-8F2D91C42EDA}" srcOrd="0" destOrd="0" presId="urn:microsoft.com/office/officeart/2005/8/layout/hProcess11"/>
    <dgm:cxn modelId="{660FCB40-87DC-4D71-9BB6-7072518694AF}" type="presParOf" srcId="{DB55FB81-3BA7-4511-A8AD-92A32BF1DCD3}" destId="{26B0ED47-7652-48EE-B97B-6D0CAFC7DF5D}" srcOrd="1" destOrd="0" presId="urn:microsoft.com/office/officeart/2005/8/layout/hProcess11"/>
    <dgm:cxn modelId="{24F2647D-EBB6-4366-BB37-3E32A41FA6FA}" type="presParOf" srcId="{DB55FB81-3BA7-4511-A8AD-92A32BF1DCD3}" destId="{DD503CB3-2525-4D53-B8BD-979127D4E92E}" srcOrd="2" destOrd="0" presId="urn:microsoft.com/office/officeart/2005/8/layout/hProcess11"/>
    <dgm:cxn modelId="{659F9F06-47E0-4D5D-A847-8120D9E3BBBA}" type="presParOf" srcId="{A1FE0FB5-AF0D-4F16-A5DB-283F84C6C406}" destId="{8050C568-ADF5-4D14-AC00-E97ACEE9AD7E}" srcOrd="5" destOrd="0" presId="urn:microsoft.com/office/officeart/2005/8/layout/hProcess11"/>
    <dgm:cxn modelId="{F720B8F9-F45F-4CCF-974D-49A3E094A622}" type="presParOf" srcId="{A1FE0FB5-AF0D-4F16-A5DB-283F84C6C406}" destId="{A5A91DD8-6F27-439E-990D-AE3A1A281254}" srcOrd="6" destOrd="0" presId="urn:microsoft.com/office/officeart/2005/8/layout/hProcess11"/>
    <dgm:cxn modelId="{C8ABCEE8-8ABC-4469-88D1-E5D1AD5C7431}" type="presParOf" srcId="{A5A91DD8-6F27-439E-990D-AE3A1A281254}" destId="{E32EB201-9FFF-4E54-B4BB-7CA567707791}" srcOrd="0" destOrd="0" presId="urn:microsoft.com/office/officeart/2005/8/layout/hProcess11"/>
    <dgm:cxn modelId="{3AD6CAEB-ACB6-4843-8A66-892189ABC3F4}" type="presParOf" srcId="{A5A91DD8-6F27-439E-990D-AE3A1A281254}" destId="{8A843190-9E16-489D-A62B-40A100EC8C6F}" srcOrd="1" destOrd="0" presId="urn:microsoft.com/office/officeart/2005/8/layout/hProcess11"/>
    <dgm:cxn modelId="{8369ECD7-F06D-481A-AABE-BCEF63957085}" type="presParOf" srcId="{A5A91DD8-6F27-439E-990D-AE3A1A281254}" destId="{DB201CC6-3966-4E31-A735-C4D111CF347E}" srcOrd="2" destOrd="0" presId="urn:microsoft.com/office/officeart/2005/8/layout/hProcess1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5CFBE7D-6AED-4B50-A319-DFD4B4C7D1E4}">
      <dsp:nvSpPr>
        <dsp:cNvPr id="0" name=""/>
        <dsp:cNvSpPr/>
      </dsp:nvSpPr>
      <dsp:spPr>
        <a:xfrm>
          <a:off x="0" y="1359782"/>
          <a:ext cx="11522673" cy="1813042"/>
        </a:xfrm>
        <a:prstGeom prst="notchedRightArrow">
          <a:avLst/>
        </a:prstGeom>
        <a:solidFill>
          <a:schemeClr val="accent1">
            <a:tint val="40000"/>
            <a:hueOff val="0"/>
            <a:satOff val="0"/>
            <a:lumOff val="0"/>
            <a:alphaOff val="0"/>
          </a:schemeClr>
        </a:solidFill>
        <a:ln>
          <a:noFill/>
        </a:ln>
        <a:effectLst/>
        <a:scene3d>
          <a:camera prst="orthographicFront"/>
          <a:lightRig rig="threePt" dir="t">
            <a:rot lat="0" lon="0" rev="7500000"/>
          </a:lightRig>
        </a:scene3d>
        <a:sp3d z="-152400" extrusionH="63500" prstMaterial="matte">
          <a:bevelT w="144450" h="6350" prst="relaxedInset"/>
          <a:contourClr>
            <a:schemeClr val="bg1"/>
          </a:contourClr>
        </a:sp3d>
      </dsp:spPr>
      <dsp:style>
        <a:lnRef idx="0">
          <a:scrgbClr r="0" g="0" b="0"/>
        </a:lnRef>
        <a:fillRef idx="3">
          <a:scrgbClr r="0" g="0" b="0"/>
        </a:fillRef>
        <a:effectRef idx="0">
          <a:scrgbClr r="0" g="0" b="0"/>
        </a:effectRef>
        <a:fontRef idx="minor"/>
      </dsp:style>
    </dsp:sp>
    <dsp:sp modelId="{337318EF-73A0-45FA-88A2-61F608047E65}">
      <dsp:nvSpPr>
        <dsp:cNvPr id="0" name=""/>
        <dsp:cNvSpPr/>
      </dsp:nvSpPr>
      <dsp:spPr>
        <a:xfrm>
          <a:off x="3799" y="0"/>
          <a:ext cx="3035672" cy="181304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0688" tIns="170688" rIns="170688" bIns="170688" numCol="1" spcCol="1270" anchor="b" anchorCtr="0">
          <a:noAutofit/>
        </a:bodyPr>
        <a:lstStyle/>
        <a:p>
          <a:pPr lvl="0" algn="ctr" defTabSz="1066800">
            <a:lnSpc>
              <a:spcPct val="90000"/>
            </a:lnSpc>
            <a:spcBef>
              <a:spcPct val="0"/>
            </a:spcBef>
            <a:spcAft>
              <a:spcPct val="35000"/>
            </a:spcAft>
          </a:pPr>
          <a:r>
            <a:rPr lang="en-US" sz="2400" kern="1200" dirty="0" smtClean="0"/>
            <a:t>CTP 2 Mai 2015</a:t>
          </a:r>
          <a:endParaRPr lang="en-US" sz="2400" kern="1200" dirty="0"/>
        </a:p>
      </dsp:txBody>
      <dsp:txXfrm>
        <a:off x="3799" y="0"/>
        <a:ext cx="3035672" cy="1813042"/>
      </dsp:txXfrm>
    </dsp:sp>
    <dsp:sp modelId="{0276FFD2-C92D-4D8D-B101-8554C6A14BF9}">
      <dsp:nvSpPr>
        <dsp:cNvPr id="0" name=""/>
        <dsp:cNvSpPr/>
      </dsp:nvSpPr>
      <dsp:spPr>
        <a:xfrm>
          <a:off x="1295005" y="2039673"/>
          <a:ext cx="453260" cy="453260"/>
        </a:xfrm>
        <a:prstGeom prst="ellipse">
          <a:avLst/>
        </a:prstGeom>
        <a:solidFill>
          <a:schemeClr val="accent1">
            <a:hueOff val="0"/>
            <a:satOff val="0"/>
            <a:lumOff val="0"/>
            <a:alphaOff val="0"/>
          </a:schemeClr>
        </a:soli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sp>
    <dsp:sp modelId="{782C66B0-20C3-4B87-A678-2A543699C2D1}">
      <dsp:nvSpPr>
        <dsp:cNvPr id="0" name=""/>
        <dsp:cNvSpPr/>
      </dsp:nvSpPr>
      <dsp:spPr>
        <a:xfrm>
          <a:off x="3135555" y="2719564"/>
          <a:ext cx="1921664" cy="181304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0688" tIns="170688" rIns="170688" bIns="170688" numCol="1" spcCol="1270" anchor="t" anchorCtr="0">
          <a:noAutofit/>
        </a:bodyPr>
        <a:lstStyle/>
        <a:p>
          <a:pPr lvl="0" algn="ctr" defTabSz="1066800">
            <a:lnSpc>
              <a:spcPct val="90000"/>
            </a:lnSpc>
            <a:spcBef>
              <a:spcPct val="0"/>
            </a:spcBef>
            <a:spcAft>
              <a:spcPct val="35000"/>
            </a:spcAft>
          </a:pPr>
          <a:r>
            <a:rPr lang="en-US" sz="2400" kern="1200" dirty="0" err="1" smtClean="0"/>
            <a:t>Pleins</a:t>
          </a:r>
          <a:r>
            <a:rPr lang="en-US" sz="2400" kern="1200" dirty="0" smtClean="0"/>
            <a:t> de CTP à </a:t>
          </a:r>
          <a:r>
            <a:rPr lang="en-US" sz="2400" kern="1200" dirty="0" err="1" smtClean="0"/>
            <a:t>partir</a:t>
          </a:r>
          <a:r>
            <a:rPr lang="en-US" sz="2400" kern="1200" dirty="0" smtClean="0"/>
            <a:t> de </a:t>
          </a:r>
          <a:r>
            <a:rPr lang="en-US" sz="2400" kern="1200" dirty="0" err="1" smtClean="0"/>
            <a:t>Juin</a:t>
          </a:r>
          <a:endParaRPr lang="en-US" sz="2400" kern="1200" dirty="0"/>
        </a:p>
      </dsp:txBody>
      <dsp:txXfrm>
        <a:off x="3135555" y="2719564"/>
        <a:ext cx="1921664" cy="1813042"/>
      </dsp:txXfrm>
    </dsp:sp>
    <dsp:sp modelId="{41141D70-EDBE-4D3F-B0CF-9920FD6D4226}">
      <dsp:nvSpPr>
        <dsp:cNvPr id="0" name=""/>
        <dsp:cNvSpPr/>
      </dsp:nvSpPr>
      <dsp:spPr>
        <a:xfrm>
          <a:off x="3869757" y="2039673"/>
          <a:ext cx="453260" cy="453260"/>
        </a:xfrm>
        <a:prstGeom prst="ellipse">
          <a:avLst/>
        </a:prstGeom>
        <a:solidFill>
          <a:schemeClr val="accent1">
            <a:hueOff val="0"/>
            <a:satOff val="0"/>
            <a:lumOff val="0"/>
            <a:alphaOff val="0"/>
          </a:schemeClr>
        </a:soli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sp>
    <dsp:sp modelId="{F1112AAB-B707-4D80-977C-8F2D91C42EDA}">
      <dsp:nvSpPr>
        <dsp:cNvPr id="0" name=""/>
        <dsp:cNvSpPr/>
      </dsp:nvSpPr>
      <dsp:spPr>
        <a:xfrm>
          <a:off x="5153303" y="0"/>
          <a:ext cx="3195555" cy="181304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0688" tIns="170688" rIns="170688" bIns="170688" numCol="1" spcCol="1270" anchor="b" anchorCtr="0">
          <a:noAutofit/>
        </a:bodyPr>
        <a:lstStyle/>
        <a:p>
          <a:pPr lvl="0" algn="ctr" defTabSz="1066800">
            <a:lnSpc>
              <a:spcPct val="90000"/>
            </a:lnSpc>
            <a:spcBef>
              <a:spcPct val="0"/>
            </a:spcBef>
            <a:spcAft>
              <a:spcPct val="35000"/>
            </a:spcAft>
          </a:pPr>
          <a:r>
            <a:rPr lang="en-US" sz="2400" kern="1200" dirty="0" smtClean="0"/>
            <a:t>CTP 3 (FC) </a:t>
          </a:r>
          <a:r>
            <a:rPr lang="en-US" sz="2400" kern="1200" dirty="0" err="1" smtClean="0"/>
            <a:t>Octobre</a:t>
          </a:r>
          <a:r>
            <a:rPr lang="en-US" sz="2400" kern="1200" dirty="0" smtClean="0"/>
            <a:t> 2015</a:t>
          </a:r>
          <a:endParaRPr lang="en-US" sz="2400" kern="1200" dirty="0"/>
        </a:p>
      </dsp:txBody>
      <dsp:txXfrm>
        <a:off x="5153303" y="0"/>
        <a:ext cx="3195555" cy="1813042"/>
      </dsp:txXfrm>
    </dsp:sp>
    <dsp:sp modelId="{26B0ED47-7652-48EE-B97B-6D0CAFC7DF5D}">
      <dsp:nvSpPr>
        <dsp:cNvPr id="0" name=""/>
        <dsp:cNvSpPr/>
      </dsp:nvSpPr>
      <dsp:spPr>
        <a:xfrm>
          <a:off x="6524451" y="2039673"/>
          <a:ext cx="453260" cy="453260"/>
        </a:xfrm>
        <a:prstGeom prst="ellipse">
          <a:avLst/>
        </a:prstGeom>
        <a:solidFill>
          <a:schemeClr val="accent1">
            <a:hueOff val="0"/>
            <a:satOff val="0"/>
            <a:lumOff val="0"/>
            <a:alphaOff val="0"/>
          </a:schemeClr>
        </a:soli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sp>
    <dsp:sp modelId="{E32EB201-9FFF-4E54-B4BB-7CA567707791}">
      <dsp:nvSpPr>
        <dsp:cNvPr id="0" name=""/>
        <dsp:cNvSpPr/>
      </dsp:nvSpPr>
      <dsp:spPr>
        <a:xfrm>
          <a:off x="8444942" y="2719564"/>
          <a:ext cx="1921664" cy="181304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0688" tIns="170688" rIns="170688" bIns="170688" numCol="1" spcCol="1270" anchor="t" anchorCtr="0">
          <a:noAutofit/>
        </a:bodyPr>
        <a:lstStyle/>
        <a:p>
          <a:pPr lvl="0" algn="ctr" defTabSz="1066800">
            <a:lnSpc>
              <a:spcPct val="90000"/>
            </a:lnSpc>
            <a:spcBef>
              <a:spcPct val="0"/>
            </a:spcBef>
            <a:spcAft>
              <a:spcPct val="35000"/>
            </a:spcAft>
          </a:pPr>
          <a:r>
            <a:rPr lang="en-US" sz="2400" kern="1200" dirty="0" smtClean="0"/>
            <a:t>RTM           </a:t>
          </a:r>
          <a:r>
            <a:rPr lang="en-US" sz="2400" kern="1200" dirty="0" err="1" smtClean="0"/>
            <a:t>été</a:t>
          </a:r>
          <a:r>
            <a:rPr lang="en-US" sz="2400" kern="1200" dirty="0" smtClean="0"/>
            <a:t> 2016</a:t>
          </a:r>
          <a:endParaRPr lang="en-US" sz="2400" kern="1200" dirty="0"/>
        </a:p>
      </dsp:txBody>
      <dsp:txXfrm>
        <a:off x="8444942" y="2719564"/>
        <a:ext cx="1921664" cy="1813042"/>
      </dsp:txXfrm>
    </dsp:sp>
    <dsp:sp modelId="{8A843190-9E16-489D-A62B-40A100EC8C6F}">
      <dsp:nvSpPr>
        <dsp:cNvPr id="0" name=""/>
        <dsp:cNvSpPr/>
      </dsp:nvSpPr>
      <dsp:spPr>
        <a:xfrm>
          <a:off x="9179144" y="2039673"/>
          <a:ext cx="453260" cy="453260"/>
        </a:xfrm>
        <a:prstGeom prst="ellipse">
          <a:avLst/>
        </a:prstGeom>
        <a:solidFill>
          <a:schemeClr val="accent1">
            <a:hueOff val="0"/>
            <a:satOff val="0"/>
            <a:lumOff val="0"/>
            <a:alphaOff val="0"/>
          </a:schemeClr>
        </a:soli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rot="180" type="notchedRightArrow" r:blip="">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Vert" val="b"/>
                  <dgm:param type="txAnchorVertCh" val="b"/>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Vert" val="t"/>
                  <dgm:param type="txAnchorVertCh" val="t"/>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B31C0668-F1D3-4298-A05C-4A858F03D7BF}" type="datetime8">
              <a:rPr lang="en-US" smtClean="0">
                <a:latin typeface="Segoe UI" pitchFamily="34" charset="0"/>
              </a:rPr>
              <a:t>8/27/2015 11:19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smtClean="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AEE4CA52-5E5C-4954-9A88-88781D912DF9}" type="datetime8">
              <a:rPr lang="en-US" smtClean="0"/>
              <a:t>8/27/2015 11:19 A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WPC 2012</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1E1F49AF-B6F0-4B7E-800A-67E5C5F1B471}" type="datetime1">
              <a:rPr lang="en-US" smtClean="0"/>
              <a:t>8/27/2015</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3</a:t>
            </a:fld>
            <a:endParaRPr lang="en-US" dirty="0"/>
          </a:p>
        </p:txBody>
      </p:sp>
    </p:spTree>
    <p:extLst>
      <p:ext uri="{BB962C8B-B14F-4D97-AF65-F5344CB8AC3E}">
        <p14:creationId xmlns:p14="http://schemas.microsoft.com/office/powerpoint/2010/main" val="27760972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fr-FR" dirty="0"/>
              <a:t>Simuler la création d’un</a:t>
            </a:r>
            <a:r>
              <a:rPr lang="fr-FR" baseline="0" dirty="0"/>
              <a:t> compte puis sur un compte existant, créer une </a:t>
            </a:r>
            <a:r>
              <a:rPr lang="fr-FR" baseline="0" dirty="0" err="1"/>
              <a:t>database</a:t>
            </a:r>
            <a:r>
              <a:rPr lang="fr-FR" baseline="0" dirty="0"/>
              <a:t>, une collection puis un document. En profiter pour quelques notions:</a:t>
            </a:r>
          </a:p>
          <a:p>
            <a:pPr marL="388712" lvl="1" indent="-171450">
              <a:buFontTx/>
              <a:buChar char="-"/>
            </a:pPr>
            <a:r>
              <a:rPr lang="fr-FR" baseline="0" dirty="0"/>
              <a:t>Différents niveaux de consistance</a:t>
            </a:r>
          </a:p>
          <a:p>
            <a:pPr marL="388712" lvl="1" indent="-171450">
              <a:buFontTx/>
              <a:buChar char="-"/>
            </a:pPr>
            <a:r>
              <a:rPr lang="fr-FR" baseline="0" dirty="0"/>
              <a:t>Ajout de deux documents qui n’ont rien à voir</a:t>
            </a:r>
          </a:p>
          <a:p>
            <a:pPr marL="388712" lvl="1" indent="-171450">
              <a:buFontTx/>
              <a:buChar char="-"/>
            </a:pPr>
            <a:r>
              <a:rPr lang="fr-FR" baseline="0" dirty="0"/>
              <a:t>Le fait que c’est la collection qui porte le niveau de performance et donc le prix</a:t>
            </a:r>
          </a:p>
          <a:p>
            <a:pPr marL="171450" indent="-171450">
              <a:buFontTx/>
              <a:buChar char="-"/>
            </a:pPr>
            <a:r>
              <a:rPr lang="fr-FR" dirty="0"/>
              <a:t>Sur un jeu</a:t>
            </a:r>
            <a:r>
              <a:rPr lang="fr-FR" baseline="0" dirty="0"/>
              <a:t> de données pré-chargé, exécuter un certain nombre de requêtes et expliquer un certain nombre de principes</a:t>
            </a:r>
          </a:p>
          <a:p>
            <a:pPr marL="388712" lvl="1" indent="-171450">
              <a:buFontTx/>
              <a:buChar char="-"/>
            </a:pPr>
            <a:r>
              <a:rPr lang="fr-FR" baseline="0" dirty="0"/>
              <a:t>La notion de </a:t>
            </a:r>
            <a:r>
              <a:rPr lang="fr-FR" baseline="0" dirty="0" err="1"/>
              <a:t>request</a:t>
            </a:r>
            <a:r>
              <a:rPr lang="fr-FR" baseline="0" dirty="0"/>
              <a:t> </a:t>
            </a:r>
            <a:r>
              <a:rPr lang="fr-FR" baseline="0" dirty="0" err="1"/>
              <a:t>units</a:t>
            </a:r>
            <a:endParaRPr lang="fr-FR" baseline="0" dirty="0"/>
          </a:p>
          <a:p>
            <a:pPr marL="388712" lvl="1" indent="-171450">
              <a:buFontTx/>
              <a:buChar char="-"/>
            </a:pPr>
            <a:r>
              <a:rPr lang="fr-FR" dirty="0"/>
              <a:t>Les champs</a:t>
            </a:r>
            <a:r>
              <a:rPr lang="fr-FR" baseline="0" dirty="0"/>
              <a:t> ajoutés au document</a:t>
            </a:r>
          </a:p>
          <a:p>
            <a:pPr marL="388712" lvl="1" indent="-171450">
              <a:buFontTx/>
              <a:buChar char="-"/>
            </a:pPr>
            <a:r>
              <a:rPr lang="fr-FR" baseline="0" dirty="0"/>
              <a:t>La notion d’</a:t>
            </a:r>
            <a:r>
              <a:rPr lang="fr-FR" baseline="0" dirty="0" err="1"/>
              <a:t>attachment</a:t>
            </a:r>
            <a:endParaRPr lang="fr-FR" baseline="0" dirty="0"/>
          </a:p>
          <a:p>
            <a:pPr marL="388712" lvl="1" indent="-171450">
              <a:buFontTx/>
              <a:buChar char="-"/>
            </a:pPr>
            <a:r>
              <a:rPr lang="fr-FR" baseline="0" dirty="0"/>
              <a:t>La notion de paging par défaut</a:t>
            </a:r>
          </a:p>
          <a:p>
            <a:pPr marL="388712" lvl="1" indent="-171450">
              <a:buFontTx/>
              <a:buChar char="-"/>
            </a:pPr>
            <a:r>
              <a:rPr lang="fr-FR" baseline="0" dirty="0"/>
              <a:t>Certains éléments du langage comme l’accès aux propriétés, la projection, ...</a:t>
            </a:r>
          </a:p>
          <a:p>
            <a:pPr marL="171450" lvl="0" indent="-171450">
              <a:buFontTx/>
              <a:buChar char="-"/>
            </a:pPr>
            <a:r>
              <a:rPr lang="fr-FR" baseline="0" dirty="0"/>
              <a:t>Créer </a:t>
            </a:r>
            <a:r>
              <a:rPr lang="fr-FR" dirty="0"/>
              <a:t>puis utiliser </a:t>
            </a:r>
            <a:r>
              <a:rPr lang="fr-FR" baseline="0" dirty="0"/>
              <a:t>une procédure stockée depuis le portail et expliquer différentes notions</a:t>
            </a:r>
          </a:p>
          <a:p>
            <a:pPr marL="388712" lvl="1" indent="-171450">
              <a:buFontTx/>
              <a:buChar char="-"/>
            </a:pPr>
            <a:r>
              <a:rPr lang="fr-FR" baseline="0" dirty="0"/>
              <a:t>Avantage de </a:t>
            </a:r>
            <a:r>
              <a:rPr lang="fr-FR" baseline="0" dirty="0" err="1"/>
              <a:t>Javascript</a:t>
            </a:r>
            <a:r>
              <a:rPr lang="fr-FR" baseline="0" dirty="0"/>
              <a:t> pour travailler sur du </a:t>
            </a:r>
            <a:r>
              <a:rPr lang="fr-FR" baseline="0" dirty="0" err="1"/>
              <a:t>Json</a:t>
            </a:r>
            <a:endParaRPr lang="fr-FR" baseline="0" dirty="0"/>
          </a:p>
          <a:p>
            <a:pPr marL="388712" lvl="1" indent="-171450">
              <a:buFontTx/>
              <a:buChar char="-"/>
            </a:pPr>
            <a:r>
              <a:rPr lang="fr-FR" baseline="0" dirty="0"/>
              <a:t>Notion de transaction (seule façon de faire du batch d’ailleurs)</a:t>
            </a:r>
          </a:p>
          <a:p>
            <a:pPr marL="171450" indent="-171450">
              <a:buFontTx/>
              <a:buChar char="-"/>
            </a:pPr>
            <a:r>
              <a:rPr lang="fr-FR" dirty="0"/>
              <a:t>Passer dans Visual Studio 2015 pour montrer du code dans un projet console</a:t>
            </a:r>
          </a:p>
          <a:p>
            <a:pPr marL="388712" lvl="1" indent="-171450">
              <a:buFontTx/>
              <a:buChar char="-"/>
            </a:pPr>
            <a:r>
              <a:rPr lang="fr-FR" dirty="0"/>
              <a:t>En .NET, package </a:t>
            </a:r>
            <a:r>
              <a:rPr lang="fr-FR" dirty="0" err="1"/>
              <a:t>Nuget</a:t>
            </a:r>
            <a:endParaRPr lang="fr-FR" dirty="0"/>
          </a:p>
          <a:p>
            <a:pPr marL="388712" lvl="1" indent="-171450">
              <a:buFontTx/>
              <a:buChar char="-"/>
            </a:pPr>
            <a:r>
              <a:rPr lang="fr-FR" dirty="0"/>
              <a:t>Besoin d'une clé d'accès, très mal sécurisé dans mon </a:t>
            </a:r>
            <a:r>
              <a:rPr lang="fr-FR" dirty="0" err="1"/>
              <a:t>app</a:t>
            </a:r>
            <a:endParaRPr lang="fr-FR" dirty="0"/>
          </a:p>
          <a:p>
            <a:pPr marL="388712" lvl="1" indent="-171450">
              <a:buFontTx/>
              <a:buChar char="-"/>
            </a:pPr>
            <a:r>
              <a:rPr lang="fr-FR" dirty="0"/>
              <a:t>On retrouve l'arborescence </a:t>
            </a:r>
            <a:r>
              <a:rPr lang="fr-FR" dirty="0" err="1"/>
              <a:t>database</a:t>
            </a:r>
            <a:r>
              <a:rPr lang="fr-FR" dirty="0"/>
              <a:t> &gt; collection</a:t>
            </a:r>
          </a:p>
          <a:p>
            <a:pPr marL="388712" lvl="1" indent="-171450">
              <a:buFontTx/>
              <a:buChar char="-"/>
            </a:pPr>
            <a:r>
              <a:rPr lang="fr-FR" dirty="0"/>
              <a:t>Petit tip pour la création des classes </a:t>
            </a:r>
            <a:r>
              <a:rPr lang="fr-FR" dirty="0" err="1"/>
              <a:t>json</a:t>
            </a:r>
            <a:endParaRPr lang="fr-FR" dirty="0"/>
          </a:p>
          <a:p>
            <a:pPr marL="388712" lvl="1" indent="-171450">
              <a:buFontTx/>
              <a:buChar char="-"/>
            </a:pPr>
            <a:r>
              <a:rPr lang="fr-FR" dirty="0"/>
              <a:t>Provider Lync pour faciliter</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EE4CA52-5E5C-4954-9A88-88781D912DF9}" type="datetime8">
              <a:rPr lang="en-US" smtClean="0"/>
              <a:t>8/27/2015 11:1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7</a:t>
            </a:fld>
            <a:endParaRPr lang="en-US" dirty="0"/>
          </a:p>
        </p:txBody>
      </p:sp>
    </p:spTree>
    <p:extLst>
      <p:ext uri="{BB962C8B-B14F-4D97-AF65-F5344CB8AC3E}">
        <p14:creationId xmlns:p14="http://schemas.microsoft.com/office/powerpoint/2010/main" val="200372125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smtClean="0">
                <a:solidFill>
                  <a:schemeClr val="tx1"/>
                </a:solidFill>
                <a:effectLst/>
                <a:latin typeface="Segoe UI" pitchFamily="34" charset="0"/>
                <a:ea typeface="+mn-ea"/>
                <a:cs typeface="+mn-cs"/>
              </a:rPr>
              <a:t>2 </a:t>
            </a:r>
            <a:r>
              <a:rPr lang="en-US" sz="900" kern="1200" dirty="0" err="1" smtClean="0">
                <a:solidFill>
                  <a:schemeClr val="tx1"/>
                </a:solidFill>
                <a:effectLst/>
                <a:latin typeface="Segoe UI" pitchFamily="34" charset="0"/>
                <a:ea typeface="+mn-ea"/>
                <a:cs typeface="+mn-cs"/>
              </a:rPr>
              <a:t>choix</a:t>
            </a:r>
            <a:r>
              <a:rPr lang="en-US" sz="900" kern="1200" dirty="0" smtClean="0">
                <a:solidFill>
                  <a:schemeClr val="tx1"/>
                </a:solidFill>
                <a:effectLst/>
                <a:latin typeface="Segoe UI" pitchFamily="34" charset="0"/>
                <a:ea typeface="+mn-ea"/>
                <a:cs typeface="+mn-cs"/>
              </a:rPr>
              <a:t> </a:t>
            </a:r>
            <a:r>
              <a:rPr lang="en-US" sz="900" kern="1200" dirty="0" err="1" smtClean="0">
                <a:solidFill>
                  <a:schemeClr val="tx1"/>
                </a:solidFill>
                <a:effectLst/>
                <a:latin typeface="Segoe UI" pitchFamily="34" charset="0"/>
                <a:ea typeface="+mn-ea"/>
                <a:cs typeface="+mn-cs"/>
              </a:rPr>
              <a:t>principaux</a:t>
            </a:r>
            <a:r>
              <a:rPr lang="en-US" sz="900" kern="1200" baseline="0" dirty="0" smtClean="0">
                <a:solidFill>
                  <a:schemeClr val="tx1"/>
                </a:solidFill>
                <a:effectLst/>
                <a:latin typeface="Segoe UI" pitchFamily="34" charset="0"/>
                <a:ea typeface="+mn-ea"/>
                <a:cs typeface="+mn-cs"/>
              </a:rPr>
              <a:t> pour de la base </a:t>
            </a:r>
            <a:r>
              <a:rPr lang="en-US" sz="900" kern="1200" baseline="0" dirty="0" err="1" smtClean="0">
                <a:solidFill>
                  <a:schemeClr val="tx1"/>
                </a:solidFill>
                <a:effectLst/>
                <a:latin typeface="Segoe UI" pitchFamily="34" charset="0"/>
                <a:ea typeface="+mn-ea"/>
                <a:cs typeface="+mn-cs"/>
              </a:rPr>
              <a:t>relationnelle</a:t>
            </a:r>
            <a:r>
              <a:rPr lang="en-US" sz="900" kern="1200" baseline="0" dirty="0" smtClean="0">
                <a:solidFill>
                  <a:schemeClr val="tx1"/>
                </a:solidFill>
                <a:effectLst/>
                <a:latin typeface="Segoe UI" pitchFamily="34" charset="0"/>
                <a:ea typeface="+mn-ea"/>
                <a:cs typeface="+mn-cs"/>
              </a:rPr>
              <a:t> sur SQL Server </a:t>
            </a:r>
            <a:r>
              <a:rPr lang="en-US" sz="900" kern="1200" baseline="0" dirty="0" err="1" smtClean="0">
                <a:solidFill>
                  <a:schemeClr val="tx1"/>
                </a:solidFill>
                <a:effectLst/>
                <a:latin typeface="Segoe UI" pitchFamily="34" charset="0"/>
                <a:ea typeface="+mn-ea"/>
                <a:cs typeface="+mn-cs"/>
              </a:rPr>
              <a:t>dans</a:t>
            </a:r>
            <a:r>
              <a:rPr lang="en-US" sz="900" kern="1200" baseline="0" dirty="0" smtClean="0">
                <a:solidFill>
                  <a:schemeClr val="tx1"/>
                </a:solidFill>
                <a:effectLst/>
                <a:latin typeface="Segoe UI" pitchFamily="34" charset="0"/>
                <a:ea typeface="+mn-ea"/>
                <a:cs typeface="+mn-cs"/>
              </a:rPr>
              <a:t> Azure : IaaS et PaaS.</a:t>
            </a:r>
          </a:p>
          <a:p>
            <a:endParaRPr lang="en-US" sz="900" kern="1200" baseline="0" dirty="0" smtClean="0">
              <a:solidFill>
                <a:schemeClr val="tx1"/>
              </a:solidFill>
              <a:effectLst/>
              <a:latin typeface="Segoe UI" pitchFamily="34" charset="0"/>
              <a:ea typeface="+mn-ea"/>
              <a:cs typeface="+mn-cs"/>
            </a:endParaRPr>
          </a:p>
          <a:p>
            <a:r>
              <a:rPr lang="en-US" sz="900" kern="1200" baseline="0" dirty="0" smtClean="0">
                <a:solidFill>
                  <a:schemeClr val="tx1"/>
                </a:solidFill>
                <a:effectLst/>
                <a:latin typeface="Segoe UI" pitchFamily="34" charset="0"/>
                <a:ea typeface="+mn-ea"/>
                <a:cs typeface="+mn-cs"/>
              </a:rPr>
              <a:t>SQL Server sur VMs Azure </a:t>
            </a:r>
            <a:r>
              <a:rPr lang="en-US" sz="900" kern="1200" baseline="0" dirty="0" err="1" smtClean="0">
                <a:solidFill>
                  <a:schemeClr val="tx1"/>
                </a:solidFill>
                <a:effectLst/>
                <a:latin typeface="Segoe UI" pitchFamily="34" charset="0"/>
                <a:ea typeface="+mn-ea"/>
                <a:cs typeface="+mn-cs"/>
              </a:rPr>
              <a:t>est</a:t>
            </a:r>
            <a:r>
              <a:rPr lang="en-US" sz="900" kern="1200" baseline="0" dirty="0" smtClean="0">
                <a:solidFill>
                  <a:schemeClr val="tx1"/>
                </a:solidFill>
                <a:effectLst/>
                <a:latin typeface="Segoe UI" pitchFamily="34" charset="0"/>
                <a:ea typeface="+mn-ea"/>
                <a:cs typeface="+mn-cs"/>
              </a:rPr>
              <a:t> </a:t>
            </a:r>
            <a:r>
              <a:rPr lang="en-US" sz="900" kern="1200" baseline="0" dirty="0" err="1" smtClean="0">
                <a:solidFill>
                  <a:schemeClr val="tx1"/>
                </a:solidFill>
                <a:effectLst/>
                <a:latin typeface="Segoe UI" pitchFamily="34" charset="0"/>
                <a:ea typeface="+mn-ea"/>
                <a:cs typeface="+mn-cs"/>
              </a:rPr>
              <a:t>l’option</a:t>
            </a:r>
            <a:r>
              <a:rPr lang="en-US" sz="900" kern="1200" baseline="0" dirty="0" smtClean="0">
                <a:solidFill>
                  <a:schemeClr val="tx1"/>
                </a:solidFill>
                <a:effectLst/>
                <a:latin typeface="Segoe UI" pitchFamily="34" charset="0"/>
                <a:ea typeface="+mn-ea"/>
                <a:cs typeface="+mn-cs"/>
              </a:rPr>
              <a:t> la plus complete </a:t>
            </a:r>
            <a:r>
              <a:rPr lang="en-US" sz="900" kern="1200" baseline="0" dirty="0" err="1" smtClean="0">
                <a:solidFill>
                  <a:schemeClr val="tx1"/>
                </a:solidFill>
                <a:effectLst/>
                <a:latin typeface="Segoe UI" pitchFamily="34" charset="0"/>
                <a:ea typeface="+mn-ea"/>
                <a:cs typeface="+mn-cs"/>
              </a:rPr>
              <a:t>en</a:t>
            </a:r>
            <a:r>
              <a:rPr lang="en-US" sz="900" kern="1200" baseline="0" dirty="0" smtClean="0">
                <a:solidFill>
                  <a:schemeClr val="tx1"/>
                </a:solidFill>
                <a:effectLst/>
                <a:latin typeface="Segoe UI" pitchFamily="34" charset="0"/>
                <a:ea typeface="+mn-ea"/>
                <a:cs typeface="+mn-cs"/>
              </a:rPr>
              <a:t> </a:t>
            </a:r>
            <a:r>
              <a:rPr lang="en-US" sz="900" kern="1200" baseline="0" dirty="0" err="1" smtClean="0">
                <a:solidFill>
                  <a:schemeClr val="tx1"/>
                </a:solidFill>
                <a:effectLst/>
                <a:latin typeface="Segoe UI" pitchFamily="34" charset="0"/>
                <a:ea typeface="+mn-ea"/>
                <a:cs typeface="+mn-cs"/>
              </a:rPr>
              <a:t>terme</a:t>
            </a:r>
            <a:r>
              <a:rPr lang="en-US" sz="900" kern="1200" baseline="0" dirty="0" smtClean="0">
                <a:solidFill>
                  <a:schemeClr val="tx1"/>
                </a:solidFill>
                <a:effectLst/>
                <a:latin typeface="Segoe UI" pitchFamily="34" charset="0"/>
                <a:ea typeface="+mn-ea"/>
                <a:cs typeface="+mn-cs"/>
              </a:rPr>
              <a:t> de </a:t>
            </a:r>
            <a:r>
              <a:rPr lang="en-US" sz="900" kern="1200" baseline="0" dirty="0" err="1" smtClean="0">
                <a:solidFill>
                  <a:schemeClr val="tx1"/>
                </a:solidFill>
                <a:effectLst/>
                <a:latin typeface="Segoe UI" pitchFamily="34" charset="0"/>
                <a:ea typeface="+mn-ea"/>
                <a:cs typeface="+mn-cs"/>
              </a:rPr>
              <a:t>fonctionnalité</a:t>
            </a:r>
            <a:r>
              <a:rPr lang="en-US" sz="900" kern="1200" baseline="0" dirty="0" smtClean="0">
                <a:solidFill>
                  <a:schemeClr val="tx1"/>
                </a:solidFill>
                <a:effectLst/>
                <a:latin typeface="Segoe UI" pitchFamily="34" charset="0"/>
                <a:ea typeface="+mn-ea"/>
                <a:cs typeface="+mn-cs"/>
              </a:rPr>
              <a:t>.</a:t>
            </a:r>
          </a:p>
          <a:p>
            <a:r>
              <a:rPr lang="en-US" sz="900" kern="1200" dirty="0" err="1" smtClean="0">
                <a:solidFill>
                  <a:schemeClr val="tx1"/>
                </a:solidFill>
                <a:effectLst/>
                <a:latin typeface="Segoe UI" pitchFamily="34" charset="0"/>
                <a:ea typeface="+mn-ea"/>
                <a:cs typeface="+mn-cs"/>
              </a:rPr>
              <a:t>C’est</a:t>
            </a:r>
            <a:r>
              <a:rPr lang="en-US" sz="900" kern="1200" dirty="0" smtClean="0">
                <a:solidFill>
                  <a:schemeClr val="tx1"/>
                </a:solidFill>
                <a:effectLst/>
                <a:latin typeface="Segoe UI" pitchFamily="34" charset="0"/>
                <a:ea typeface="+mn-ea"/>
                <a:cs typeface="+mn-cs"/>
              </a:rPr>
              <a:t> </a:t>
            </a:r>
            <a:r>
              <a:rPr lang="en-US" sz="900" kern="1200" dirty="0" err="1" smtClean="0">
                <a:solidFill>
                  <a:schemeClr val="tx1"/>
                </a:solidFill>
                <a:effectLst/>
                <a:latin typeface="Segoe UI" pitchFamily="34" charset="0"/>
                <a:ea typeface="+mn-ea"/>
                <a:cs typeface="+mn-cs"/>
              </a:rPr>
              <a:t>celle</a:t>
            </a:r>
            <a:r>
              <a:rPr lang="en-US" sz="900" kern="1200" dirty="0" smtClean="0">
                <a:solidFill>
                  <a:schemeClr val="tx1"/>
                </a:solidFill>
                <a:effectLst/>
                <a:latin typeface="Segoe UI" pitchFamily="34" charset="0"/>
                <a:ea typeface="+mn-ea"/>
                <a:cs typeface="+mn-cs"/>
              </a:rPr>
              <a:t> qui </a:t>
            </a:r>
            <a:r>
              <a:rPr lang="en-US" sz="900" kern="1200" dirty="0" err="1" smtClean="0">
                <a:solidFill>
                  <a:schemeClr val="tx1"/>
                </a:solidFill>
                <a:effectLst/>
                <a:latin typeface="Segoe UI" pitchFamily="34" charset="0"/>
                <a:ea typeface="+mn-ea"/>
                <a:cs typeface="+mn-cs"/>
              </a:rPr>
              <a:t>donne</a:t>
            </a:r>
            <a:r>
              <a:rPr lang="en-US" sz="900" kern="1200" dirty="0" smtClean="0">
                <a:solidFill>
                  <a:schemeClr val="tx1"/>
                </a:solidFill>
                <a:effectLst/>
                <a:latin typeface="Segoe UI" pitchFamily="34" charset="0"/>
                <a:ea typeface="+mn-ea"/>
                <a:cs typeface="+mn-cs"/>
              </a:rPr>
              <a:t> le plus de </a:t>
            </a:r>
            <a:r>
              <a:rPr lang="en-US" sz="900" kern="1200" dirty="0" err="1" smtClean="0">
                <a:solidFill>
                  <a:schemeClr val="tx1"/>
                </a:solidFill>
                <a:effectLst/>
                <a:latin typeface="Segoe UI" pitchFamily="34" charset="0"/>
                <a:ea typeface="+mn-ea"/>
                <a:cs typeface="+mn-cs"/>
              </a:rPr>
              <a:t>contrôle</a:t>
            </a:r>
            <a:r>
              <a:rPr lang="en-US" sz="900" kern="1200" dirty="0" smtClean="0">
                <a:solidFill>
                  <a:schemeClr val="tx1"/>
                </a:solidFill>
                <a:effectLst/>
                <a:latin typeface="Segoe UI" pitchFamily="34" charset="0"/>
                <a:ea typeface="+mn-ea"/>
                <a:cs typeface="+mn-cs"/>
              </a:rPr>
              <a:t> et de </a:t>
            </a:r>
            <a:r>
              <a:rPr lang="en-US" sz="900" kern="1200" dirty="0" err="1" smtClean="0">
                <a:solidFill>
                  <a:schemeClr val="tx1"/>
                </a:solidFill>
                <a:effectLst/>
                <a:latin typeface="Segoe UI" pitchFamily="34" charset="0"/>
                <a:ea typeface="+mn-ea"/>
                <a:cs typeface="+mn-cs"/>
              </a:rPr>
              <a:t>flexibilité</a:t>
            </a:r>
            <a:r>
              <a:rPr lang="en-US" sz="900" kern="1200" dirty="0" smtClean="0">
                <a:solidFill>
                  <a:schemeClr val="tx1"/>
                </a:solidFill>
                <a:effectLst/>
                <a:latin typeface="Segoe UI" pitchFamily="34" charset="0"/>
                <a:ea typeface="+mn-ea"/>
                <a:cs typeface="+mn-cs"/>
              </a:rPr>
              <a:t>, </a:t>
            </a:r>
            <a:r>
              <a:rPr lang="en-US" sz="900" kern="1200" dirty="0" err="1" smtClean="0">
                <a:solidFill>
                  <a:schemeClr val="tx1"/>
                </a:solidFill>
                <a:effectLst/>
                <a:latin typeface="Segoe UI" pitchFamily="34" charset="0"/>
                <a:ea typeface="+mn-ea"/>
                <a:cs typeface="+mn-cs"/>
              </a:rPr>
              <a:t>mais</a:t>
            </a:r>
            <a:r>
              <a:rPr lang="en-US" sz="900" kern="1200" dirty="0" smtClean="0">
                <a:solidFill>
                  <a:schemeClr val="tx1"/>
                </a:solidFill>
                <a:effectLst/>
                <a:latin typeface="Segoe UI" pitchFamily="34" charset="0"/>
                <a:ea typeface="+mn-ea"/>
                <a:cs typeface="+mn-cs"/>
              </a:rPr>
              <a:t> </a:t>
            </a:r>
            <a:r>
              <a:rPr lang="en-US" sz="900" kern="1200" dirty="0" err="1" smtClean="0">
                <a:solidFill>
                  <a:schemeClr val="tx1"/>
                </a:solidFill>
                <a:effectLst/>
                <a:latin typeface="Segoe UI" pitchFamily="34" charset="0"/>
                <a:ea typeface="+mn-ea"/>
                <a:cs typeface="+mn-cs"/>
              </a:rPr>
              <a:t>recquiert</a:t>
            </a:r>
            <a:r>
              <a:rPr lang="en-US" sz="900" kern="1200" baseline="0" dirty="0" smtClean="0">
                <a:solidFill>
                  <a:schemeClr val="tx1"/>
                </a:solidFill>
                <a:effectLst/>
                <a:latin typeface="Segoe UI" pitchFamily="34" charset="0"/>
                <a:ea typeface="+mn-ea"/>
                <a:cs typeface="+mn-cs"/>
              </a:rPr>
              <a:t> </a:t>
            </a:r>
            <a:r>
              <a:rPr lang="en-US" sz="900" kern="1200" baseline="0" dirty="0" err="1" smtClean="0">
                <a:solidFill>
                  <a:schemeClr val="tx1"/>
                </a:solidFill>
                <a:effectLst/>
                <a:latin typeface="Segoe UI" pitchFamily="34" charset="0"/>
                <a:ea typeface="+mn-ea"/>
                <a:cs typeface="+mn-cs"/>
              </a:rPr>
              <a:t>en</a:t>
            </a:r>
            <a:r>
              <a:rPr lang="en-US" sz="900" kern="1200" baseline="0" dirty="0" smtClean="0">
                <a:solidFill>
                  <a:schemeClr val="tx1"/>
                </a:solidFill>
                <a:effectLst/>
                <a:latin typeface="Segoe UI" pitchFamily="34" charset="0"/>
                <a:ea typeface="+mn-ea"/>
                <a:cs typeface="+mn-cs"/>
              </a:rPr>
              <a:t> </a:t>
            </a:r>
            <a:r>
              <a:rPr lang="en-US" sz="900" kern="1200" baseline="0" dirty="0" err="1" smtClean="0">
                <a:solidFill>
                  <a:schemeClr val="tx1"/>
                </a:solidFill>
                <a:effectLst/>
                <a:latin typeface="Segoe UI" pitchFamily="34" charset="0"/>
                <a:ea typeface="+mn-ea"/>
                <a:cs typeface="+mn-cs"/>
              </a:rPr>
              <a:t>contre-partie</a:t>
            </a:r>
            <a:r>
              <a:rPr lang="en-US" sz="900" kern="1200" baseline="0" dirty="0" smtClean="0">
                <a:solidFill>
                  <a:schemeClr val="tx1"/>
                </a:solidFill>
                <a:effectLst/>
                <a:latin typeface="Segoe UI" pitchFamily="34" charset="0"/>
                <a:ea typeface="+mn-ea"/>
                <a:cs typeface="+mn-cs"/>
              </a:rPr>
              <a:t> le maximum de maintenance.</a:t>
            </a:r>
          </a:p>
          <a:p>
            <a:r>
              <a:rPr lang="en-US" sz="900" kern="1200" baseline="0" dirty="0" err="1" smtClean="0">
                <a:solidFill>
                  <a:schemeClr val="tx1"/>
                </a:solidFill>
                <a:effectLst/>
                <a:latin typeface="Segoe UI" pitchFamily="34" charset="0"/>
                <a:ea typeface="+mn-ea"/>
                <a:cs typeface="+mn-cs"/>
              </a:rPr>
              <a:t>C’est</a:t>
            </a:r>
            <a:r>
              <a:rPr lang="en-US" sz="900" kern="1200" baseline="0" dirty="0" smtClean="0">
                <a:solidFill>
                  <a:schemeClr val="tx1"/>
                </a:solidFill>
                <a:effectLst/>
                <a:latin typeface="Segoe UI" pitchFamily="34" charset="0"/>
                <a:ea typeface="+mn-ea"/>
                <a:cs typeface="+mn-cs"/>
              </a:rPr>
              <a:t> </a:t>
            </a:r>
            <a:r>
              <a:rPr lang="en-US" sz="900" kern="1200" baseline="0" dirty="0" err="1" smtClean="0">
                <a:solidFill>
                  <a:schemeClr val="tx1"/>
                </a:solidFill>
                <a:effectLst/>
                <a:latin typeface="Segoe UI" pitchFamily="34" charset="0"/>
                <a:ea typeface="+mn-ea"/>
                <a:cs typeface="+mn-cs"/>
              </a:rPr>
              <a:t>l’option</a:t>
            </a:r>
            <a:r>
              <a:rPr lang="en-US" sz="900" kern="1200" baseline="0" dirty="0" smtClean="0">
                <a:solidFill>
                  <a:schemeClr val="tx1"/>
                </a:solidFill>
                <a:effectLst/>
                <a:latin typeface="Segoe UI" pitchFamily="34" charset="0"/>
                <a:ea typeface="+mn-ea"/>
                <a:cs typeface="+mn-cs"/>
              </a:rPr>
              <a:t> la plus simple </a:t>
            </a:r>
            <a:r>
              <a:rPr lang="en-US" sz="900" kern="1200" baseline="0" dirty="0" err="1" smtClean="0">
                <a:solidFill>
                  <a:schemeClr val="tx1"/>
                </a:solidFill>
                <a:effectLst/>
                <a:latin typeface="Segoe UI" pitchFamily="34" charset="0"/>
                <a:ea typeface="+mn-ea"/>
                <a:cs typeface="+mn-cs"/>
              </a:rPr>
              <a:t>en</a:t>
            </a:r>
            <a:r>
              <a:rPr lang="en-US" sz="900" kern="1200" baseline="0" dirty="0" smtClean="0">
                <a:solidFill>
                  <a:schemeClr val="tx1"/>
                </a:solidFill>
                <a:effectLst/>
                <a:latin typeface="Segoe UI" pitchFamily="34" charset="0"/>
                <a:ea typeface="+mn-ea"/>
                <a:cs typeface="+mn-cs"/>
              </a:rPr>
              <a:t> </a:t>
            </a:r>
            <a:r>
              <a:rPr lang="en-US" sz="900" kern="1200" baseline="0" dirty="0" err="1" smtClean="0">
                <a:solidFill>
                  <a:schemeClr val="tx1"/>
                </a:solidFill>
                <a:effectLst/>
                <a:latin typeface="Segoe UI" pitchFamily="34" charset="0"/>
                <a:ea typeface="+mn-ea"/>
                <a:cs typeface="+mn-cs"/>
              </a:rPr>
              <a:t>terme</a:t>
            </a:r>
            <a:r>
              <a:rPr lang="en-US" sz="900" kern="1200" baseline="0" dirty="0" smtClean="0">
                <a:solidFill>
                  <a:schemeClr val="tx1"/>
                </a:solidFill>
                <a:effectLst/>
                <a:latin typeface="Segoe UI" pitchFamily="34" charset="0"/>
                <a:ea typeface="+mn-ea"/>
                <a:cs typeface="+mn-cs"/>
              </a:rPr>
              <a:t> de R&amp;D, car </a:t>
            </a:r>
            <a:r>
              <a:rPr lang="en-US" sz="900" kern="1200" baseline="0" dirty="0" err="1" smtClean="0">
                <a:solidFill>
                  <a:schemeClr val="tx1"/>
                </a:solidFill>
                <a:effectLst/>
                <a:latin typeface="Segoe UI" pitchFamily="34" charset="0"/>
                <a:ea typeface="+mn-ea"/>
                <a:cs typeface="+mn-cs"/>
              </a:rPr>
              <a:t>il</a:t>
            </a:r>
            <a:r>
              <a:rPr lang="en-US" sz="900" kern="1200" baseline="0" dirty="0" smtClean="0">
                <a:solidFill>
                  <a:schemeClr val="tx1"/>
                </a:solidFill>
                <a:effectLst/>
                <a:latin typeface="Segoe UI" pitchFamily="34" charset="0"/>
                <a:ea typeface="+mn-ea"/>
                <a:cs typeface="+mn-cs"/>
              </a:rPr>
              <a:t> </a:t>
            </a:r>
            <a:r>
              <a:rPr lang="en-US" sz="900" kern="1200" baseline="0" dirty="0" err="1" smtClean="0">
                <a:solidFill>
                  <a:schemeClr val="tx1"/>
                </a:solidFill>
                <a:effectLst/>
                <a:latin typeface="Segoe UI" pitchFamily="34" charset="0"/>
                <a:ea typeface="+mn-ea"/>
                <a:cs typeface="+mn-cs"/>
              </a:rPr>
              <a:t>n’y</a:t>
            </a:r>
            <a:r>
              <a:rPr lang="en-US" sz="900" kern="1200" baseline="0" dirty="0" smtClean="0">
                <a:solidFill>
                  <a:schemeClr val="tx1"/>
                </a:solidFill>
                <a:effectLst/>
                <a:latin typeface="Segoe UI" pitchFamily="34" charset="0"/>
                <a:ea typeface="+mn-ea"/>
                <a:cs typeface="+mn-cs"/>
              </a:rPr>
              <a:t> a pas de modification de code</a:t>
            </a:r>
          </a:p>
          <a:p>
            <a:endParaRPr lang="en-US" sz="900" kern="1200" baseline="0" dirty="0" smtClean="0">
              <a:solidFill>
                <a:schemeClr val="tx1"/>
              </a:solidFill>
              <a:effectLst/>
              <a:latin typeface="Segoe UI" pitchFamily="34" charset="0"/>
              <a:ea typeface="+mn-ea"/>
              <a:cs typeface="+mn-cs"/>
            </a:endParaRPr>
          </a:p>
          <a:p>
            <a:r>
              <a:rPr lang="en-US" sz="900" kern="1200" baseline="0" dirty="0" smtClean="0">
                <a:solidFill>
                  <a:schemeClr val="tx1"/>
                </a:solidFill>
                <a:effectLst/>
                <a:latin typeface="Segoe UI" pitchFamily="34" charset="0"/>
                <a:ea typeface="+mn-ea"/>
                <a:cs typeface="+mn-cs"/>
              </a:rPr>
              <a:t>Azure SQL Database </a:t>
            </a:r>
            <a:r>
              <a:rPr lang="en-US" sz="900" kern="1200" baseline="0" dirty="0" err="1" smtClean="0">
                <a:solidFill>
                  <a:schemeClr val="tx1"/>
                </a:solidFill>
                <a:effectLst/>
                <a:latin typeface="Segoe UI" pitchFamily="34" charset="0"/>
                <a:ea typeface="+mn-ea"/>
                <a:cs typeface="+mn-cs"/>
              </a:rPr>
              <a:t>est</a:t>
            </a:r>
            <a:r>
              <a:rPr lang="en-US" sz="900" kern="1200" baseline="0" dirty="0" smtClean="0">
                <a:solidFill>
                  <a:schemeClr val="tx1"/>
                </a:solidFill>
                <a:effectLst/>
                <a:latin typeface="Segoe UI" pitchFamily="34" charset="0"/>
                <a:ea typeface="+mn-ea"/>
                <a:cs typeface="+mn-cs"/>
              </a:rPr>
              <a:t> </a:t>
            </a:r>
            <a:r>
              <a:rPr lang="en-US" sz="900" kern="1200" baseline="0" dirty="0" err="1" smtClean="0">
                <a:solidFill>
                  <a:schemeClr val="tx1"/>
                </a:solidFill>
                <a:effectLst/>
                <a:latin typeface="Segoe UI" pitchFamily="34" charset="0"/>
                <a:ea typeface="+mn-ea"/>
                <a:cs typeface="+mn-cs"/>
              </a:rPr>
              <a:t>une</a:t>
            </a:r>
            <a:r>
              <a:rPr lang="en-US" sz="900" kern="1200" baseline="0" dirty="0" smtClean="0">
                <a:solidFill>
                  <a:schemeClr val="tx1"/>
                </a:solidFill>
                <a:effectLst/>
                <a:latin typeface="Segoe UI" pitchFamily="34" charset="0"/>
                <a:ea typeface="+mn-ea"/>
                <a:cs typeface="+mn-cs"/>
              </a:rPr>
              <a:t> base de </a:t>
            </a:r>
            <a:r>
              <a:rPr lang="en-US" sz="900" kern="1200" baseline="0" dirty="0" err="1" smtClean="0">
                <a:solidFill>
                  <a:schemeClr val="tx1"/>
                </a:solidFill>
                <a:effectLst/>
                <a:latin typeface="Segoe UI" pitchFamily="34" charset="0"/>
                <a:ea typeface="+mn-ea"/>
                <a:cs typeface="+mn-cs"/>
              </a:rPr>
              <a:t>données</a:t>
            </a:r>
            <a:r>
              <a:rPr lang="en-US" sz="900" kern="1200" baseline="0" dirty="0" smtClean="0">
                <a:solidFill>
                  <a:schemeClr val="tx1"/>
                </a:solidFill>
                <a:effectLst/>
                <a:latin typeface="Segoe UI" pitchFamily="34" charset="0"/>
                <a:ea typeface="+mn-ea"/>
                <a:cs typeface="+mn-cs"/>
              </a:rPr>
              <a:t> </a:t>
            </a:r>
            <a:r>
              <a:rPr lang="en-US" sz="900" kern="1200" baseline="0" dirty="0" err="1" smtClean="0">
                <a:solidFill>
                  <a:schemeClr val="tx1"/>
                </a:solidFill>
                <a:effectLst/>
                <a:latin typeface="Segoe UI" pitchFamily="34" charset="0"/>
                <a:ea typeface="+mn-ea"/>
                <a:cs typeface="+mn-cs"/>
              </a:rPr>
              <a:t>hautement</a:t>
            </a:r>
            <a:r>
              <a:rPr lang="en-US" sz="900" kern="1200" baseline="0" dirty="0" smtClean="0">
                <a:solidFill>
                  <a:schemeClr val="tx1"/>
                </a:solidFill>
                <a:effectLst/>
                <a:latin typeface="Segoe UI" pitchFamily="34" charset="0"/>
                <a:ea typeface="+mn-ea"/>
                <a:cs typeface="+mn-cs"/>
              </a:rPr>
              <a:t> </a:t>
            </a:r>
            <a:r>
              <a:rPr lang="en-US" sz="900" kern="1200" baseline="0" dirty="0" err="1" smtClean="0">
                <a:solidFill>
                  <a:schemeClr val="tx1"/>
                </a:solidFill>
                <a:effectLst/>
                <a:latin typeface="Segoe UI" pitchFamily="34" charset="0"/>
                <a:ea typeface="+mn-ea"/>
                <a:cs typeface="+mn-cs"/>
              </a:rPr>
              <a:t>disponible</a:t>
            </a:r>
            <a:r>
              <a:rPr lang="en-US" sz="900" kern="1200" baseline="0" dirty="0" smtClean="0">
                <a:solidFill>
                  <a:schemeClr val="tx1"/>
                </a:solidFill>
                <a:effectLst/>
                <a:latin typeface="Segoe UI" pitchFamily="34" charset="0"/>
                <a:ea typeface="+mn-ea"/>
                <a:cs typeface="+mn-cs"/>
              </a:rPr>
              <a:t>, </a:t>
            </a:r>
            <a:r>
              <a:rPr lang="en-US" sz="900" kern="1200" baseline="0" dirty="0" err="1" smtClean="0">
                <a:solidFill>
                  <a:schemeClr val="tx1"/>
                </a:solidFill>
                <a:effectLst/>
                <a:latin typeface="Segoe UI" pitchFamily="34" charset="0"/>
                <a:ea typeface="+mn-ea"/>
                <a:cs typeface="+mn-cs"/>
              </a:rPr>
              <a:t>totalement</a:t>
            </a:r>
            <a:r>
              <a:rPr lang="en-US" sz="900" kern="1200" baseline="0" dirty="0" smtClean="0">
                <a:solidFill>
                  <a:schemeClr val="tx1"/>
                </a:solidFill>
                <a:effectLst/>
                <a:latin typeface="Segoe UI" pitchFamily="34" charset="0"/>
                <a:ea typeface="+mn-ea"/>
                <a:cs typeface="+mn-cs"/>
              </a:rPr>
              <a:t> </a:t>
            </a:r>
            <a:r>
              <a:rPr lang="en-US" sz="900" kern="1200" baseline="0" dirty="0" err="1" smtClean="0">
                <a:solidFill>
                  <a:schemeClr val="tx1"/>
                </a:solidFill>
                <a:effectLst/>
                <a:latin typeface="Segoe UI" pitchFamily="34" charset="0"/>
                <a:ea typeface="+mn-ea"/>
                <a:cs typeface="+mn-cs"/>
              </a:rPr>
              <a:t>gérée</a:t>
            </a:r>
            <a:r>
              <a:rPr lang="en-US" sz="900" kern="1200" baseline="0" dirty="0" smtClean="0">
                <a:solidFill>
                  <a:schemeClr val="tx1"/>
                </a:solidFill>
                <a:effectLst/>
                <a:latin typeface="Segoe UI" pitchFamily="34" charset="0"/>
                <a:ea typeface="+mn-ea"/>
                <a:cs typeface="+mn-cs"/>
              </a:rPr>
              <a:t> par Microsoft.</a:t>
            </a:r>
          </a:p>
          <a:p>
            <a:r>
              <a:rPr lang="en-US" sz="900" kern="1200" baseline="0" dirty="0" err="1" smtClean="0">
                <a:solidFill>
                  <a:schemeClr val="tx1"/>
                </a:solidFill>
                <a:effectLst/>
                <a:latin typeface="Segoe UI" pitchFamily="34" charset="0"/>
                <a:ea typeface="+mn-ea"/>
                <a:cs typeface="+mn-cs"/>
              </a:rPr>
              <a:t>Certaines</a:t>
            </a:r>
            <a:r>
              <a:rPr lang="en-US" sz="900" kern="1200" baseline="0" dirty="0" smtClean="0">
                <a:solidFill>
                  <a:schemeClr val="tx1"/>
                </a:solidFill>
                <a:effectLst/>
                <a:latin typeface="Segoe UI" pitchFamily="34" charset="0"/>
                <a:ea typeface="+mn-ea"/>
                <a:cs typeface="+mn-cs"/>
              </a:rPr>
              <a:t> </a:t>
            </a:r>
            <a:r>
              <a:rPr lang="en-US" sz="900" kern="1200" baseline="0" dirty="0" err="1" smtClean="0">
                <a:solidFill>
                  <a:schemeClr val="tx1"/>
                </a:solidFill>
                <a:effectLst/>
                <a:latin typeface="Segoe UI" pitchFamily="34" charset="0"/>
                <a:ea typeface="+mn-ea"/>
                <a:cs typeface="+mn-cs"/>
              </a:rPr>
              <a:t>fonctionnalités</a:t>
            </a:r>
            <a:r>
              <a:rPr lang="en-US" sz="900" kern="1200" baseline="0" dirty="0" smtClean="0">
                <a:solidFill>
                  <a:schemeClr val="tx1"/>
                </a:solidFill>
                <a:effectLst/>
                <a:latin typeface="Segoe UI" pitchFamily="34" charset="0"/>
                <a:ea typeface="+mn-ea"/>
                <a:cs typeface="+mn-cs"/>
              </a:rPr>
              <a:t> de SQL Server ne </a:t>
            </a:r>
            <a:r>
              <a:rPr lang="en-US" sz="900" kern="1200" baseline="0" dirty="0" err="1" smtClean="0">
                <a:solidFill>
                  <a:schemeClr val="tx1"/>
                </a:solidFill>
                <a:effectLst/>
                <a:latin typeface="Segoe UI" pitchFamily="34" charset="0"/>
                <a:ea typeface="+mn-ea"/>
                <a:cs typeface="+mn-cs"/>
              </a:rPr>
              <a:t>sont</a:t>
            </a:r>
            <a:r>
              <a:rPr lang="en-US" sz="900" kern="1200" baseline="0" dirty="0" smtClean="0">
                <a:solidFill>
                  <a:schemeClr val="tx1"/>
                </a:solidFill>
                <a:effectLst/>
                <a:latin typeface="Segoe UI" pitchFamily="34" charset="0"/>
                <a:ea typeface="+mn-ea"/>
                <a:cs typeface="+mn-cs"/>
              </a:rPr>
              <a:t> pas </a:t>
            </a:r>
            <a:r>
              <a:rPr lang="en-US" sz="900" kern="1200" baseline="0" dirty="0" err="1" smtClean="0">
                <a:solidFill>
                  <a:schemeClr val="tx1"/>
                </a:solidFill>
                <a:effectLst/>
                <a:latin typeface="Segoe UI" pitchFamily="34" charset="0"/>
                <a:ea typeface="+mn-ea"/>
                <a:cs typeface="+mn-cs"/>
              </a:rPr>
              <a:t>supportées</a:t>
            </a:r>
            <a:r>
              <a:rPr lang="en-US" sz="900" kern="1200" baseline="0" dirty="0" smtClean="0">
                <a:solidFill>
                  <a:schemeClr val="tx1"/>
                </a:solidFill>
                <a:effectLst/>
                <a:latin typeface="Segoe UI" pitchFamily="34" charset="0"/>
                <a:ea typeface="+mn-ea"/>
                <a:cs typeface="+mn-cs"/>
              </a:rPr>
              <a:t> (Select Into, Full Text Search), </a:t>
            </a:r>
            <a:r>
              <a:rPr lang="en-US" sz="900" kern="1200" baseline="0" dirty="0" err="1" smtClean="0">
                <a:solidFill>
                  <a:schemeClr val="tx1"/>
                </a:solidFill>
                <a:effectLst/>
                <a:latin typeface="Segoe UI" pitchFamily="34" charset="0"/>
                <a:ea typeface="+mn-ea"/>
                <a:cs typeface="+mn-cs"/>
              </a:rPr>
              <a:t>donc</a:t>
            </a:r>
            <a:r>
              <a:rPr lang="en-US" sz="900" kern="1200" baseline="0" dirty="0" smtClean="0">
                <a:solidFill>
                  <a:schemeClr val="tx1"/>
                </a:solidFill>
                <a:effectLst/>
                <a:latin typeface="Segoe UI" pitchFamily="34" charset="0"/>
                <a:ea typeface="+mn-ea"/>
                <a:cs typeface="+mn-cs"/>
              </a:rPr>
              <a:t> </a:t>
            </a:r>
            <a:r>
              <a:rPr lang="en-US" sz="900" kern="1200" baseline="0" dirty="0" err="1" smtClean="0">
                <a:solidFill>
                  <a:schemeClr val="tx1"/>
                </a:solidFill>
                <a:effectLst/>
                <a:latin typeface="Segoe UI" pitchFamily="34" charset="0"/>
                <a:ea typeface="+mn-ea"/>
                <a:cs typeface="+mn-cs"/>
              </a:rPr>
              <a:t>coût</a:t>
            </a:r>
            <a:r>
              <a:rPr lang="en-US" sz="900" kern="1200" baseline="0" dirty="0" smtClean="0">
                <a:solidFill>
                  <a:schemeClr val="tx1"/>
                </a:solidFill>
                <a:effectLst/>
                <a:latin typeface="Segoe UI" pitchFamily="34" charset="0"/>
                <a:ea typeface="+mn-ea"/>
                <a:cs typeface="+mn-cs"/>
              </a:rPr>
              <a:t> </a:t>
            </a:r>
            <a:r>
              <a:rPr lang="en-US" sz="900" kern="1200" baseline="0" dirty="0" err="1" smtClean="0">
                <a:solidFill>
                  <a:schemeClr val="tx1"/>
                </a:solidFill>
                <a:effectLst/>
                <a:latin typeface="Segoe UI" pitchFamily="34" charset="0"/>
                <a:ea typeface="+mn-ea"/>
                <a:cs typeface="+mn-cs"/>
              </a:rPr>
              <a:t>d’adaptation</a:t>
            </a:r>
            <a:r>
              <a:rPr lang="en-US" sz="900" kern="1200" baseline="0" dirty="0" smtClean="0">
                <a:solidFill>
                  <a:schemeClr val="tx1"/>
                </a:solidFill>
                <a:effectLst/>
                <a:latin typeface="Segoe UI" pitchFamily="34" charset="0"/>
                <a:ea typeface="+mn-ea"/>
                <a:cs typeface="+mn-cs"/>
              </a:rPr>
              <a:t> à </a:t>
            </a:r>
            <a:r>
              <a:rPr lang="en-US" sz="900" kern="1200" baseline="0" dirty="0" err="1" smtClean="0">
                <a:solidFill>
                  <a:schemeClr val="tx1"/>
                </a:solidFill>
                <a:effectLst/>
                <a:latin typeface="Segoe UI" pitchFamily="34" charset="0"/>
                <a:ea typeface="+mn-ea"/>
                <a:cs typeface="+mn-cs"/>
              </a:rPr>
              <a:t>prendre</a:t>
            </a:r>
            <a:r>
              <a:rPr lang="en-US" sz="900" kern="1200" baseline="0" dirty="0" smtClean="0">
                <a:solidFill>
                  <a:schemeClr val="tx1"/>
                </a:solidFill>
                <a:effectLst/>
                <a:latin typeface="Segoe UI" pitchFamily="34" charset="0"/>
                <a:ea typeface="+mn-ea"/>
                <a:cs typeface="+mn-cs"/>
              </a:rPr>
              <a:t> </a:t>
            </a:r>
            <a:r>
              <a:rPr lang="en-US" sz="900" kern="1200" baseline="0" dirty="0" err="1" smtClean="0">
                <a:solidFill>
                  <a:schemeClr val="tx1"/>
                </a:solidFill>
                <a:effectLst/>
                <a:latin typeface="Segoe UI" pitchFamily="34" charset="0"/>
                <a:ea typeface="+mn-ea"/>
                <a:cs typeface="+mn-cs"/>
              </a:rPr>
              <a:t>en</a:t>
            </a:r>
            <a:r>
              <a:rPr lang="en-US" sz="900" kern="1200" baseline="0" dirty="0" smtClean="0">
                <a:solidFill>
                  <a:schemeClr val="tx1"/>
                </a:solidFill>
                <a:effectLst/>
                <a:latin typeface="Segoe UI" pitchFamily="34" charset="0"/>
                <a:ea typeface="+mn-ea"/>
                <a:cs typeface="+mn-cs"/>
              </a:rPr>
              <a:t> </a:t>
            </a:r>
            <a:r>
              <a:rPr lang="en-US" sz="900" kern="1200" baseline="0" dirty="0" err="1" smtClean="0">
                <a:solidFill>
                  <a:schemeClr val="tx1"/>
                </a:solidFill>
                <a:effectLst/>
                <a:latin typeface="Segoe UI" pitchFamily="34" charset="0"/>
                <a:ea typeface="+mn-ea"/>
                <a:cs typeface="+mn-cs"/>
              </a:rPr>
              <a:t>compte</a:t>
            </a:r>
            <a:endParaRPr lang="en-US" sz="900" kern="1200" baseline="0" dirty="0" smtClean="0">
              <a:solidFill>
                <a:schemeClr val="tx1"/>
              </a:solidFill>
              <a:effectLst/>
              <a:latin typeface="Segoe UI" pitchFamily="34" charset="0"/>
              <a:ea typeface="+mn-ea"/>
              <a:cs typeface="+mn-cs"/>
            </a:endParaRPr>
          </a:p>
          <a:p>
            <a:r>
              <a:rPr lang="en-US" sz="900" kern="1200" baseline="0" dirty="0" err="1" smtClean="0">
                <a:solidFill>
                  <a:schemeClr val="tx1"/>
                </a:solidFill>
                <a:effectLst/>
                <a:latin typeface="Segoe UI" pitchFamily="34" charset="0"/>
                <a:ea typeface="+mn-ea"/>
                <a:cs typeface="+mn-cs"/>
              </a:rPr>
              <a:t>C’est</a:t>
            </a:r>
            <a:r>
              <a:rPr lang="en-US" sz="900" kern="1200" baseline="0" dirty="0" smtClean="0">
                <a:solidFill>
                  <a:schemeClr val="tx1"/>
                </a:solidFill>
                <a:effectLst/>
                <a:latin typeface="Segoe UI" pitchFamily="34" charset="0"/>
                <a:ea typeface="+mn-ea"/>
                <a:cs typeface="+mn-cs"/>
              </a:rPr>
              <a:t> par </a:t>
            </a:r>
            <a:r>
              <a:rPr lang="en-US" sz="900" kern="1200" baseline="0" dirty="0" err="1" smtClean="0">
                <a:solidFill>
                  <a:schemeClr val="tx1"/>
                </a:solidFill>
                <a:effectLst/>
                <a:latin typeface="Segoe UI" pitchFamily="34" charset="0"/>
                <a:ea typeface="+mn-ea"/>
                <a:cs typeface="+mn-cs"/>
              </a:rPr>
              <a:t>contre</a:t>
            </a:r>
            <a:r>
              <a:rPr lang="en-US" sz="900" kern="1200" baseline="0" dirty="0" smtClean="0">
                <a:solidFill>
                  <a:schemeClr val="tx1"/>
                </a:solidFill>
                <a:effectLst/>
                <a:latin typeface="Segoe UI" pitchFamily="34" charset="0"/>
                <a:ea typeface="+mn-ea"/>
                <a:cs typeface="+mn-cs"/>
              </a:rPr>
              <a:t> </a:t>
            </a:r>
            <a:r>
              <a:rPr lang="en-US" sz="900" kern="1200" baseline="0" dirty="0" err="1" smtClean="0">
                <a:solidFill>
                  <a:schemeClr val="tx1"/>
                </a:solidFill>
                <a:effectLst/>
                <a:latin typeface="Segoe UI" pitchFamily="34" charset="0"/>
                <a:ea typeface="+mn-ea"/>
                <a:cs typeface="+mn-cs"/>
              </a:rPr>
              <a:t>l’option</a:t>
            </a:r>
            <a:r>
              <a:rPr lang="en-US" sz="900" kern="1200" baseline="0" dirty="0" smtClean="0">
                <a:solidFill>
                  <a:schemeClr val="tx1"/>
                </a:solidFill>
                <a:effectLst/>
                <a:latin typeface="Segoe UI" pitchFamily="34" charset="0"/>
                <a:ea typeface="+mn-ea"/>
                <a:cs typeface="+mn-cs"/>
              </a:rPr>
              <a:t> la plus simple au </a:t>
            </a:r>
            <a:r>
              <a:rPr lang="en-US" sz="900" kern="1200" baseline="0" dirty="0" err="1" smtClean="0">
                <a:solidFill>
                  <a:schemeClr val="tx1"/>
                </a:solidFill>
                <a:effectLst/>
                <a:latin typeface="Segoe UI" pitchFamily="34" charset="0"/>
                <a:ea typeface="+mn-ea"/>
                <a:cs typeface="+mn-cs"/>
              </a:rPr>
              <a:t>niveau</a:t>
            </a:r>
            <a:r>
              <a:rPr lang="en-US" sz="900" kern="1200" baseline="0" dirty="0" smtClean="0">
                <a:solidFill>
                  <a:schemeClr val="tx1"/>
                </a:solidFill>
                <a:effectLst/>
                <a:latin typeface="Segoe UI" pitchFamily="34" charset="0"/>
                <a:ea typeface="+mn-ea"/>
                <a:cs typeface="+mn-cs"/>
              </a:rPr>
              <a:t> maintenance.</a:t>
            </a:r>
            <a:endParaRPr lang="en-US" sz="900" kern="1200" dirty="0" smtClean="0">
              <a:solidFill>
                <a:schemeClr val="tx1"/>
              </a:solidFill>
              <a:effectLst/>
              <a:latin typeface="Segoe UI" pitchFamily="34" charset="0"/>
              <a:ea typeface="+mn-ea"/>
              <a:cs typeface="+mn-cs"/>
            </a:endParaRP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E4B91D7-D937-4E5F-BA99-DF299C85B5CA}" type="datetime1">
              <a:rPr lang="en-US" smtClean="0"/>
              <a:t>8/27/2015</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19</a:t>
            </a:fld>
            <a:endParaRPr lang="en-US" dirty="0"/>
          </a:p>
        </p:txBody>
      </p:sp>
    </p:spTree>
    <p:extLst>
      <p:ext uri="{BB962C8B-B14F-4D97-AF65-F5344CB8AC3E}">
        <p14:creationId xmlns:p14="http://schemas.microsoft.com/office/powerpoint/2010/main" val="15768658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ith</a:t>
            </a:r>
            <a:r>
              <a:rPr lang="en-US" baseline="0" dirty="0" smtClean="0"/>
              <a:t> SQL Server v-next we are continuing to invest in three major areas.  We are going to continue push the envelope on mission critical performance, with SQL Server 2014 we began to pull away from the Tier 1 competitors with innovative in-memory technology built-in.  Next release we will further our lead with new innovations across many mission critical components.  When it comes to providing insights on data, we are making significant investment both on premises and complimentary services via Azure to help you gain deeper insights across your data.  Finally we are adding new hybrid capabilities that will compliment your on-</a:t>
            </a:r>
            <a:r>
              <a:rPr lang="en-US" baseline="0" dirty="0" err="1" smtClean="0"/>
              <a:t>prem</a:t>
            </a:r>
            <a:r>
              <a:rPr lang="en-US" baseline="0" dirty="0" smtClean="0"/>
              <a:t> investments and give you the ability to take advantage of our </a:t>
            </a:r>
            <a:r>
              <a:rPr lang="en-US" baseline="0" dirty="0" err="1" smtClean="0"/>
              <a:t>hyperscale</a:t>
            </a:r>
            <a:r>
              <a:rPr lang="en-US" baseline="0" dirty="0" smtClean="0"/>
              <a:t> cloud. </a:t>
            </a:r>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System Center Marketing</a:t>
            </a:r>
            <a:endParaRPr lang="en-US" dirty="0" smtClean="0">
              <a:solidFill>
                <a:prstClr val="black"/>
              </a:solidFill>
            </a:endParaRPr>
          </a:p>
        </p:txBody>
      </p:sp>
      <p:sp>
        <p:nvSpPr>
          <p:cNvPr id="5" name="Footer Placeholder 4"/>
          <p:cNvSpPr>
            <a:spLocks noGrp="1"/>
          </p:cNvSpPr>
          <p:nvPr>
            <p:ph type="ftr" sz="quarter" idx="11"/>
          </p:nvPr>
        </p:nvSpPr>
        <p:spPr/>
        <p:txBody>
          <a:bodyPr/>
          <a:lstStyle/>
          <a:p>
            <a:pPr defTabSz="94905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905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79C244B-9810-46DF-B81E-A6CAC455C285}" type="datetime1">
              <a:rPr lang="en-US" smtClean="0">
                <a:solidFill>
                  <a:prstClr val="black"/>
                </a:solidFill>
              </a:rPr>
              <a:pPr/>
              <a:t>8/27/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214895155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smtClean="0"/>
              <a:t>When</a:t>
            </a:r>
            <a:r>
              <a:rPr lang="en-US" baseline="0" dirty="0" smtClean="0"/>
              <a:t> it comes mission critical performance one are we are making a continued investment on is our in-memory technology.  We are still keeping to the workload optimized approach as customers want to optimize in-memory by workload.  When it comes to In-Memory OLTP you will now be able to apply this tuned transaction performance technology to a significantly greater number of applications with expanded T-SQL surface area.  In addition to providing up 30x performance gains you will now be able to gain real-time operational insights on your operational data.  This data can be in-memory or on disk.  Again what is unique here the ability to have speed of in-memory and operational analytics other competing solutions offer one or the other.  Not only will OLTP performance be enhanced but you will also see an increase in concurrency where we can now take advantage of even higher parallel compute (double the compute, from 64CPUs to 128) and memory allocations (Terabytes)</a:t>
            </a:r>
            <a:endParaRPr lang="en-US" dirty="0"/>
          </a:p>
        </p:txBody>
      </p:sp>
      <p:sp>
        <p:nvSpPr>
          <p:cNvPr id="4" name="Header Placeholder 3"/>
          <p:cNvSpPr>
            <a:spLocks noGrp="1"/>
          </p:cNvSpPr>
          <p:nvPr>
            <p:ph type="hdr" sz="quarter" idx="10"/>
          </p:nvPr>
        </p:nvSpPr>
        <p:spPr/>
        <p:txBody>
          <a:bodyPr/>
          <a:lstStyle/>
          <a:p>
            <a:r>
              <a:rPr lang="en-US" dirty="0" smtClean="0">
                <a:solidFill>
                  <a:prstClr val="black"/>
                </a:solidFill>
              </a:rPr>
              <a:t>Server &amp; Tools Business</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A171B3BB-DFF4-43DF-B887-7B1543BC1A74}" type="datetime1">
              <a:rPr lang="en-US" smtClean="0">
                <a:solidFill>
                  <a:prstClr val="black"/>
                </a:solidFill>
              </a:rPr>
              <a:pPr/>
              <a:t>8/27/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2</a:t>
            </a:fld>
            <a:endParaRPr lang="en-US" dirty="0">
              <a:solidFill>
                <a:prstClr val="black"/>
              </a:solidFill>
            </a:endParaRPr>
          </a:p>
        </p:txBody>
      </p:sp>
    </p:spTree>
    <p:extLst>
      <p:ext uri="{BB962C8B-B14F-4D97-AF65-F5344CB8AC3E}">
        <p14:creationId xmlns:p14="http://schemas.microsoft.com/office/powerpoint/2010/main" val="59139007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440A7F1-1D53-4645-8AB9-46355AEB7888}" type="slidenum">
              <a:rPr lang="en-US" smtClean="0">
                <a:solidFill>
                  <a:prstClr val="black"/>
                </a:solidFill>
              </a:rPr>
              <a:pPr/>
              <a:t>23</a:t>
            </a:fld>
            <a:endParaRPr lang="en-US">
              <a:solidFill>
                <a:prstClr val="black"/>
              </a:solidFill>
            </a:endParaRPr>
          </a:p>
        </p:txBody>
      </p:sp>
    </p:spTree>
    <p:extLst>
      <p:ext uri="{BB962C8B-B14F-4D97-AF65-F5344CB8AC3E}">
        <p14:creationId xmlns:p14="http://schemas.microsoft.com/office/powerpoint/2010/main" val="202500945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Header Placeholder 3"/>
          <p:cNvSpPr>
            <a:spLocks noGrp="1"/>
          </p:cNvSpPr>
          <p:nvPr>
            <p:ph type="hdr" sz="quarter" idx="10"/>
          </p:nvPr>
        </p:nvSpPr>
        <p:spPr/>
        <p:txBody>
          <a:bodyPr/>
          <a:lstStyle/>
          <a:p>
            <a:r>
              <a:rPr lang="en-US" dirty="0" smtClean="0"/>
              <a:t>Microsoft Ignite 2015</a:t>
            </a: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8/27/2015 11:1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5</a:t>
            </a:fld>
            <a:endParaRPr lang="en-US" dirty="0"/>
          </a:p>
        </p:txBody>
      </p:sp>
    </p:spTree>
    <p:extLst>
      <p:ext uri="{BB962C8B-B14F-4D97-AF65-F5344CB8AC3E}">
        <p14:creationId xmlns:p14="http://schemas.microsoft.com/office/powerpoint/2010/main" val="404943242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Header Placeholder 3"/>
          <p:cNvSpPr>
            <a:spLocks noGrp="1"/>
          </p:cNvSpPr>
          <p:nvPr>
            <p:ph type="hdr" sz="quarter" idx="10"/>
          </p:nvPr>
        </p:nvSpPr>
        <p:spPr/>
        <p:txBody>
          <a:bodyPr/>
          <a:lstStyle/>
          <a:p>
            <a:r>
              <a:rPr lang="en-US" dirty="0" smtClean="0"/>
              <a:t>Microsoft Ignite 2015</a:t>
            </a: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8/27/2015 11:1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6</a:t>
            </a:fld>
            <a:endParaRPr lang="en-US" dirty="0"/>
          </a:p>
        </p:txBody>
      </p:sp>
    </p:spTree>
    <p:extLst>
      <p:ext uri="{BB962C8B-B14F-4D97-AF65-F5344CB8AC3E}">
        <p14:creationId xmlns:p14="http://schemas.microsoft.com/office/powerpoint/2010/main" val="15293193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97EC2E71-BC3B-49B8-B2BF-93DCC9B91A9A}" type="datetime1">
              <a:rPr lang="en-US" smtClean="0"/>
              <a:t>8/27/2015</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0</a:t>
            </a:fld>
            <a:endParaRPr lang="en-US" dirty="0"/>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06676126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97EC2E71-BC3B-49B8-B2BF-93DCC9B91A9A}" type="datetime1">
              <a:rPr lang="en-US" smtClean="0"/>
              <a:t>8/27/2015</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1</a:t>
            </a:fld>
            <a:endParaRPr lang="en-US" dirty="0"/>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78567571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32</a:t>
            </a:fld>
            <a:endParaRPr lang="en-US" dirty="0"/>
          </a:p>
        </p:txBody>
      </p:sp>
      <p:sp>
        <p:nvSpPr>
          <p:cNvPr id="10" name="Date Placeholder 9"/>
          <p:cNvSpPr>
            <a:spLocks noGrp="1"/>
          </p:cNvSpPr>
          <p:nvPr>
            <p:ph type="dt" idx="13"/>
          </p:nvPr>
        </p:nvSpPr>
        <p:spPr/>
        <p:txBody>
          <a:bodyPr/>
          <a:lstStyle/>
          <a:p>
            <a:fld id="{F6D0C1E9-C76A-461C-8E91-17FFC972AC04}" type="datetime1">
              <a:rPr lang="en-US" smtClean="0"/>
              <a:t>8/27/2015</a:t>
            </a:fld>
            <a:endParaRPr lang="en-US" dirty="0"/>
          </a:p>
        </p:txBody>
      </p:sp>
      <p:sp>
        <p:nvSpPr>
          <p:cNvPr id="7" name="Footer Placeholder 6"/>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4682327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WPC 2012</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1E1F49AF-B6F0-4B7E-800A-67E5C5F1B471}" type="datetime1">
              <a:rPr lang="en-US" smtClean="0"/>
              <a:t>8/27/2015</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4</a:t>
            </a:fld>
            <a:endParaRPr lang="en-US" dirty="0"/>
          </a:p>
        </p:txBody>
      </p:sp>
    </p:spTree>
    <p:extLst>
      <p:ext uri="{BB962C8B-B14F-4D97-AF65-F5344CB8AC3E}">
        <p14:creationId xmlns:p14="http://schemas.microsoft.com/office/powerpoint/2010/main" val="416860624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s</a:t>
            </a:r>
            <a:r>
              <a:rPr lang="en-US" baseline="0" dirty="0" smtClean="0"/>
              <a:t> you can see a lot of new capabilities.</a:t>
            </a:r>
          </a:p>
          <a:p>
            <a:r>
              <a:rPr lang="en-US" baseline="0" dirty="0" smtClean="0"/>
              <a:t>From a performance perspective, in-memory is the biggest ticket item.  We are continuing with our design point of workload optimized in-memory, but now allowing you gain real-time insights on your operational data with the ability to run a columnar index over your in-memory or on disk row store.  </a:t>
            </a:r>
            <a:r>
              <a:rPr lang="en-US" baseline="0" dirty="0" err="1" smtClean="0"/>
              <a:t>Whats</a:t>
            </a:r>
            <a:r>
              <a:rPr lang="en-US" baseline="0" dirty="0" smtClean="0"/>
              <a:t> unique here is you can gain the speed of in-memory OLTP and have the ability to gain operation analytics.  Even if you are not using in-memory you can gain operational insights.  Also you can apply our in-memory technology to more of your applications than ever before with expanded T-SQL surface area support.</a:t>
            </a:r>
          </a:p>
          <a:p>
            <a:r>
              <a:rPr lang="en-US" baseline="0" dirty="0" smtClean="0"/>
              <a:t>A couple of other items that can help you gain additional performance tuning the new Query Data Store feature that will allow you to monitor your query plans so you can optimize them of particular application scenarios over time.  </a:t>
            </a:r>
          </a:p>
          <a:p>
            <a:r>
              <a:rPr lang="en-US" baseline="0" dirty="0" smtClean="0"/>
              <a:t>We have also added native JSON support in the core database engine so now you have support for schema free data to tackle more diverse data types right in SQL Server. We also added temporal database support so you can record, audit and query data changes over time.</a:t>
            </a:r>
          </a:p>
          <a:p>
            <a:endParaRPr lang="en-US" baseline="0" dirty="0" smtClean="0"/>
          </a:p>
          <a:p>
            <a:r>
              <a:rPr lang="en-US" baseline="0" dirty="0" smtClean="0"/>
              <a:t>With JSON</a:t>
            </a:r>
          </a:p>
          <a:p>
            <a:r>
              <a:rPr lang="en-US" sz="1200" kern="1200" dirty="0" smtClean="0">
                <a:solidFill>
                  <a:schemeClr val="tx1"/>
                </a:solidFill>
                <a:effectLst/>
                <a:latin typeface="+mn-lt"/>
                <a:ea typeface="MS PGothic" panose="020B0600070205080204" pitchFamily="34" charset="-128"/>
                <a:cs typeface="ＭＳ Ｐゴシック" charset="0"/>
              </a:rPr>
              <a:t>* I can validate that JSON text is well-formatted using built-in JSON functions and constraints. </a:t>
            </a:r>
          </a:p>
          <a:p>
            <a:r>
              <a:rPr lang="en-US" sz="1200" kern="1200" dirty="0" smtClean="0">
                <a:solidFill>
                  <a:schemeClr val="tx1"/>
                </a:solidFill>
                <a:effectLst/>
                <a:latin typeface="+mn-lt"/>
                <a:ea typeface="MS PGothic" panose="020B0600070205080204" pitchFamily="34" charset="-128"/>
                <a:cs typeface="ＭＳ Ｐゴシック" charset="0"/>
              </a:rPr>
              <a:t>* I can format JSON directly in SQL queries instead of application layer. </a:t>
            </a:r>
          </a:p>
          <a:p>
            <a:r>
              <a:rPr lang="en-US" sz="1200" kern="1200" dirty="0" smtClean="0">
                <a:solidFill>
                  <a:schemeClr val="tx1"/>
                </a:solidFill>
                <a:effectLst/>
                <a:latin typeface="+mn-lt"/>
                <a:ea typeface="MS PGothic" panose="020B0600070205080204" pitchFamily="34" charset="-128"/>
                <a:cs typeface="ＭＳ Ｐゴシック" charset="0"/>
              </a:rPr>
              <a:t>* I can parse JSON data and use properties in queries. </a:t>
            </a:r>
          </a:p>
          <a:p>
            <a:r>
              <a:rPr lang="en-US" sz="1200" kern="1200" dirty="0" smtClean="0">
                <a:solidFill>
                  <a:schemeClr val="tx1"/>
                </a:solidFill>
                <a:effectLst/>
                <a:latin typeface="+mn-lt"/>
                <a:ea typeface="MS PGothic" panose="020B0600070205080204" pitchFamily="34" charset="-128"/>
                <a:cs typeface="ＭＳ Ｐゴシック" charset="0"/>
              </a:rPr>
              <a:t>* I can convert JSON text to relational structure and use standard data processing with T-SQL syntax. </a:t>
            </a:r>
          </a:p>
          <a:p>
            <a:r>
              <a:rPr lang="en-US" sz="1200" kern="1200" dirty="0" smtClean="0">
                <a:solidFill>
                  <a:schemeClr val="tx1"/>
                </a:solidFill>
                <a:effectLst/>
                <a:latin typeface="+mn-lt"/>
                <a:ea typeface="MS PGothic" panose="020B0600070205080204" pitchFamily="34" charset="-128"/>
                <a:cs typeface="ＭＳ Ｐゴシック" charset="0"/>
              </a:rPr>
              <a:t>* I can update JSON data without some programming language or complex regular expressions. </a:t>
            </a:r>
          </a:p>
          <a:p>
            <a:endParaRPr lang="en-US" baseline="0" dirty="0" smtClean="0"/>
          </a:p>
          <a:p>
            <a:endParaRPr lang="en-US" baseline="0" dirty="0" smtClean="0"/>
          </a:p>
          <a:p>
            <a:r>
              <a:rPr lang="en-US" baseline="0" dirty="0" smtClean="0"/>
              <a:t>Security</a:t>
            </a:r>
          </a:p>
          <a:p>
            <a:r>
              <a:rPr lang="en-US" baseline="0" dirty="0" smtClean="0"/>
              <a:t>When it comes to security we will be introducing a unique capability to have your data encrypted while at rest and in motion with the ability to query that data while it is encrypted.  This is great for internal compliance and has minimal overhead.  We are calling this capability Transparent queryable encryption.</a:t>
            </a:r>
          </a:p>
          <a:p>
            <a:endParaRPr lang="en-US" baseline="0" dirty="0" smtClean="0"/>
          </a:p>
          <a:p>
            <a:r>
              <a:rPr lang="en-US" baseline="0" dirty="0" smtClean="0"/>
              <a:t>We are also delivering what you have been asking for some time, Row Level Security.  A few other enhancements like TDE support of In-Memory OLTP  and enhanced auditing capabilities give you several options to fine tune to meet you security needs.  Also coupling this with having the least vulnerable database for the last 6 years in a row by National Institute of Standards and Technology, we fill will put us in the clear leadership position when it comes to security for your mission critical applications.</a:t>
            </a:r>
          </a:p>
          <a:p>
            <a:endParaRPr lang="en-US" baseline="0" dirty="0" smtClean="0"/>
          </a:p>
          <a:p>
            <a:r>
              <a:rPr lang="en-US" baseline="0" dirty="0" smtClean="0"/>
              <a:t>Availability</a:t>
            </a:r>
          </a:p>
          <a:p>
            <a:r>
              <a:rPr lang="en-US" baseline="0" dirty="0" smtClean="0"/>
              <a:t>AlwaysOn continues to get better and more powerful every release and SQL v-next is no exception.  You can have up to 3 synchronous replicas as well as readable asynchronous replicas.  These replicas can exist in different domains and be on-premises and on Azure VMs.  We have also added in better load balancing of replicas using round robin methodology.  We have also solved </a:t>
            </a:r>
            <a:r>
              <a:rPr lang="en-US" baseline="0" dirty="0" err="1" smtClean="0"/>
              <a:t>compatiablity</a:t>
            </a:r>
            <a:r>
              <a:rPr lang="en-US" baseline="0" dirty="0" smtClean="0"/>
              <a:t> issues with DTC and SSIS when using AlwaysOn.  DTC Distributed Transaction Coordinator allows you to synchronize transaction across different database, this would break in the past with AlwaysOn.</a:t>
            </a:r>
          </a:p>
          <a:p>
            <a:r>
              <a:rPr lang="en-US" baseline="0" dirty="0" smtClean="0"/>
              <a:t>You also have greater uptime with Enhanced Online Operations that now have 100% uptime when you are doing ALTER or TURNCATE of tables.</a:t>
            </a:r>
          </a:p>
          <a:p>
            <a:endParaRPr lang="en-US" baseline="0" dirty="0" smtClean="0"/>
          </a:p>
          <a:p>
            <a:r>
              <a:rPr lang="en-US" baseline="0" dirty="0" smtClean="0"/>
              <a:t>Standard Edition-</a:t>
            </a:r>
          </a:p>
          <a:p>
            <a:r>
              <a:rPr lang="en-US" baseline="0" dirty="0" smtClean="0"/>
              <a:t>We are enhancing the HA and Scalability capabilities of Standard </a:t>
            </a:r>
            <a:r>
              <a:rPr lang="en-US" baseline="0" dirty="0" err="1" smtClean="0"/>
              <a:t>edtion</a:t>
            </a:r>
            <a:r>
              <a:rPr lang="en-US" baseline="0" dirty="0" smtClean="0"/>
              <a:t> by adding </a:t>
            </a:r>
            <a:r>
              <a:rPr lang="en-US" baseline="0" dirty="0" err="1" smtClean="0"/>
              <a:t>AlwaysON</a:t>
            </a:r>
            <a:r>
              <a:rPr lang="en-US" baseline="0" dirty="0" smtClean="0"/>
              <a:t> basic for 2 node failover and removing core and memory restrictions on standard edition.  However all of the in-memory, security and enhanced HA capabilities are only included in enterprise edition.</a:t>
            </a:r>
          </a:p>
          <a:p>
            <a:endParaRPr lang="en-US" baseline="0" dirty="0" smtClean="0"/>
          </a:p>
          <a:p>
            <a:r>
              <a:rPr lang="en-US" baseline="0" dirty="0" smtClean="0"/>
              <a:t>Scalability-</a:t>
            </a:r>
          </a:p>
          <a:p>
            <a:r>
              <a:rPr lang="en-US" baseline="0" dirty="0" smtClean="0"/>
              <a:t>When it comes to scalability you can scale up your database even further with enhanced caching using </a:t>
            </a:r>
            <a:r>
              <a:rPr lang="en-US" baseline="0" dirty="0" err="1" smtClean="0"/>
              <a:t>supportfor</a:t>
            </a:r>
            <a:r>
              <a:rPr lang="en-US" baseline="0" dirty="0" smtClean="0"/>
              <a:t> multiple TempDB files per instance for multi-core environments.</a:t>
            </a:r>
          </a:p>
          <a:p>
            <a:r>
              <a:rPr lang="en-US" baseline="0" dirty="0" smtClean="0"/>
              <a:t>But one of the biggest impacts to scalability and predictable performance for your mission critical SQL Server applications with be taking advantage of the full feature set in Windows Server v-next.  From advancements in compute, storage and networking, which all have a direct impact on mission critical SQL Server workloads.</a:t>
            </a:r>
            <a:endParaRPr lang="en-US" dirty="0" smtClean="0"/>
          </a:p>
          <a:p>
            <a:endParaRPr lang="en-US" dirty="0" smtClean="0"/>
          </a:p>
          <a:p>
            <a:endParaRPr lang="en-US" dirty="0" smtClean="0"/>
          </a:p>
          <a:p>
            <a:endParaRPr lang="en-US" dirty="0" smtClean="0"/>
          </a:p>
          <a:p>
            <a:endParaRPr lang="en-US" dirty="0" smtClean="0"/>
          </a:p>
          <a:p>
            <a:r>
              <a:rPr lang="en-US" dirty="0" err="1" smtClean="0"/>
              <a:t>Perf</a:t>
            </a:r>
            <a:r>
              <a:rPr lang="en-US" dirty="0" smtClean="0"/>
              <a:t> </a:t>
            </a:r>
            <a:r>
              <a:rPr lang="en-US" dirty="0"/>
              <a:t>Bullets –</a:t>
            </a:r>
          </a:p>
          <a:p>
            <a:pPr marL="171450" indent="-171450">
              <a:buFontTx/>
              <a:buChar char="-"/>
            </a:pPr>
            <a:r>
              <a:rPr lang="en-US" dirty="0"/>
              <a:t>In-memory Operational Analytics &amp; In-memory Transaction Performance</a:t>
            </a:r>
          </a:p>
          <a:p>
            <a:pPr marL="171450" indent="-171450">
              <a:buFontTx/>
              <a:buChar char="-"/>
            </a:pPr>
            <a:r>
              <a:rPr lang="en-US" dirty="0"/>
              <a:t>In-memory OLTP for more apps with even better performance</a:t>
            </a:r>
          </a:p>
          <a:p>
            <a:pPr marL="171450" indent="-171450">
              <a:buFontTx/>
              <a:buChar char="-"/>
            </a:pPr>
            <a:r>
              <a:rPr lang="en-US" dirty="0"/>
              <a:t>Even faster queries with Query Data Store. Helps you record query plans so you can determine which query plans are performance plans (likes a query plan recorder) Optimizing query performance (? What is this?) (potentially not for TDM)</a:t>
            </a:r>
          </a:p>
          <a:p>
            <a:pPr marL="171450" indent="-171450">
              <a:buFontTx/>
              <a:buChar char="-"/>
            </a:pPr>
            <a:r>
              <a:rPr lang="en-US" dirty="0"/>
              <a:t>Record and query historical data in your operational database (what’s new here?, you can query historical data already in your DW) – possibly pull from TDM deck.  You d0 not have a history of your record changes.  Useful for Auditing.  History of changes for each policy for insurance companies.</a:t>
            </a:r>
          </a:p>
          <a:p>
            <a:pPr marL="171450" indent="-171450">
              <a:buFontTx/>
              <a:buChar char="-"/>
            </a:pPr>
            <a:r>
              <a:rPr lang="en-US" dirty="0"/>
              <a:t>Expand into NoSQL with native JSON format ( need to change to benefit of NoSQL, why would they want to do this?).  You can store JSON natively in SQL Server. Expanded support for un-structured data(JSON native support)</a:t>
            </a:r>
          </a:p>
          <a:p>
            <a:pPr marL="171450" indent="-171450">
              <a:buFontTx/>
              <a:buChar char="-"/>
            </a:pPr>
            <a:r>
              <a:rPr lang="en-US" dirty="0"/>
              <a:t>Other operational enhancements - </a:t>
            </a:r>
          </a:p>
          <a:p>
            <a:pPr marL="171450" indent="-171450">
              <a:buFontTx/>
              <a:buChar char="-"/>
            </a:pPr>
            <a:endParaRPr lang="en-US" dirty="0"/>
          </a:p>
          <a:p>
            <a:r>
              <a:rPr lang="en-US" dirty="0"/>
              <a:t>Security</a:t>
            </a:r>
          </a:p>
          <a:p>
            <a:pPr marL="171450" indent="-171450">
              <a:buFontTx/>
              <a:buChar char="-"/>
            </a:pPr>
            <a:r>
              <a:rPr lang="en-US" dirty="0"/>
              <a:t>To me protecting sensitive data is not the differentiator, something like protect data in motion and at rest with ability to query.  DBA separation of duty with simplicity.  Compliance.</a:t>
            </a:r>
          </a:p>
          <a:p>
            <a:pPr marL="171450" indent="-171450">
              <a:buFontTx/>
              <a:buChar char="-"/>
            </a:pPr>
            <a:r>
              <a:rPr lang="en-US" dirty="0"/>
              <a:t>Row Level Security (RLS) well known me too.  Multi-</a:t>
            </a:r>
            <a:r>
              <a:rPr lang="en-US" dirty="0" err="1"/>
              <a:t>tentant</a:t>
            </a:r>
            <a:r>
              <a:rPr lang="en-US" dirty="0"/>
              <a:t> environment.  Control view of data. Fine grain access control based on user attributes (geo, role etc.)</a:t>
            </a:r>
          </a:p>
          <a:p>
            <a:pPr marL="171450" indent="-171450">
              <a:buFontTx/>
              <a:buChar char="-"/>
            </a:pPr>
            <a:r>
              <a:rPr lang="en-US" dirty="0"/>
              <a:t>Enhanced Auditing – </a:t>
            </a:r>
          </a:p>
          <a:p>
            <a:pPr marL="171450" indent="-171450">
              <a:buFontTx/>
              <a:buChar char="-"/>
            </a:pPr>
            <a:r>
              <a:rPr lang="en-US" dirty="0"/>
              <a:t>Full TDE support In-Memory OLTP – Vijay will explain</a:t>
            </a:r>
          </a:p>
          <a:p>
            <a:endParaRPr lang="en-US" dirty="0"/>
          </a:p>
          <a:p>
            <a:r>
              <a:rPr lang="en-US" dirty="0"/>
              <a:t>Availability</a:t>
            </a:r>
          </a:p>
          <a:p>
            <a:pPr marL="171450" indent="-171450">
              <a:buFontTx/>
              <a:buChar char="-"/>
            </a:pPr>
            <a:r>
              <a:rPr lang="en-US" dirty="0"/>
              <a:t>Enhanced AlwaysOn</a:t>
            </a:r>
          </a:p>
          <a:p>
            <a:pPr marL="636588" lvl="1" indent="-171450">
              <a:buFontTx/>
              <a:buChar char="-"/>
            </a:pPr>
            <a:r>
              <a:rPr lang="en-US" dirty="0"/>
              <a:t>3 synchronous replicas and 5 asynchronous. 3 Failover targets. In different domains.</a:t>
            </a:r>
          </a:p>
          <a:p>
            <a:pPr marL="636588" lvl="1" indent="-171450">
              <a:buFontTx/>
              <a:buChar char="-"/>
            </a:pPr>
            <a:r>
              <a:rPr lang="en-US" dirty="0"/>
              <a:t>Simplify the first bullet for TDM.  Transaction integrity across with DTC now works with </a:t>
            </a:r>
            <a:r>
              <a:rPr lang="en-US" dirty="0" err="1"/>
              <a:t>ALwaysOn</a:t>
            </a:r>
            <a:r>
              <a:rPr lang="en-US" dirty="0"/>
              <a:t>.  Large customers with IBM, Oracle and SQL wanting to replicate </a:t>
            </a:r>
            <a:r>
              <a:rPr lang="en-US" dirty="0" err="1"/>
              <a:t>transactionas</a:t>
            </a:r>
            <a:r>
              <a:rPr lang="en-US" dirty="0"/>
              <a:t> across 3.</a:t>
            </a:r>
          </a:p>
          <a:p>
            <a:pPr marL="636588" lvl="1" indent="-171450">
              <a:buFontTx/>
              <a:buChar char="-"/>
            </a:pPr>
            <a:r>
              <a:rPr lang="en-US" dirty="0"/>
              <a:t>Third bullet needs supporting points, no sure it makes the cut for TDMs.  Pull out second bullet.</a:t>
            </a:r>
          </a:p>
          <a:p>
            <a:pPr marL="636588" lvl="1" indent="-171450">
              <a:buFontTx/>
              <a:buChar char="-"/>
            </a:pPr>
            <a:r>
              <a:rPr lang="en-US" dirty="0"/>
              <a:t>Load balancing across asynchronous replicas.  Before first server takes query without looking at load.  Currently fulfilled by partner ecosystem (may need to pull for partner disclosure)</a:t>
            </a:r>
          </a:p>
          <a:p>
            <a:pPr marL="636588" lvl="1" indent="-171450">
              <a:buFontTx/>
              <a:buChar char="-"/>
            </a:pPr>
            <a:r>
              <a:rPr lang="en-US" dirty="0"/>
              <a:t>Pull GMSA for TDM.</a:t>
            </a:r>
          </a:p>
          <a:p>
            <a:pPr marL="636588" lvl="1" indent="-171450">
              <a:buFontTx/>
              <a:buChar char="-"/>
            </a:pPr>
            <a:r>
              <a:rPr lang="en-US" dirty="0"/>
              <a:t>Alter is the command that use for changing table schema for disk based row store.  It was offline when you are doing this in SS 2014, now its online, lower downtime.</a:t>
            </a:r>
          </a:p>
          <a:p>
            <a:pPr marL="636588" lvl="1" indent="-171450">
              <a:buFontTx/>
              <a:buChar char="-"/>
            </a:pPr>
            <a:endParaRPr lang="en-US" dirty="0"/>
          </a:p>
          <a:p>
            <a:pPr marL="171450" indent="-171450">
              <a:buFontTx/>
              <a:buChar char="-"/>
            </a:pPr>
            <a:r>
              <a:rPr lang="en-US" dirty="0"/>
              <a:t>Scalability</a:t>
            </a:r>
          </a:p>
          <a:p>
            <a:pPr marL="636588" lvl="1" indent="-171450">
              <a:buFontTx/>
              <a:buChar char="-"/>
            </a:pPr>
            <a:r>
              <a:rPr lang="en-US" dirty="0"/>
              <a:t>Removing 16 core, 128GB restrictions.  Pull out STD features out of this deck for TDM.</a:t>
            </a:r>
          </a:p>
          <a:p>
            <a:pPr marL="636588" lvl="1" indent="-171450">
              <a:buFontTx/>
              <a:buChar char="-"/>
            </a:pPr>
            <a:r>
              <a:rPr lang="en-US" dirty="0"/>
              <a:t>Support Threshold. Higher compute, memory etc..</a:t>
            </a:r>
          </a:p>
          <a:p>
            <a:pPr marL="636588" lvl="1" indent="-171450">
              <a:buFontTx/>
              <a:buChar char="-"/>
            </a:pPr>
            <a:r>
              <a:rPr lang="en-US" dirty="0"/>
              <a:t>TempDB – cache database, we use to only have one copy, multiple TempDB files per instance with round robin load balancing</a:t>
            </a:r>
          </a:p>
          <a:p>
            <a:pPr marL="636588" lvl="1" indent="-171450">
              <a:buFontTx/>
              <a:buChar char="-"/>
            </a:pPr>
            <a:r>
              <a:rPr lang="en-US" dirty="0"/>
              <a:t>We will fully support Threshold.  Massive Scale Up with “Threshold”</a:t>
            </a:r>
          </a:p>
          <a:p>
            <a:pPr marL="636588" lvl="1" indent="-171450">
              <a:buFontTx/>
              <a:buChar char="-"/>
            </a:pPr>
            <a:endParaRPr lang="en-US" dirty="0"/>
          </a:p>
          <a:p>
            <a:pPr marL="636588" lvl="1" indent="-171450">
              <a:buFontTx/>
              <a:buChar char="-"/>
            </a:pPr>
            <a:endParaRPr lang="en-US" dirty="0"/>
          </a:p>
          <a:p>
            <a:endParaRPr lang="en-US" dirty="0"/>
          </a:p>
        </p:txBody>
      </p:sp>
      <p:sp>
        <p:nvSpPr>
          <p:cNvPr id="4" name="Slide Number Placeholder 3"/>
          <p:cNvSpPr>
            <a:spLocks noGrp="1"/>
          </p:cNvSpPr>
          <p:nvPr>
            <p:ph type="sldNum" sz="quarter" idx="10"/>
          </p:nvPr>
        </p:nvSpPr>
        <p:spPr/>
        <p:txBody>
          <a:bodyPr/>
          <a:lstStyle/>
          <a:p>
            <a:pPr>
              <a:defRPr/>
            </a:pPr>
            <a:fld id="{7088D5E3-B0C4-244E-905F-C9848084E0A1}" type="slidenum">
              <a:rPr lang="en-US" smtClean="0">
                <a:solidFill>
                  <a:prstClr val="black"/>
                </a:solidFill>
              </a:rPr>
              <a:pPr>
                <a:defRPr/>
              </a:pPr>
              <a:t>34</a:t>
            </a:fld>
            <a:endParaRPr lang="en-US">
              <a:solidFill>
                <a:prstClr val="black"/>
              </a:solidFill>
            </a:endParaRPr>
          </a:p>
        </p:txBody>
      </p:sp>
    </p:spTree>
    <p:extLst>
      <p:ext uri="{BB962C8B-B14F-4D97-AF65-F5344CB8AC3E}">
        <p14:creationId xmlns:p14="http://schemas.microsoft.com/office/powerpoint/2010/main" val="193613510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ith</a:t>
            </a:r>
            <a:r>
              <a:rPr lang="en-US" baseline="0" dirty="0" smtClean="0"/>
              <a:t> SQL Server v-next we are continuing to invest in three major areas.  We are going to continue push the envelope on mission critical performance, with SQL Server 2014 we began to pull away from the Tier 1 competitors with innovative in-memory technology built-in.  Next release we will further our lead with new innovations across many mission critical components.  When it comes to providing insights on data, we are making significant investment both on premises and complimentary services via Azure to help you gain deeper insights across your data.  Finally we are adding new hybrid capabilities that will compliment your on-</a:t>
            </a:r>
            <a:r>
              <a:rPr lang="en-US" baseline="0" dirty="0" err="1" smtClean="0"/>
              <a:t>prem</a:t>
            </a:r>
            <a:r>
              <a:rPr lang="en-US" baseline="0" dirty="0" smtClean="0"/>
              <a:t> investments and give you the ability to take advantage of our </a:t>
            </a:r>
            <a:r>
              <a:rPr lang="en-US" baseline="0" dirty="0" err="1" smtClean="0"/>
              <a:t>hyperscale</a:t>
            </a:r>
            <a:r>
              <a:rPr lang="en-US" baseline="0" dirty="0" smtClean="0"/>
              <a:t> cloud. </a:t>
            </a:r>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System Center Marketing</a:t>
            </a:r>
            <a:endParaRPr lang="en-US" dirty="0" smtClean="0">
              <a:solidFill>
                <a:prstClr val="black"/>
              </a:solidFill>
            </a:endParaRPr>
          </a:p>
        </p:txBody>
      </p:sp>
      <p:sp>
        <p:nvSpPr>
          <p:cNvPr id="5" name="Footer Placeholder 4"/>
          <p:cNvSpPr>
            <a:spLocks noGrp="1"/>
          </p:cNvSpPr>
          <p:nvPr>
            <p:ph type="ftr" sz="quarter" idx="11"/>
          </p:nvPr>
        </p:nvSpPr>
        <p:spPr/>
        <p:txBody>
          <a:bodyPr/>
          <a:lstStyle/>
          <a:p>
            <a:pPr defTabSz="94905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905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79C244B-9810-46DF-B81E-A6CAC455C285}" type="datetime1">
              <a:rPr lang="en-US" smtClean="0">
                <a:solidFill>
                  <a:prstClr val="black"/>
                </a:solidFill>
              </a:rPr>
              <a:pPr/>
              <a:t>8/27/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5</a:t>
            </a:fld>
            <a:endParaRPr lang="en-US" dirty="0">
              <a:solidFill>
                <a:prstClr val="black"/>
              </a:solidFill>
            </a:endParaRPr>
          </a:p>
        </p:txBody>
      </p:sp>
    </p:spTree>
    <p:extLst>
      <p:ext uri="{BB962C8B-B14F-4D97-AF65-F5344CB8AC3E}">
        <p14:creationId xmlns:p14="http://schemas.microsoft.com/office/powerpoint/2010/main" val="391865725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smtClean="0"/>
              <a:t>When</a:t>
            </a:r>
            <a:r>
              <a:rPr lang="en-US" baseline="0" dirty="0" smtClean="0"/>
              <a:t> it comes to key BI investments we are making it much easier to manage relational and non-relational data with </a:t>
            </a:r>
            <a:r>
              <a:rPr lang="en-US" baseline="0" dirty="0" err="1" smtClean="0"/>
              <a:t>Polybase</a:t>
            </a:r>
            <a:r>
              <a:rPr lang="en-US" baseline="0" dirty="0" smtClean="0"/>
              <a:t> technology that allows you to query Hadoop data and SQL Server relational data through single T-SQL query.  One of the challenges we see with Hadoop is there are not enough people out there with Hadoop and Map Reduce skillset and this technology simplifies the skillset needed to manage Hadoop data.  This can also work across your on-premises environment or SQL Server running in Azure.</a:t>
            </a:r>
            <a:endParaRPr lang="en-US" dirty="0" smtClean="0"/>
          </a:p>
        </p:txBody>
      </p:sp>
      <p:sp>
        <p:nvSpPr>
          <p:cNvPr id="4" name="Header Placeholder 3"/>
          <p:cNvSpPr>
            <a:spLocks noGrp="1"/>
          </p:cNvSpPr>
          <p:nvPr>
            <p:ph type="hdr" sz="quarter" idx="10"/>
          </p:nvPr>
        </p:nvSpPr>
        <p:spPr/>
        <p:txBody>
          <a:bodyPr/>
          <a:lstStyle/>
          <a:p>
            <a:r>
              <a:rPr lang="en-US" dirty="0">
                <a:solidFill>
                  <a:prstClr val="black"/>
                </a:solidFill>
              </a:rPr>
              <a:t>Server &amp; Tools Business</a:t>
            </a: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A171B3BB-DFF4-43DF-B887-7B1543BC1A74}" type="datetime1">
              <a:rPr lang="en-US">
                <a:solidFill>
                  <a:prstClr val="black"/>
                </a:solidFill>
              </a:rPr>
              <a:pPr/>
              <a:t>8/27/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a:solidFill>
                  <a:prstClr val="black"/>
                </a:solidFill>
              </a:rPr>
              <a:pPr/>
              <a:t>36</a:t>
            </a:fld>
            <a:endParaRPr lang="en-US" dirty="0">
              <a:solidFill>
                <a:prstClr val="black"/>
              </a:solidFill>
            </a:endParaRPr>
          </a:p>
        </p:txBody>
      </p:sp>
    </p:spTree>
    <p:extLst>
      <p:ext uri="{BB962C8B-B14F-4D97-AF65-F5344CB8AC3E}">
        <p14:creationId xmlns:p14="http://schemas.microsoft.com/office/powerpoint/2010/main" val="234896902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dirty="0" smtClean="0">
                <a:solidFill>
                  <a:prstClr val="black"/>
                </a:solidFill>
              </a:rPr>
              <a:t>Server &amp; Tools Business</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A171B3BB-DFF4-43DF-B887-7B1543BC1A74}" type="datetime1">
              <a:rPr lang="en-US" smtClean="0">
                <a:solidFill>
                  <a:prstClr val="black"/>
                </a:solidFill>
              </a:rPr>
              <a:pPr/>
              <a:t>8/27/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8</a:t>
            </a:fld>
            <a:endParaRPr lang="en-US" dirty="0">
              <a:solidFill>
                <a:prstClr val="black"/>
              </a:solidFill>
            </a:endParaRPr>
          </a:p>
        </p:txBody>
      </p:sp>
    </p:spTree>
    <p:extLst>
      <p:ext uri="{BB962C8B-B14F-4D97-AF65-F5344CB8AC3E}">
        <p14:creationId xmlns:p14="http://schemas.microsoft.com/office/powerpoint/2010/main" val="389866178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s</a:t>
            </a:r>
            <a:r>
              <a:rPr lang="en-US" baseline="0" dirty="0" smtClean="0"/>
              <a:t> you can see a lot of new capabilities.</a:t>
            </a:r>
          </a:p>
          <a:p>
            <a:r>
              <a:rPr lang="en-US" baseline="0" dirty="0" smtClean="0"/>
              <a:t>From a performance perspective, in-memory is the biggest ticket item.  We are continuing with our design point of workload optimized in-memory, but now allowing you gain real-time insights on your operational data with the ability to run a columnar index over your in-memory or on disk row store.  </a:t>
            </a:r>
            <a:r>
              <a:rPr lang="en-US" baseline="0" dirty="0" err="1" smtClean="0"/>
              <a:t>Whats</a:t>
            </a:r>
            <a:r>
              <a:rPr lang="en-US" baseline="0" dirty="0" smtClean="0"/>
              <a:t> unique here is you can gain the speed of in-memory OLTP and have the ability to gain operation analytics.  Even if you are not using in-memory you can gain operational insights.  Also you can apply our in-memory technology to more of your applications than ever before with expanded T-SQL surface area support.</a:t>
            </a:r>
          </a:p>
          <a:p>
            <a:r>
              <a:rPr lang="en-US" baseline="0" dirty="0" smtClean="0"/>
              <a:t>A couple of other items that can help you gain additional performance tuning the new Query Data Store feature that will allow you to monitor your query plans so you can optimize them of particular application scenarios over time.  </a:t>
            </a:r>
          </a:p>
          <a:p>
            <a:r>
              <a:rPr lang="en-US" baseline="0" dirty="0" smtClean="0"/>
              <a:t>We have also added native JSON support in the core database engine so now you have support for schema free data to tackle more diverse data types right in SQL Server. We also added temporal database support so you can record, audit and query data changes over time.</a:t>
            </a:r>
          </a:p>
          <a:p>
            <a:endParaRPr lang="en-US" baseline="0" dirty="0" smtClean="0"/>
          </a:p>
          <a:p>
            <a:r>
              <a:rPr lang="en-US" baseline="0" dirty="0" smtClean="0"/>
              <a:t>With JSON</a:t>
            </a:r>
          </a:p>
          <a:p>
            <a:r>
              <a:rPr lang="en-US" sz="1200" kern="1200" dirty="0" smtClean="0">
                <a:solidFill>
                  <a:schemeClr val="tx1"/>
                </a:solidFill>
                <a:effectLst/>
                <a:latin typeface="+mn-lt"/>
                <a:ea typeface="MS PGothic" panose="020B0600070205080204" pitchFamily="34" charset="-128"/>
                <a:cs typeface="ＭＳ Ｐゴシック" charset="0"/>
              </a:rPr>
              <a:t>* I can validate that JSON text is well-formatted using built-in JSON functions and constraints. </a:t>
            </a:r>
          </a:p>
          <a:p>
            <a:r>
              <a:rPr lang="en-US" sz="1200" kern="1200" dirty="0" smtClean="0">
                <a:solidFill>
                  <a:schemeClr val="tx1"/>
                </a:solidFill>
                <a:effectLst/>
                <a:latin typeface="+mn-lt"/>
                <a:ea typeface="MS PGothic" panose="020B0600070205080204" pitchFamily="34" charset="-128"/>
                <a:cs typeface="ＭＳ Ｐゴシック" charset="0"/>
              </a:rPr>
              <a:t>* I can format JSON directly in SQL queries instead of application layer. </a:t>
            </a:r>
          </a:p>
          <a:p>
            <a:r>
              <a:rPr lang="en-US" sz="1200" kern="1200" dirty="0" smtClean="0">
                <a:solidFill>
                  <a:schemeClr val="tx1"/>
                </a:solidFill>
                <a:effectLst/>
                <a:latin typeface="+mn-lt"/>
                <a:ea typeface="MS PGothic" panose="020B0600070205080204" pitchFamily="34" charset="-128"/>
                <a:cs typeface="ＭＳ Ｐゴシック" charset="0"/>
              </a:rPr>
              <a:t>* I can parse JSON data and use properties in queries. </a:t>
            </a:r>
          </a:p>
          <a:p>
            <a:r>
              <a:rPr lang="en-US" sz="1200" kern="1200" dirty="0" smtClean="0">
                <a:solidFill>
                  <a:schemeClr val="tx1"/>
                </a:solidFill>
                <a:effectLst/>
                <a:latin typeface="+mn-lt"/>
                <a:ea typeface="MS PGothic" panose="020B0600070205080204" pitchFamily="34" charset="-128"/>
                <a:cs typeface="ＭＳ Ｐゴシック" charset="0"/>
              </a:rPr>
              <a:t>* I can convert JSON text to relational structure and use standard data processing with T-SQL syntax. </a:t>
            </a:r>
          </a:p>
          <a:p>
            <a:r>
              <a:rPr lang="en-US" sz="1200" kern="1200" dirty="0" smtClean="0">
                <a:solidFill>
                  <a:schemeClr val="tx1"/>
                </a:solidFill>
                <a:effectLst/>
                <a:latin typeface="+mn-lt"/>
                <a:ea typeface="MS PGothic" panose="020B0600070205080204" pitchFamily="34" charset="-128"/>
                <a:cs typeface="ＭＳ Ｐゴシック" charset="0"/>
              </a:rPr>
              <a:t>* I can update JSON data without some programming language or complex regular expressions. </a:t>
            </a:r>
          </a:p>
          <a:p>
            <a:endParaRPr lang="en-US" baseline="0" dirty="0" smtClean="0"/>
          </a:p>
          <a:p>
            <a:endParaRPr lang="en-US" baseline="0" dirty="0" smtClean="0"/>
          </a:p>
          <a:p>
            <a:r>
              <a:rPr lang="en-US" baseline="0" dirty="0" smtClean="0"/>
              <a:t>Security</a:t>
            </a:r>
          </a:p>
          <a:p>
            <a:r>
              <a:rPr lang="en-US" baseline="0" dirty="0" smtClean="0"/>
              <a:t>When it comes to security we will be introducing a unique capability to have your data encrypted while at rest and in motion with the ability to query that data while it is encrypted.  This is great for internal compliance and has minimal overhead.  We are calling this capability Transparent queryable encryption.</a:t>
            </a:r>
          </a:p>
          <a:p>
            <a:endParaRPr lang="en-US" baseline="0" dirty="0" smtClean="0"/>
          </a:p>
          <a:p>
            <a:r>
              <a:rPr lang="en-US" baseline="0" dirty="0" smtClean="0"/>
              <a:t>We are also delivering what you have been asking for some time, Row Level Security.  A few other enhancements like TDE support of In-Memory OLTP  and enhanced auditing capabilities give you several options to fine tune to meet you security needs.  Also coupling this with having the least vulnerable database for the last 6 years in a row by National Institute of Standards and Technology, we fill will put us in the clear leadership position when it comes to security for your mission critical applications.</a:t>
            </a:r>
          </a:p>
          <a:p>
            <a:endParaRPr lang="en-US" baseline="0" dirty="0" smtClean="0"/>
          </a:p>
          <a:p>
            <a:r>
              <a:rPr lang="en-US" baseline="0" dirty="0" smtClean="0"/>
              <a:t>Availability</a:t>
            </a:r>
          </a:p>
          <a:p>
            <a:r>
              <a:rPr lang="en-US" baseline="0" dirty="0" smtClean="0"/>
              <a:t>AlwaysOn continues to get better and more powerful every release and SQL v-next is no exception.  You can have up to 3 synchronous replicas as well as readable asynchronous replicas.  These replicas can exist in different domains and be on-premises and on Azure VMs.  We have also added in better load balancing of replicas using round robin methodology.  We have also solved </a:t>
            </a:r>
            <a:r>
              <a:rPr lang="en-US" baseline="0" dirty="0" err="1" smtClean="0"/>
              <a:t>compatiablity</a:t>
            </a:r>
            <a:r>
              <a:rPr lang="en-US" baseline="0" dirty="0" smtClean="0"/>
              <a:t> issues with DTC and SSIS when using AlwaysOn.  DTC Distributed Transaction Coordinator allows you to synchronize transaction across different database, this would break in the past with AlwaysOn.</a:t>
            </a:r>
          </a:p>
          <a:p>
            <a:r>
              <a:rPr lang="en-US" baseline="0" dirty="0" smtClean="0"/>
              <a:t>You also have greater uptime with Enhanced Online Operations that now have 100% uptime when you are doing ALTER or TURNCATE of tables.</a:t>
            </a:r>
          </a:p>
          <a:p>
            <a:endParaRPr lang="en-US" baseline="0" dirty="0" smtClean="0"/>
          </a:p>
          <a:p>
            <a:r>
              <a:rPr lang="en-US" baseline="0" dirty="0" smtClean="0"/>
              <a:t>Standard Edition-</a:t>
            </a:r>
          </a:p>
          <a:p>
            <a:r>
              <a:rPr lang="en-US" baseline="0" dirty="0" smtClean="0"/>
              <a:t>We are enhancing the HA and Scalability capabilities of Standard </a:t>
            </a:r>
            <a:r>
              <a:rPr lang="en-US" baseline="0" dirty="0" err="1" smtClean="0"/>
              <a:t>edtion</a:t>
            </a:r>
            <a:r>
              <a:rPr lang="en-US" baseline="0" dirty="0" smtClean="0"/>
              <a:t> by adding </a:t>
            </a:r>
            <a:r>
              <a:rPr lang="en-US" baseline="0" dirty="0" err="1" smtClean="0"/>
              <a:t>AlwaysON</a:t>
            </a:r>
            <a:r>
              <a:rPr lang="en-US" baseline="0" dirty="0" smtClean="0"/>
              <a:t> basic for 2 node failover and removing core and memory restrictions on standard edition.  However all of the in-memory, security and enhanced HA capabilities are only included in enterprise edition.</a:t>
            </a:r>
          </a:p>
          <a:p>
            <a:endParaRPr lang="en-US" baseline="0" dirty="0" smtClean="0"/>
          </a:p>
          <a:p>
            <a:r>
              <a:rPr lang="en-US" baseline="0" dirty="0" smtClean="0"/>
              <a:t>Scalability-</a:t>
            </a:r>
          </a:p>
          <a:p>
            <a:r>
              <a:rPr lang="en-US" baseline="0" dirty="0" smtClean="0"/>
              <a:t>When it comes to scalability you can scale up your database even further with enhanced caching using </a:t>
            </a:r>
            <a:r>
              <a:rPr lang="en-US" baseline="0" dirty="0" err="1" smtClean="0"/>
              <a:t>supportfor</a:t>
            </a:r>
            <a:r>
              <a:rPr lang="en-US" baseline="0" dirty="0" smtClean="0"/>
              <a:t> multiple TempDB files per instance for multi-core environments.</a:t>
            </a:r>
          </a:p>
          <a:p>
            <a:r>
              <a:rPr lang="en-US" baseline="0" dirty="0" smtClean="0"/>
              <a:t>But one of the biggest impacts to scalability and predictable performance for your mission critical SQL Server applications with be taking advantage of the full feature set in Windows Server v-next.  From advancements in compute, storage and networking, which all have a direct impact on mission critical SQL Server workloads.</a:t>
            </a:r>
            <a:endParaRPr lang="en-US" dirty="0" smtClean="0"/>
          </a:p>
          <a:p>
            <a:endParaRPr lang="en-US" dirty="0" smtClean="0"/>
          </a:p>
          <a:p>
            <a:endParaRPr lang="en-US" dirty="0" smtClean="0"/>
          </a:p>
          <a:p>
            <a:endParaRPr lang="en-US" dirty="0" smtClean="0"/>
          </a:p>
          <a:p>
            <a:endParaRPr lang="en-US" dirty="0" smtClean="0"/>
          </a:p>
          <a:p>
            <a:r>
              <a:rPr lang="en-US" dirty="0" err="1" smtClean="0"/>
              <a:t>Perf</a:t>
            </a:r>
            <a:r>
              <a:rPr lang="en-US" dirty="0" smtClean="0"/>
              <a:t> </a:t>
            </a:r>
            <a:r>
              <a:rPr lang="en-US" dirty="0"/>
              <a:t>Bullets –</a:t>
            </a:r>
          </a:p>
          <a:p>
            <a:pPr marL="171450" indent="-171450">
              <a:buFontTx/>
              <a:buChar char="-"/>
            </a:pPr>
            <a:r>
              <a:rPr lang="en-US" dirty="0"/>
              <a:t>In-memory Operational Analytics &amp; In-memory Transaction Performance</a:t>
            </a:r>
          </a:p>
          <a:p>
            <a:pPr marL="171450" indent="-171450">
              <a:buFontTx/>
              <a:buChar char="-"/>
            </a:pPr>
            <a:r>
              <a:rPr lang="en-US" dirty="0"/>
              <a:t>In-memory OLTP for more apps with even better performance</a:t>
            </a:r>
          </a:p>
          <a:p>
            <a:pPr marL="171450" indent="-171450">
              <a:buFontTx/>
              <a:buChar char="-"/>
            </a:pPr>
            <a:r>
              <a:rPr lang="en-US" dirty="0"/>
              <a:t>Even faster queries with Query Data Store. Helps you record query plans so you can determine which query plans are performance plans (likes a query plan recorder) Optimizing query performance (? What is this?) (potentially not for TDM)</a:t>
            </a:r>
          </a:p>
          <a:p>
            <a:pPr marL="171450" indent="-171450">
              <a:buFontTx/>
              <a:buChar char="-"/>
            </a:pPr>
            <a:r>
              <a:rPr lang="en-US" dirty="0"/>
              <a:t>Record and query historical data in your operational database (what’s new here?, you can query historical data already in your DW) – possibly pull from TDM deck.  You d0 not have a history of your record changes.  Useful for Auditing.  History of changes for each policy for insurance companies.</a:t>
            </a:r>
          </a:p>
          <a:p>
            <a:pPr marL="171450" indent="-171450">
              <a:buFontTx/>
              <a:buChar char="-"/>
            </a:pPr>
            <a:r>
              <a:rPr lang="en-US" dirty="0"/>
              <a:t>Expand into NoSQL with native JSON format ( need to change to benefit of NoSQL, why would they want to do this?).  You can store JSON natively in SQL Server. Expanded support for un-structured data(JSON native support)</a:t>
            </a:r>
          </a:p>
          <a:p>
            <a:pPr marL="171450" indent="-171450">
              <a:buFontTx/>
              <a:buChar char="-"/>
            </a:pPr>
            <a:r>
              <a:rPr lang="en-US" dirty="0"/>
              <a:t>Other operational enhancements - </a:t>
            </a:r>
          </a:p>
          <a:p>
            <a:pPr marL="171450" indent="-171450">
              <a:buFontTx/>
              <a:buChar char="-"/>
            </a:pPr>
            <a:endParaRPr lang="en-US" dirty="0"/>
          </a:p>
          <a:p>
            <a:r>
              <a:rPr lang="en-US" dirty="0"/>
              <a:t>Security</a:t>
            </a:r>
          </a:p>
          <a:p>
            <a:pPr marL="171450" indent="-171450">
              <a:buFontTx/>
              <a:buChar char="-"/>
            </a:pPr>
            <a:r>
              <a:rPr lang="en-US" dirty="0"/>
              <a:t>To me protecting sensitive data is not the differentiator, something like protect data in motion and at rest with ability to query.  DBA separation of duty with simplicity.  Compliance.</a:t>
            </a:r>
          </a:p>
          <a:p>
            <a:pPr marL="171450" indent="-171450">
              <a:buFontTx/>
              <a:buChar char="-"/>
            </a:pPr>
            <a:r>
              <a:rPr lang="en-US" dirty="0"/>
              <a:t>Row Level Security (RLS) well known me too.  Multi-</a:t>
            </a:r>
            <a:r>
              <a:rPr lang="en-US" dirty="0" err="1"/>
              <a:t>tentant</a:t>
            </a:r>
            <a:r>
              <a:rPr lang="en-US" dirty="0"/>
              <a:t> environment.  Control view of data. Fine grain access control based on user attributes (geo, role etc.)</a:t>
            </a:r>
          </a:p>
          <a:p>
            <a:pPr marL="171450" indent="-171450">
              <a:buFontTx/>
              <a:buChar char="-"/>
            </a:pPr>
            <a:r>
              <a:rPr lang="en-US" dirty="0"/>
              <a:t>Enhanced Auditing – </a:t>
            </a:r>
          </a:p>
          <a:p>
            <a:pPr marL="171450" indent="-171450">
              <a:buFontTx/>
              <a:buChar char="-"/>
            </a:pPr>
            <a:r>
              <a:rPr lang="en-US" dirty="0"/>
              <a:t>Full TDE support In-Memory OLTP – Vijay will explain</a:t>
            </a:r>
          </a:p>
          <a:p>
            <a:endParaRPr lang="en-US" dirty="0"/>
          </a:p>
          <a:p>
            <a:r>
              <a:rPr lang="en-US" dirty="0"/>
              <a:t>Availability</a:t>
            </a:r>
          </a:p>
          <a:p>
            <a:pPr marL="171450" indent="-171450">
              <a:buFontTx/>
              <a:buChar char="-"/>
            </a:pPr>
            <a:r>
              <a:rPr lang="en-US" dirty="0"/>
              <a:t>Enhanced AlwaysOn</a:t>
            </a:r>
          </a:p>
          <a:p>
            <a:pPr marL="636588" lvl="1" indent="-171450">
              <a:buFontTx/>
              <a:buChar char="-"/>
            </a:pPr>
            <a:r>
              <a:rPr lang="en-US" dirty="0"/>
              <a:t>3 synchronous replicas and 5 asynchronous. 3 Failover targets. In different domains.</a:t>
            </a:r>
          </a:p>
          <a:p>
            <a:pPr marL="636588" lvl="1" indent="-171450">
              <a:buFontTx/>
              <a:buChar char="-"/>
            </a:pPr>
            <a:r>
              <a:rPr lang="en-US" dirty="0"/>
              <a:t>Simplify the first bullet for TDM.  Transaction integrity across with DTC now works with </a:t>
            </a:r>
            <a:r>
              <a:rPr lang="en-US" dirty="0" err="1"/>
              <a:t>ALwaysOn</a:t>
            </a:r>
            <a:r>
              <a:rPr lang="en-US" dirty="0"/>
              <a:t>.  Large customers with IBM, Oracle and SQL wanting to replicate </a:t>
            </a:r>
            <a:r>
              <a:rPr lang="en-US" dirty="0" err="1"/>
              <a:t>transactionas</a:t>
            </a:r>
            <a:r>
              <a:rPr lang="en-US" dirty="0"/>
              <a:t> across 3.</a:t>
            </a:r>
          </a:p>
          <a:p>
            <a:pPr marL="636588" lvl="1" indent="-171450">
              <a:buFontTx/>
              <a:buChar char="-"/>
            </a:pPr>
            <a:r>
              <a:rPr lang="en-US" dirty="0"/>
              <a:t>Third bullet needs supporting points, no sure it makes the cut for TDMs.  Pull out second bullet.</a:t>
            </a:r>
          </a:p>
          <a:p>
            <a:pPr marL="636588" lvl="1" indent="-171450">
              <a:buFontTx/>
              <a:buChar char="-"/>
            </a:pPr>
            <a:r>
              <a:rPr lang="en-US" dirty="0"/>
              <a:t>Load balancing across asynchronous replicas.  Before first server takes query without looking at load.  Currently fulfilled by partner ecosystem (may need to pull for partner disclosure)</a:t>
            </a:r>
          </a:p>
          <a:p>
            <a:pPr marL="636588" lvl="1" indent="-171450">
              <a:buFontTx/>
              <a:buChar char="-"/>
            </a:pPr>
            <a:r>
              <a:rPr lang="en-US" dirty="0"/>
              <a:t>Pull GMSA for TDM.</a:t>
            </a:r>
          </a:p>
          <a:p>
            <a:pPr marL="636588" lvl="1" indent="-171450">
              <a:buFontTx/>
              <a:buChar char="-"/>
            </a:pPr>
            <a:r>
              <a:rPr lang="en-US" dirty="0"/>
              <a:t>Alter is the command that use for changing table schema for disk based row store.  It was offline when you are doing this in SS 2014, now its online, lower downtime.</a:t>
            </a:r>
          </a:p>
          <a:p>
            <a:pPr marL="636588" lvl="1" indent="-171450">
              <a:buFontTx/>
              <a:buChar char="-"/>
            </a:pPr>
            <a:endParaRPr lang="en-US" dirty="0"/>
          </a:p>
          <a:p>
            <a:pPr marL="171450" indent="-171450">
              <a:buFontTx/>
              <a:buChar char="-"/>
            </a:pPr>
            <a:r>
              <a:rPr lang="en-US" dirty="0"/>
              <a:t>Scalability</a:t>
            </a:r>
          </a:p>
          <a:p>
            <a:pPr marL="636588" lvl="1" indent="-171450">
              <a:buFontTx/>
              <a:buChar char="-"/>
            </a:pPr>
            <a:r>
              <a:rPr lang="en-US" dirty="0"/>
              <a:t>Removing 16 core, 128GB restrictions.  Pull out STD features out of this deck for TDM.</a:t>
            </a:r>
          </a:p>
          <a:p>
            <a:pPr marL="636588" lvl="1" indent="-171450">
              <a:buFontTx/>
              <a:buChar char="-"/>
            </a:pPr>
            <a:r>
              <a:rPr lang="en-US" dirty="0"/>
              <a:t>Support Threshold. Higher compute, memory etc..</a:t>
            </a:r>
          </a:p>
          <a:p>
            <a:pPr marL="636588" lvl="1" indent="-171450">
              <a:buFontTx/>
              <a:buChar char="-"/>
            </a:pPr>
            <a:r>
              <a:rPr lang="en-US" dirty="0"/>
              <a:t>TempDB – cache database, we use to only have one copy, multiple TempDB files per instance with round robin load balancing</a:t>
            </a:r>
          </a:p>
          <a:p>
            <a:pPr marL="636588" lvl="1" indent="-171450">
              <a:buFontTx/>
              <a:buChar char="-"/>
            </a:pPr>
            <a:r>
              <a:rPr lang="en-US" dirty="0"/>
              <a:t>We will fully support Threshold.  Massive Scale Up with “Threshold”</a:t>
            </a:r>
          </a:p>
          <a:p>
            <a:pPr marL="636588" lvl="1" indent="-171450">
              <a:buFontTx/>
              <a:buChar char="-"/>
            </a:pPr>
            <a:endParaRPr lang="en-US" dirty="0"/>
          </a:p>
          <a:p>
            <a:pPr marL="636588" lvl="1" indent="-171450">
              <a:buFontTx/>
              <a:buChar char="-"/>
            </a:pPr>
            <a:endParaRPr lang="en-US" dirty="0"/>
          </a:p>
          <a:p>
            <a:endParaRPr lang="en-US" dirty="0"/>
          </a:p>
        </p:txBody>
      </p:sp>
      <p:sp>
        <p:nvSpPr>
          <p:cNvPr id="4" name="Slide Number Placeholder 3"/>
          <p:cNvSpPr>
            <a:spLocks noGrp="1"/>
          </p:cNvSpPr>
          <p:nvPr>
            <p:ph type="sldNum" sz="quarter" idx="10"/>
          </p:nvPr>
        </p:nvSpPr>
        <p:spPr/>
        <p:txBody>
          <a:bodyPr/>
          <a:lstStyle/>
          <a:p>
            <a:pPr>
              <a:defRPr/>
            </a:pPr>
            <a:fld id="{7088D5E3-B0C4-244E-905F-C9848084E0A1}" type="slidenum">
              <a:rPr lang="en-US" smtClean="0">
                <a:solidFill>
                  <a:prstClr val="black"/>
                </a:solidFill>
              </a:rPr>
              <a:pPr>
                <a:defRPr/>
              </a:pPr>
              <a:t>39</a:t>
            </a:fld>
            <a:endParaRPr lang="en-US">
              <a:solidFill>
                <a:prstClr val="black"/>
              </a:solidFill>
            </a:endParaRPr>
          </a:p>
        </p:txBody>
      </p:sp>
    </p:spTree>
    <p:extLst>
      <p:ext uri="{BB962C8B-B14F-4D97-AF65-F5344CB8AC3E}">
        <p14:creationId xmlns:p14="http://schemas.microsoft.com/office/powerpoint/2010/main" val="29150012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ith</a:t>
            </a:r>
            <a:r>
              <a:rPr lang="en-US" baseline="0" dirty="0" smtClean="0"/>
              <a:t> SQL Server v-next we are continuing to invest in three major areas.  We are going to continue push the envelope on mission critical performance, with SQL Server 2014 we began to pull away from the Tier 1 competitors with innovative in-memory technology built-in.  Next release we will further our lead with new innovations across many mission critical components.  When it comes to providing insights on data, we are making significant investment both on premises and complimentary services via Azure to help you gain deeper insights across your data.  Finally we are adding new hybrid capabilities that will compliment your on-</a:t>
            </a:r>
            <a:r>
              <a:rPr lang="en-US" baseline="0" dirty="0" err="1" smtClean="0"/>
              <a:t>prem</a:t>
            </a:r>
            <a:r>
              <a:rPr lang="en-US" baseline="0" dirty="0" smtClean="0"/>
              <a:t> investments and give you the ability to take advantage of our </a:t>
            </a:r>
            <a:r>
              <a:rPr lang="en-US" baseline="0" dirty="0" err="1" smtClean="0"/>
              <a:t>hyperscale</a:t>
            </a:r>
            <a:r>
              <a:rPr lang="en-US" baseline="0" dirty="0" smtClean="0"/>
              <a:t> cloud. </a:t>
            </a:r>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System Center Marketing</a:t>
            </a:r>
            <a:endParaRPr lang="en-US" dirty="0" smtClean="0">
              <a:solidFill>
                <a:prstClr val="black"/>
              </a:solidFill>
            </a:endParaRPr>
          </a:p>
        </p:txBody>
      </p:sp>
      <p:sp>
        <p:nvSpPr>
          <p:cNvPr id="5" name="Footer Placeholder 4"/>
          <p:cNvSpPr>
            <a:spLocks noGrp="1"/>
          </p:cNvSpPr>
          <p:nvPr>
            <p:ph type="ftr" sz="quarter" idx="11"/>
          </p:nvPr>
        </p:nvSpPr>
        <p:spPr/>
        <p:txBody>
          <a:bodyPr/>
          <a:lstStyle/>
          <a:p>
            <a:pPr defTabSz="94905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905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79C244B-9810-46DF-B81E-A6CAC455C285}" type="datetime1">
              <a:rPr lang="en-US" smtClean="0">
                <a:solidFill>
                  <a:prstClr val="black"/>
                </a:solidFill>
              </a:rPr>
              <a:pPr/>
              <a:t>8/27/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0</a:t>
            </a:fld>
            <a:endParaRPr lang="en-US" dirty="0">
              <a:solidFill>
                <a:prstClr val="black"/>
              </a:solidFill>
            </a:endParaRPr>
          </a:p>
        </p:txBody>
      </p:sp>
    </p:spTree>
    <p:extLst>
      <p:ext uri="{BB962C8B-B14F-4D97-AF65-F5344CB8AC3E}">
        <p14:creationId xmlns:p14="http://schemas.microsoft.com/office/powerpoint/2010/main" val="350530531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dirty="0" smtClean="0">
                <a:solidFill>
                  <a:prstClr val="black"/>
                </a:solidFill>
              </a:rPr>
              <a:t>Server &amp; Tools Business</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A171B3BB-DFF4-43DF-B887-7B1543BC1A74}" type="datetime1">
              <a:rPr lang="en-US" smtClean="0">
                <a:solidFill>
                  <a:prstClr val="black"/>
                </a:solidFill>
              </a:rPr>
              <a:pPr/>
              <a:t>8/27/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1</a:t>
            </a:fld>
            <a:endParaRPr lang="en-US" dirty="0">
              <a:solidFill>
                <a:prstClr val="black"/>
              </a:solidFill>
            </a:endParaRPr>
          </a:p>
        </p:txBody>
      </p:sp>
    </p:spTree>
    <p:extLst>
      <p:ext uri="{BB962C8B-B14F-4D97-AF65-F5344CB8AC3E}">
        <p14:creationId xmlns:p14="http://schemas.microsoft.com/office/powerpoint/2010/main" val="34009428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s</a:t>
            </a:r>
            <a:r>
              <a:rPr lang="en-US" baseline="0" dirty="0" smtClean="0"/>
              <a:t> you can see a lot of new capabilities.</a:t>
            </a:r>
          </a:p>
          <a:p>
            <a:r>
              <a:rPr lang="en-US" baseline="0" dirty="0" smtClean="0"/>
              <a:t>From a performance perspective, in-memory is the biggest ticket item.  We are continuing with our design point of workload optimized in-memory, but now allowing you gain real-time insights on your operational data with the ability to run a columnar index over your in-memory or on disk row store.  </a:t>
            </a:r>
            <a:r>
              <a:rPr lang="en-US" baseline="0" dirty="0" err="1" smtClean="0"/>
              <a:t>Whats</a:t>
            </a:r>
            <a:r>
              <a:rPr lang="en-US" baseline="0" dirty="0" smtClean="0"/>
              <a:t> unique here is you can gain the speed of in-memory OLTP and have the ability to gain operation analytics.  Even if you are not using in-memory you can gain operational insights.  Also you can apply our in-memory technology to more of your applications than ever before with expanded T-SQL surface area support.</a:t>
            </a:r>
          </a:p>
          <a:p>
            <a:r>
              <a:rPr lang="en-US" baseline="0" dirty="0" smtClean="0"/>
              <a:t>A couple of other items that can help you gain additional performance tuning the new Query Data Store feature that will allow you to monitor your query plans so you can optimize them of particular application scenarios over time.  </a:t>
            </a:r>
          </a:p>
          <a:p>
            <a:r>
              <a:rPr lang="en-US" baseline="0" dirty="0" smtClean="0"/>
              <a:t>We have also added native JSON support in the core database engine so now you have support for schema free data to tackle more diverse data types right in SQL Server. We also added temporal database support so you can record, audit and query data changes over time.</a:t>
            </a:r>
          </a:p>
          <a:p>
            <a:endParaRPr lang="en-US" baseline="0" dirty="0" smtClean="0"/>
          </a:p>
          <a:p>
            <a:r>
              <a:rPr lang="en-US" baseline="0" dirty="0" smtClean="0"/>
              <a:t>With JSON</a:t>
            </a:r>
          </a:p>
          <a:p>
            <a:r>
              <a:rPr lang="en-US" sz="1200" kern="1200" dirty="0" smtClean="0">
                <a:solidFill>
                  <a:schemeClr val="tx1"/>
                </a:solidFill>
                <a:effectLst/>
                <a:latin typeface="+mn-lt"/>
                <a:ea typeface="MS PGothic" panose="020B0600070205080204" pitchFamily="34" charset="-128"/>
                <a:cs typeface="ＭＳ Ｐゴシック" charset="0"/>
              </a:rPr>
              <a:t>* I can validate that JSON text is well-formatted using built-in JSON functions and constraints. </a:t>
            </a:r>
          </a:p>
          <a:p>
            <a:r>
              <a:rPr lang="en-US" sz="1200" kern="1200" dirty="0" smtClean="0">
                <a:solidFill>
                  <a:schemeClr val="tx1"/>
                </a:solidFill>
                <a:effectLst/>
                <a:latin typeface="+mn-lt"/>
                <a:ea typeface="MS PGothic" panose="020B0600070205080204" pitchFamily="34" charset="-128"/>
                <a:cs typeface="ＭＳ Ｐゴシック" charset="0"/>
              </a:rPr>
              <a:t>* I can format JSON directly in SQL queries instead of application layer. </a:t>
            </a:r>
          </a:p>
          <a:p>
            <a:r>
              <a:rPr lang="en-US" sz="1200" kern="1200" dirty="0" smtClean="0">
                <a:solidFill>
                  <a:schemeClr val="tx1"/>
                </a:solidFill>
                <a:effectLst/>
                <a:latin typeface="+mn-lt"/>
                <a:ea typeface="MS PGothic" panose="020B0600070205080204" pitchFamily="34" charset="-128"/>
                <a:cs typeface="ＭＳ Ｐゴシック" charset="0"/>
              </a:rPr>
              <a:t>* I can parse JSON data and use properties in queries. </a:t>
            </a:r>
          </a:p>
          <a:p>
            <a:r>
              <a:rPr lang="en-US" sz="1200" kern="1200" dirty="0" smtClean="0">
                <a:solidFill>
                  <a:schemeClr val="tx1"/>
                </a:solidFill>
                <a:effectLst/>
                <a:latin typeface="+mn-lt"/>
                <a:ea typeface="MS PGothic" panose="020B0600070205080204" pitchFamily="34" charset="-128"/>
                <a:cs typeface="ＭＳ Ｐゴシック" charset="0"/>
              </a:rPr>
              <a:t>* I can convert JSON text to relational structure and use standard data processing with T-SQL syntax. </a:t>
            </a:r>
          </a:p>
          <a:p>
            <a:r>
              <a:rPr lang="en-US" sz="1200" kern="1200" dirty="0" smtClean="0">
                <a:solidFill>
                  <a:schemeClr val="tx1"/>
                </a:solidFill>
                <a:effectLst/>
                <a:latin typeface="+mn-lt"/>
                <a:ea typeface="MS PGothic" panose="020B0600070205080204" pitchFamily="34" charset="-128"/>
                <a:cs typeface="ＭＳ Ｐゴシック" charset="0"/>
              </a:rPr>
              <a:t>* I can update JSON data without some programming language or complex regular expressions. </a:t>
            </a:r>
          </a:p>
          <a:p>
            <a:endParaRPr lang="en-US" baseline="0" dirty="0" smtClean="0"/>
          </a:p>
          <a:p>
            <a:endParaRPr lang="en-US" baseline="0" dirty="0" smtClean="0"/>
          </a:p>
          <a:p>
            <a:r>
              <a:rPr lang="en-US" baseline="0" dirty="0" smtClean="0"/>
              <a:t>Security</a:t>
            </a:r>
          </a:p>
          <a:p>
            <a:r>
              <a:rPr lang="en-US" baseline="0" dirty="0" smtClean="0"/>
              <a:t>When it comes to security we will be introducing a unique capability to have your data encrypted while at rest and in motion with the ability to query that data while it is encrypted.  This is great for internal compliance and has minimal overhead.  We are calling this capability Transparent queryable encryption.</a:t>
            </a:r>
          </a:p>
          <a:p>
            <a:endParaRPr lang="en-US" baseline="0" dirty="0" smtClean="0"/>
          </a:p>
          <a:p>
            <a:r>
              <a:rPr lang="en-US" baseline="0" dirty="0" smtClean="0"/>
              <a:t>We are also delivering what you have been asking for some time, Row Level Security.  A few other enhancements like TDE support of In-Memory OLTP  and enhanced auditing capabilities give you several options to fine tune to meet you security needs.  Also coupling this with having the least vulnerable database for the last 6 years in a row by National Institute of Standards and Technology, we fill will put us in the clear leadership position when it comes to security for your mission critical applications.</a:t>
            </a:r>
          </a:p>
          <a:p>
            <a:endParaRPr lang="en-US" baseline="0" dirty="0" smtClean="0"/>
          </a:p>
          <a:p>
            <a:r>
              <a:rPr lang="en-US" baseline="0" dirty="0" smtClean="0"/>
              <a:t>Availability</a:t>
            </a:r>
          </a:p>
          <a:p>
            <a:r>
              <a:rPr lang="en-US" baseline="0" dirty="0" smtClean="0"/>
              <a:t>AlwaysOn continues to get better and more powerful every release and SQL v-next is no exception.  You can have up to 3 synchronous replicas as well as readable asynchronous replicas.  These replicas can exist in different domains and be on-premises and on Azure VMs.  We have also added in better load balancing of replicas using round robin methodology.  We have also solved </a:t>
            </a:r>
            <a:r>
              <a:rPr lang="en-US" baseline="0" dirty="0" err="1" smtClean="0"/>
              <a:t>compatiablity</a:t>
            </a:r>
            <a:r>
              <a:rPr lang="en-US" baseline="0" dirty="0" smtClean="0"/>
              <a:t> issues with DTC and SSIS when using AlwaysOn.  DTC Distributed Transaction Coordinator allows you to synchronize transaction across different database, this would break in the past with AlwaysOn.</a:t>
            </a:r>
          </a:p>
          <a:p>
            <a:r>
              <a:rPr lang="en-US" baseline="0" dirty="0" smtClean="0"/>
              <a:t>You also have greater uptime with Enhanced Online Operations that now have 100% uptime when you are doing ALTER or TURNCATE of tables.</a:t>
            </a:r>
          </a:p>
          <a:p>
            <a:endParaRPr lang="en-US" baseline="0" dirty="0" smtClean="0"/>
          </a:p>
          <a:p>
            <a:r>
              <a:rPr lang="en-US" baseline="0" dirty="0" smtClean="0"/>
              <a:t>Standard Edition-</a:t>
            </a:r>
          </a:p>
          <a:p>
            <a:r>
              <a:rPr lang="en-US" baseline="0" dirty="0" smtClean="0"/>
              <a:t>We are enhancing the HA and Scalability capabilities of Standard </a:t>
            </a:r>
            <a:r>
              <a:rPr lang="en-US" baseline="0" dirty="0" err="1" smtClean="0"/>
              <a:t>edtion</a:t>
            </a:r>
            <a:r>
              <a:rPr lang="en-US" baseline="0" dirty="0" smtClean="0"/>
              <a:t> by adding </a:t>
            </a:r>
            <a:r>
              <a:rPr lang="en-US" baseline="0" dirty="0" err="1" smtClean="0"/>
              <a:t>AlwaysON</a:t>
            </a:r>
            <a:r>
              <a:rPr lang="en-US" baseline="0" dirty="0" smtClean="0"/>
              <a:t> basic for 2 node failover and removing core and memory restrictions on standard edition.  However all of the in-memory, security and enhanced HA capabilities are only included in enterprise edition.</a:t>
            </a:r>
          </a:p>
          <a:p>
            <a:endParaRPr lang="en-US" baseline="0" dirty="0" smtClean="0"/>
          </a:p>
          <a:p>
            <a:r>
              <a:rPr lang="en-US" baseline="0" dirty="0" smtClean="0"/>
              <a:t>Scalability-</a:t>
            </a:r>
          </a:p>
          <a:p>
            <a:r>
              <a:rPr lang="en-US" baseline="0" dirty="0" smtClean="0"/>
              <a:t>When it comes to scalability you can scale up your database even further with enhanced caching using </a:t>
            </a:r>
            <a:r>
              <a:rPr lang="en-US" baseline="0" dirty="0" err="1" smtClean="0"/>
              <a:t>supportfor</a:t>
            </a:r>
            <a:r>
              <a:rPr lang="en-US" baseline="0" dirty="0" smtClean="0"/>
              <a:t> multiple TempDB files per instance for multi-core environments.</a:t>
            </a:r>
          </a:p>
          <a:p>
            <a:r>
              <a:rPr lang="en-US" baseline="0" dirty="0" smtClean="0"/>
              <a:t>But one of the biggest impacts to scalability and predictable performance for your mission critical SQL Server applications with be taking advantage of the full feature set in Windows Server v-next.  From advancements in compute, storage and networking, which all have a direct impact on mission critical SQL Server workloads.</a:t>
            </a:r>
            <a:endParaRPr lang="en-US" dirty="0" smtClean="0"/>
          </a:p>
          <a:p>
            <a:endParaRPr lang="en-US" dirty="0" smtClean="0"/>
          </a:p>
          <a:p>
            <a:endParaRPr lang="en-US" dirty="0" smtClean="0"/>
          </a:p>
          <a:p>
            <a:endParaRPr lang="en-US" dirty="0" smtClean="0"/>
          </a:p>
          <a:p>
            <a:endParaRPr lang="en-US" dirty="0" smtClean="0"/>
          </a:p>
          <a:p>
            <a:r>
              <a:rPr lang="en-US" dirty="0" err="1" smtClean="0"/>
              <a:t>Perf</a:t>
            </a:r>
            <a:r>
              <a:rPr lang="en-US" dirty="0" smtClean="0"/>
              <a:t> </a:t>
            </a:r>
            <a:r>
              <a:rPr lang="en-US" dirty="0"/>
              <a:t>Bullets –</a:t>
            </a:r>
          </a:p>
          <a:p>
            <a:pPr marL="171450" indent="-171450">
              <a:buFontTx/>
              <a:buChar char="-"/>
            </a:pPr>
            <a:r>
              <a:rPr lang="en-US" dirty="0"/>
              <a:t>In-memory Operational Analytics &amp; In-memory Transaction Performance</a:t>
            </a:r>
          </a:p>
          <a:p>
            <a:pPr marL="171450" indent="-171450">
              <a:buFontTx/>
              <a:buChar char="-"/>
            </a:pPr>
            <a:r>
              <a:rPr lang="en-US" dirty="0"/>
              <a:t>In-memory OLTP for more apps with even better performance</a:t>
            </a:r>
          </a:p>
          <a:p>
            <a:pPr marL="171450" indent="-171450">
              <a:buFontTx/>
              <a:buChar char="-"/>
            </a:pPr>
            <a:r>
              <a:rPr lang="en-US" dirty="0"/>
              <a:t>Even faster queries with Query Data Store. Helps you record query plans so you can determine which query plans are performance plans (likes a query plan recorder) Optimizing query performance (? What is this?) (potentially not for TDM)</a:t>
            </a:r>
          </a:p>
          <a:p>
            <a:pPr marL="171450" indent="-171450">
              <a:buFontTx/>
              <a:buChar char="-"/>
            </a:pPr>
            <a:r>
              <a:rPr lang="en-US" dirty="0"/>
              <a:t>Record and query historical data in your operational database (what’s new here?, you can query historical data already in your DW) – possibly pull from TDM deck.  You d0 not have a history of your record changes.  Useful for Auditing.  History of changes for each policy for insurance companies.</a:t>
            </a:r>
          </a:p>
          <a:p>
            <a:pPr marL="171450" indent="-171450">
              <a:buFontTx/>
              <a:buChar char="-"/>
            </a:pPr>
            <a:r>
              <a:rPr lang="en-US" dirty="0"/>
              <a:t>Expand into NoSQL with native JSON format ( need to change to benefit of NoSQL, why would they want to do this?).  You can store JSON natively in SQL Server. Expanded support for un-structured data(JSON native support)</a:t>
            </a:r>
          </a:p>
          <a:p>
            <a:pPr marL="171450" indent="-171450">
              <a:buFontTx/>
              <a:buChar char="-"/>
            </a:pPr>
            <a:r>
              <a:rPr lang="en-US" dirty="0"/>
              <a:t>Other operational enhancements - </a:t>
            </a:r>
          </a:p>
          <a:p>
            <a:pPr marL="171450" indent="-171450">
              <a:buFontTx/>
              <a:buChar char="-"/>
            </a:pPr>
            <a:endParaRPr lang="en-US" dirty="0"/>
          </a:p>
          <a:p>
            <a:r>
              <a:rPr lang="en-US" dirty="0"/>
              <a:t>Security</a:t>
            </a:r>
          </a:p>
          <a:p>
            <a:pPr marL="171450" indent="-171450">
              <a:buFontTx/>
              <a:buChar char="-"/>
            </a:pPr>
            <a:r>
              <a:rPr lang="en-US" dirty="0"/>
              <a:t>To me protecting sensitive data is not the differentiator, something like protect data in motion and at rest with ability to query.  DBA separation of duty with simplicity.  Compliance.</a:t>
            </a:r>
          </a:p>
          <a:p>
            <a:pPr marL="171450" indent="-171450">
              <a:buFontTx/>
              <a:buChar char="-"/>
            </a:pPr>
            <a:r>
              <a:rPr lang="en-US" dirty="0"/>
              <a:t>Row Level Security (RLS) well known me too.  Multi-</a:t>
            </a:r>
            <a:r>
              <a:rPr lang="en-US" dirty="0" err="1"/>
              <a:t>tentant</a:t>
            </a:r>
            <a:r>
              <a:rPr lang="en-US" dirty="0"/>
              <a:t> environment.  Control view of data. Fine grain access control based on user attributes (geo, role etc.)</a:t>
            </a:r>
          </a:p>
          <a:p>
            <a:pPr marL="171450" indent="-171450">
              <a:buFontTx/>
              <a:buChar char="-"/>
            </a:pPr>
            <a:r>
              <a:rPr lang="en-US" dirty="0"/>
              <a:t>Enhanced Auditing – </a:t>
            </a:r>
          </a:p>
          <a:p>
            <a:pPr marL="171450" indent="-171450">
              <a:buFontTx/>
              <a:buChar char="-"/>
            </a:pPr>
            <a:r>
              <a:rPr lang="en-US" dirty="0"/>
              <a:t>Full TDE support In-Memory OLTP – Vijay will explain</a:t>
            </a:r>
          </a:p>
          <a:p>
            <a:endParaRPr lang="en-US" dirty="0"/>
          </a:p>
          <a:p>
            <a:r>
              <a:rPr lang="en-US" dirty="0"/>
              <a:t>Availability</a:t>
            </a:r>
          </a:p>
          <a:p>
            <a:pPr marL="171450" indent="-171450">
              <a:buFontTx/>
              <a:buChar char="-"/>
            </a:pPr>
            <a:r>
              <a:rPr lang="en-US" dirty="0"/>
              <a:t>Enhanced AlwaysOn</a:t>
            </a:r>
          </a:p>
          <a:p>
            <a:pPr marL="636588" lvl="1" indent="-171450">
              <a:buFontTx/>
              <a:buChar char="-"/>
            </a:pPr>
            <a:r>
              <a:rPr lang="en-US" dirty="0"/>
              <a:t>3 synchronous replicas and 5 asynchronous. 3 Failover targets. In different domains.</a:t>
            </a:r>
          </a:p>
          <a:p>
            <a:pPr marL="636588" lvl="1" indent="-171450">
              <a:buFontTx/>
              <a:buChar char="-"/>
            </a:pPr>
            <a:r>
              <a:rPr lang="en-US" dirty="0"/>
              <a:t>Simplify the first bullet for TDM.  Transaction integrity across with DTC now works with </a:t>
            </a:r>
            <a:r>
              <a:rPr lang="en-US" dirty="0" err="1"/>
              <a:t>ALwaysOn</a:t>
            </a:r>
            <a:r>
              <a:rPr lang="en-US" dirty="0"/>
              <a:t>.  Large customers with IBM, Oracle and SQL wanting to replicate </a:t>
            </a:r>
            <a:r>
              <a:rPr lang="en-US" dirty="0" err="1"/>
              <a:t>transactionas</a:t>
            </a:r>
            <a:r>
              <a:rPr lang="en-US" dirty="0"/>
              <a:t> across 3.</a:t>
            </a:r>
          </a:p>
          <a:p>
            <a:pPr marL="636588" lvl="1" indent="-171450">
              <a:buFontTx/>
              <a:buChar char="-"/>
            </a:pPr>
            <a:r>
              <a:rPr lang="en-US" dirty="0"/>
              <a:t>Third bullet needs supporting points, no sure it makes the cut for TDMs.  Pull out second bullet.</a:t>
            </a:r>
          </a:p>
          <a:p>
            <a:pPr marL="636588" lvl="1" indent="-171450">
              <a:buFontTx/>
              <a:buChar char="-"/>
            </a:pPr>
            <a:r>
              <a:rPr lang="en-US" dirty="0"/>
              <a:t>Load balancing across asynchronous replicas.  Before first server takes query without looking at load.  Currently fulfilled by partner ecosystem (may need to pull for partner disclosure)</a:t>
            </a:r>
          </a:p>
          <a:p>
            <a:pPr marL="636588" lvl="1" indent="-171450">
              <a:buFontTx/>
              <a:buChar char="-"/>
            </a:pPr>
            <a:r>
              <a:rPr lang="en-US" dirty="0"/>
              <a:t>Pull GMSA for TDM.</a:t>
            </a:r>
          </a:p>
          <a:p>
            <a:pPr marL="636588" lvl="1" indent="-171450">
              <a:buFontTx/>
              <a:buChar char="-"/>
            </a:pPr>
            <a:r>
              <a:rPr lang="en-US" dirty="0"/>
              <a:t>Alter is the command that use for changing table schema for disk based row store.  It was offline when you are doing this in SS 2014, now its online, lower downtime.</a:t>
            </a:r>
          </a:p>
          <a:p>
            <a:pPr marL="636588" lvl="1" indent="-171450">
              <a:buFontTx/>
              <a:buChar char="-"/>
            </a:pPr>
            <a:endParaRPr lang="en-US" dirty="0"/>
          </a:p>
          <a:p>
            <a:pPr marL="171450" indent="-171450">
              <a:buFontTx/>
              <a:buChar char="-"/>
            </a:pPr>
            <a:r>
              <a:rPr lang="en-US" dirty="0"/>
              <a:t>Scalability</a:t>
            </a:r>
          </a:p>
          <a:p>
            <a:pPr marL="636588" lvl="1" indent="-171450">
              <a:buFontTx/>
              <a:buChar char="-"/>
            </a:pPr>
            <a:r>
              <a:rPr lang="en-US" dirty="0"/>
              <a:t>Removing 16 core, 128GB restrictions.  Pull out STD features out of this deck for TDM.</a:t>
            </a:r>
          </a:p>
          <a:p>
            <a:pPr marL="636588" lvl="1" indent="-171450">
              <a:buFontTx/>
              <a:buChar char="-"/>
            </a:pPr>
            <a:r>
              <a:rPr lang="en-US" dirty="0"/>
              <a:t>Support Threshold. Higher compute, memory etc..</a:t>
            </a:r>
          </a:p>
          <a:p>
            <a:pPr marL="636588" lvl="1" indent="-171450">
              <a:buFontTx/>
              <a:buChar char="-"/>
            </a:pPr>
            <a:r>
              <a:rPr lang="en-US" dirty="0"/>
              <a:t>TempDB – cache database, we use to only have one copy, multiple TempDB files per instance with round robin load balancing</a:t>
            </a:r>
          </a:p>
          <a:p>
            <a:pPr marL="636588" lvl="1" indent="-171450">
              <a:buFontTx/>
              <a:buChar char="-"/>
            </a:pPr>
            <a:r>
              <a:rPr lang="en-US" dirty="0"/>
              <a:t>We will fully support Threshold.  Massive Scale Up with “Threshold”</a:t>
            </a:r>
          </a:p>
          <a:p>
            <a:pPr marL="636588" lvl="1" indent="-171450">
              <a:buFontTx/>
              <a:buChar char="-"/>
            </a:pPr>
            <a:endParaRPr lang="en-US" dirty="0"/>
          </a:p>
          <a:p>
            <a:pPr marL="636588" lvl="1" indent="-171450">
              <a:buFontTx/>
              <a:buChar char="-"/>
            </a:pPr>
            <a:endParaRPr lang="en-US" dirty="0"/>
          </a:p>
          <a:p>
            <a:endParaRPr lang="en-US" dirty="0"/>
          </a:p>
        </p:txBody>
      </p:sp>
      <p:sp>
        <p:nvSpPr>
          <p:cNvPr id="4" name="Slide Number Placeholder 3"/>
          <p:cNvSpPr>
            <a:spLocks noGrp="1"/>
          </p:cNvSpPr>
          <p:nvPr>
            <p:ph type="sldNum" sz="quarter" idx="10"/>
          </p:nvPr>
        </p:nvSpPr>
        <p:spPr/>
        <p:txBody>
          <a:bodyPr/>
          <a:lstStyle/>
          <a:p>
            <a:pPr>
              <a:defRPr/>
            </a:pPr>
            <a:fld id="{7088D5E3-B0C4-244E-905F-C9848084E0A1}" type="slidenum">
              <a:rPr lang="en-US" smtClean="0">
                <a:solidFill>
                  <a:prstClr val="black"/>
                </a:solidFill>
              </a:rPr>
              <a:pPr>
                <a:defRPr/>
              </a:pPr>
              <a:t>44</a:t>
            </a:fld>
            <a:endParaRPr lang="en-US">
              <a:solidFill>
                <a:prstClr val="black"/>
              </a:solidFill>
            </a:endParaRPr>
          </a:p>
        </p:txBody>
      </p:sp>
    </p:spTree>
    <p:extLst>
      <p:ext uri="{BB962C8B-B14F-4D97-AF65-F5344CB8AC3E}">
        <p14:creationId xmlns:p14="http://schemas.microsoft.com/office/powerpoint/2010/main" val="155169927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8/27/2015 11:19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6</a:t>
            </a:fld>
            <a:endParaRPr lang="en-US" dirty="0">
              <a:solidFill>
                <a:prstClr val="black"/>
              </a:solidFill>
            </a:endParaRPr>
          </a:p>
        </p:txBody>
      </p:sp>
    </p:spTree>
    <p:extLst>
      <p:ext uri="{BB962C8B-B14F-4D97-AF65-F5344CB8AC3E}">
        <p14:creationId xmlns:p14="http://schemas.microsoft.com/office/powerpoint/2010/main" val="63628589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F5DEFB4-ECF3-4AE1-82DB-187355F77D16}" type="slidenum">
              <a:rPr lang="fr-FR" smtClean="0"/>
              <a:t>47</a:t>
            </a:fld>
            <a:endParaRPr lang="fr-FR"/>
          </a:p>
        </p:txBody>
      </p:sp>
    </p:spTree>
    <p:extLst>
      <p:ext uri="{BB962C8B-B14F-4D97-AF65-F5344CB8AC3E}">
        <p14:creationId xmlns:p14="http://schemas.microsoft.com/office/powerpoint/2010/main" val="33730810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Ready12</a:t>
            </a:r>
            <a:endParaRPr lang="en-US" dirty="0"/>
          </a:p>
        </p:txBody>
      </p:sp>
      <p:sp>
        <p:nvSpPr>
          <p:cNvPr id="5" name="Date Placeholder 4"/>
          <p:cNvSpPr>
            <a:spLocks noGrp="1"/>
          </p:cNvSpPr>
          <p:nvPr>
            <p:ph type="dt" idx="11"/>
          </p:nvPr>
        </p:nvSpPr>
        <p:spPr/>
        <p:txBody>
          <a:bodyPr/>
          <a:lstStyle/>
          <a:p>
            <a:fld id="{4012BB3F-BF8F-4B8A-B19D-DF55BAF48DB8}" type="datetime1">
              <a:rPr lang="en-US" smtClean="0"/>
              <a:t>8/27/2015</a:t>
            </a:fld>
            <a:endParaRPr lang="en-US" dirty="0"/>
          </a:p>
        </p:txBody>
      </p:sp>
      <p:sp>
        <p:nvSpPr>
          <p:cNvPr id="6" name="Footer Placeholder 5"/>
          <p:cNvSpPr>
            <a:spLocks noGrp="1"/>
          </p:cNvSpPr>
          <p:nvPr>
            <p:ph type="ftr" sz="quarter" idx="12"/>
          </p:nvPr>
        </p:nvSpPr>
        <p:spPr/>
        <p:txBody>
          <a:bodyPr/>
          <a:lstStyle/>
          <a:p>
            <a:r>
              <a:rPr lang="en-US"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mtClean="0">
                <a:solidFill>
                  <a:srgbClr val="000000"/>
                </a:solidFill>
                <a:latin typeface="Segoe UI" pitchFamily="34" charset="0"/>
              </a:rPr>
            </a:br>
            <a:r>
              <a:rPr lang="en-US" smtClean="0">
                <a:solidFill>
                  <a:srgbClr val="000000"/>
                </a:solidFill>
                <a:latin typeface="Segoe UI" pitchFamily="34" charset="0"/>
              </a:rPr>
              <a:t>MICROSOFT MAKES NO WARRANTIES, EXPRESS, IMPLIED OR STATUTORY, AS TO THE INFORMATION IN THIS PRESENTATION.</a:t>
            </a:r>
            <a:endParaRPr lang="en-US" dirty="0" smtClean="0">
              <a:solidFill>
                <a:srgbClr val="000000"/>
              </a:solidFill>
              <a:latin typeface="Segoe UI" pitchFamily="34" charset="0"/>
            </a:endParaRPr>
          </a:p>
        </p:txBody>
      </p:sp>
      <p:sp>
        <p:nvSpPr>
          <p:cNvPr id="7" name="Slide Number Placeholder 6"/>
          <p:cNvSpPr>
            <a:spLocks noGrp="1"/>
          </p:cNvSpPr>
          <p:nvPr>
            <p:ph type="sldNum" sz="quarter" idx="13"/>
          </p:nvPr>
        </p:nvSpPr>
        <p:spPr/>
        <p:txBody>
          <a:bodyPr/>
          <a:lstStyle/>
          <a:p>
            <a:fld id="{8B263312-38AA-4E1E-B2B5-0F8F122B24FE}" type="slidenum">
              <a:rPr lang="en-US" smtClean="0"/>
              <a:pPr/>
              <a:t>5</a:t>
            </a:fld>
            <a:endParaRPr lang="en-US" dirty="0"/>
          </a:p>
        </p:txBody>
      </p:sp>
    </p:spTree>
    <p:extLst>
      <p:ext uri="{BB962C8B-B14F-4D97-AF65-F5344CB8AC3E}">
        <p14:creationId xmlns:p14="http://schemas.microsoft.com/office/powerpoint/2010/main" val="74467734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fld id="{DF5DEFB4-ECF3-4AE1-82DB-187355F77D16}" type="slidenum">
              <a:rPr lang="fr-FR" smtClean="0"/>
              <a:t>48</a:t>
            </a:fld>
            <a:endParaRPr lang="fr-FR" dirty="0"/>
          </a:p>
        </p:txBody>
      </p:sp>
    </p:spTree>
    <p:extLst>
      <p:ext uri="{BB962C8B-B14F-4D97-AF65-F5344CB8AC3E}">
        <p14:creationId xmlns:p14="http://schemas.microsoft.com/office/powerpoint/2010/main" val="141075096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fld id="{DF5DEFB4-ECF3-4AE1-82DB-187355F77D16}" type="slidenum">
              <a:rPr lang="fr-FR" smtClean="0"/>
              <a:t>51</a:t>
            </a:fld>
            <a:endParaRPr lang="fr-FR"/>
          </a:p>
        </p:txBody>
      </p:sp>
    </p:spTree>
    <p:extLst>
      <p:ext uri="{BB962C8B-B14F-4D97-AF65-F5344CB8AC3E}">
        <p14:creationId xmlns:p14="http://schemas.microsoft.com/office/powerpoint/2010/main" val="175209727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fld id="{DF5DEFB4-ECF3-4AE1-82DB-187355F77D16}" type="slidenum">
              <a:rPr lang="fr-FR" smtClean="0"/>
              <a:t>54</a:t>
            </a:fld>
            <a:endParaRPr lang="fr-FR"/>
          </a:p>
        </p:txBody>
      </p:sp>
    </p:spTree>
    <p:extLst>
      <p:ext uri="{BB962C8B-B14F-4D97-AF65-F5344CB8AC3E}">
        <p14:creationId xmlns:p14="http://schemas.microsoft.com/office/powerpoint/2010/main" val="258822316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fld id="{DF5DEFB4-ECF3-4AE1-82DB-187355F77D16}" type="slidenum">
              <a:rPr lang="fr-FR" smtClean="0"/>
              <a:t>55</a:t>
            </a:fld>
            <a:endParaRPr lang="fr-FR"/>
          </a:p>
        </p:txBody>
      </p:sp>
    </p:spTree>
    <p:extLst>
      <p:ext uri="{BB962C8B-B14F-4D97-AF65-F5344CB8AC3E}">
        <p14:creationId xmlns:p14="http://schemas.microsoft.com/office/powerpoint/2010/main" val="241611349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fld id="{DF5DEFB4-ECF3-4AE1-82DB-187355F77D16}" type="slidenum">
              <a:rPr lang="fr-FR" smtClean="0"/>
              <a:t>57</a:t>
            </a:fld>
            <a:endParaRPr lang="fr-FR"/>
          </a:p>
        </p:txBody>
      </p:sp>
    </p:spTree>
    <p:extLst>
      <p:ext uri="{BB962C8B-B14F-4D97-AF65-F5344CB8AC3E}">
        <p14:creationId xmlns:p14="http://schemas.microsoft.com/office/powerpoint/2010/main" val="248393930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fld id="{DF5DEFB4-ECF3-4AE1-82DB-187355F77D16}" type="slidenum">
              <a:rPr lang="fr-FR" smtClean="0"/>
              <a:t>59</a:t>
            </a:fld>
            <a:endParaRPr lang="fr-FR"/>
          </a:p>
        </p:txBody>
      </p:sp>
    </p:spTree>
    <p:extLst>
      <p:ext uri="{BB962C8B-B14F-4D97-AF65-F5344CB8AC3E}">
        <p14:creationId xmlns:p14="http://schemas.microsoft.com/office/powerpoint/2010/main" val="234438476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8/27/2015 11:19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0</a:t>
            </a:fld>
            <a:endParaRPr lang="en-US" dirty="0">
              <a:solidFill>
                <a:prstClr val="black"/>
              </a:solidFill>
            </a:endParaRPr>
          </a:p>
        </p:txBody>
      </p:sp>
    </p:spTree>
    <p:extLst>
      <p:ext uri="{BB962C8B-B14F-4D97-AF65-F5344CB8AC3E}">
        <p14:creationId xmlns:p14="http://schemas.microsoft.com/office/powerpoint/2010/main" val="278441648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EE4CA52-5E5C-4954-9A88-88781D912DF9}" type="datetime8">
              <a:rPr lang="en-US" smtClean="0"/>
              <a:t>8/27/2015 11:1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2</a:t>
            </a:fld>
            <a:endParaRPr lang="en-US" dirty="0"/>
          </a:p>
        </p:txBody>
      </p:sp>
    </p:spTree>
    <p:extLst>
      <p:ext uri="{BB962C8B-B14F-4D97-AF65-F5344CB8AC3E}">
        <p14:creationId xmlns:p14="http://schemas.microsoft.com/office/powerpoint/2010/main" val="331212854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smtClean="0"/>
              <a:t>Voici les différentes ressources que Microsoft met à votre disposition pour démarrer sur Azure</a:t>
            </a:r>
          </a:p>
          <a:p>
            <a:pPr marL="171450" indent="-171450">
              <a:buFontTx/>
              <a:buChar char="-"/>
            </a:pPr>
            <a:r>
              <a:rPr lang="fr-FR" baseline="0" dirty="0" smtClean="0"/>
              <a:t>Pour tous</a:t>
            </a:r>
          </a:p>
          <a:p>
            <a:pPr marL="0" indent="0">
              <a:buFontTx/>
              <a:buNone/>
            </a:pPr>
            <a:r>
              <a:rPr lang="fr-FR" baseline="0" dirty="0" smtClean="0"/>
              <a:t>150 € de crédits cloud offerts pendant un mois, sans engagement puisqu’ensuite vous ne payez qu’en fonction de ce que vous consommez.</a:t>
            </a:r>
          </a:p>
          <a:p>
            <a:pPr marL="171450" indent="-171450">
              <a:buFontTx/>
              <a:buChar char="-"/>
            </a:pPr>
            <a:r>
              <a:rPr lang="fr-FR" baseline="0" dirty="0" smtClean="0"/>
              <a:t>Pour les start-ups</a:t>
            </a:r>
          </a:p>
          <a:p>
            <a:pPr marL="0" indent="0">
              <a:buFontTx/>
              <a:buNone/>
            </a:pPr>
            <a:r>
              <a:rPr lang="fr-FR" baseline="0" dirty="0" smtClean="0"/>
              <a:t>Bizspark : si vous êtes une startup d’au moins 5 ans et qui fait moins d’un million de dollars de CA par an, vous pouvez bénéficiez du programme Bizspark. Cela vous donne accès, entre autres, à 115 € par mois de crédit Azure pour 5 comptes pendant 3 ans, soit 4175 € de ressources.</a:t>
            </a:r>
          </a:p>
          <a:p>
            <a:pPr marL="0" indent="0">
              <a:buFontTx/>
              <a:buNone/>
            </a:pPr>
            <a:r>
              <a:rPr lang="fr-FR" baseline="0" dirty="0" smtClean="0"/>
              <a:t>Bizspark Plus : si vous faites partie de l’un de nos incubateur partenaire, vous pouvez passer en </a:t>
            </a:r>
            <a:r>
              <a:rPr lang="fr-FR" baseline="0" dirty="0" err="1" smtClean="0"/>
              <a:t>BizSpark</a:t>
            </a:r>
            <a:r>
              <a:rPr lang="fr-FR" baseline="0" dirty="0" smtClean="0"/>
              <a:t> Plus et obtenir 120 000 € de ressources Azure sur 1 an.</a:t>
            </a:r>
          </a:p>
          <a:p>
            <a:pPr marL="171450" indent="-171450">
              <a:buFontTx/>
              <a:buChar char="-"/>
            </a:pPr>
            <a:r>
              <a:rPr lang="fr-FR" baseline="0" dirty="0" smtClean="0"/>
              <a:t>Pour les abonnées MSDN</a:t>
            </a:r>
          </a:p>
          <a:p>
            <a:pPr marL="0" indent="0">
              <a:buFontTx/>
              <a:buNone/>
            </a:pPr>
            <a:r>
              <a:rPr lang="fr-FR" baseline="0" dirty="0" smtClean="0"/>
              <a:t>Votre abonnement MSDN vous permet de bénéficier jusqu’à 115 € de crédit Azure par mois. Il vous suffit d’activer ce bénéfice.</a:t>
            </a:r>
            <a:endParaRPr lang="fr-FR"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EE4CA52-5E5C-4954-9A88-88781D912DF9}" type="datetime8">
              <a:rPr lang="en-US" smtClean="0"/>
              <a:t>8/27/2015 11:1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3</a:t>
            </a:fld>
            <a:endParaRPr lang="en-US" dirty="0"/>
          </a:p>
        </p:txBody>
      </p:sp>
    </p:spTree>
    <p:extLst>
      <p:ext uri="{BB962C8B-B14F-4D97-AF65-F5344CB8AC3E}">
        <p14:creationId xmlns:p14="http://schemas.microsoft.com/office/powerpoint/2010/main" val="4844675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smtClean="0"/>
              <a:t>Simple,</a:t>
            </a:r>
            <a:r>
              <a:rPr lang="fr-FR" baseline="0" dirty="0" smtClean="0"/>
              <a:t> rapide, flexible</a:t>
            </a:r>
          </a:p>
          <a:p>
            <a:r>
              <a:rPr lang="fr-FR" baseline="0" dirty="0" smtClean="0"/>
              <a:t>Limité dans les possibilités de </a:t>
            </a:r>
            <a:r>
              <a:rPr lang="fr-FR" baseline="0" dirty="0" err="1" smtClean="0"/>
              <a:t>requêtage</a:t>
            </a:r>
            <a:r>
              <a:rPr lang="fr-FR" baseline="0" dirty="0" smtClean="0"/>
              <a:t>, d’</a:t>
            </a:r>
            <a:r>
              <a:rPr lang="fr-FR" baseline="0" dirty="0" err="1" smtClean="0"/>
              <a:t>aggrégation</a:t>
            </a:r>
            <a:r>
              <a:rPr lang="fr-FR" baseline="0" dirty="0" smtClean="0"/>
              <a:t>, …</a:t>
            </a:r>
            <a:endParaRPr lang="fr-FR"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EE4CA52-5E5C-4954-9A88-88781D912DF9}" type="datetime8">
              <a:rPr lang="en-US" smtClean="0"/>
              <a:t>8/27/2015 11:1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a:t>
            </a:fld>
            <a:endParaRPr lang="en-US" dirty="0"/>
          </a:p>
        </p:txBody>
      </p:sp>
    </p:spTree>
    <p:extLst>
      <p:ext uri="{BB962C8B-B14F-4D97-AF65-F5344CB8AC3E}">
        <p14:creationId xmlns:p14="http://schemas.microsoft.com/office/powerpoint/2010/main" val="167863130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smtClean="0"/>
              <a:t>Schéma complexe,</a:t>
            </a:r>
            <a:r>
              <a:rPr lang="fr-FR" baseline="0" dirty="0" smtClean="0"/>
              <a:t> </a:t>
            </a:r>
            <a:r>
              <a:rPr lang="fr-FR" baseline="0" dirty="0" err="1" smtClean="0"/>
              <a:t>requêtage</a:t>
            </a:r>
            <a:r>
              <a:rPr lang="fr-FR" baseline="0" dirty="0" smtClean="0"/>
              <a:t> avancé</a:t>
            </a:r>
            <a:endParaRPr lang="fr-FR" dirty="0" smtClean="0"/>
          </a:p>
          <a:p>
            <a:r>
              <a:rPr lang="fr-FR" dirty="0" smtClean="0"/>
              <a:t>Pas de support</a:t>
            </a:r>
            <a:r>
              <a:rPr lang="fr-FR" baseline="0" dirty="0" smtClean="0"/>
              <a:t> de transactions entre documents</a:t>
            </a:r>
            <a:endParaRPr lang="fr-FR"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EE4CA52-5E5C-4954-9A88-88781D912DF9}" type="datetime8">
              <a:rPr lang="en-US" smtClean="0"/>
              <a:t>8/27/2015 11:1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9</a:t>
            </a:fld>
            <a:endParaRPr lang="en-US" dirty="0"/>
          </a:p>
        </p:txBody>
      </p:sp>
    </p:spTree>
    <p:extLst>
      <p:ext uri="{BB962C8B-B14F-4D97-AF65-F5344CB8AC3E}">
        <p14:creationId xmlns:p14="http://schemas.microsoft.com/office/powerpoint/2010/main" val="236021246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smtClean="0"/>
              <a:t>MSN :</a:t>
            </a:r>
          </a:p>
          <a:p>
            <a:r>
              <a:rPr lang="fr-FR" dirty="0" smtClean="0"/>
              <a:t>425 million d’utilisateurs uniques globalement.</a:t>
            </a:r>
          </a:p>
          <a:p>
            <a:r>
              <a:rPr lang="fr-FR" dirty="0" smtClean="0"/>
              <a:t>Plus de 40 applications avec des besoins en lecture et écriture</a:t>
            </a:r>
            <a:r>
              <a:rPr lang="fr-FR" baseline="0" dirty="0" smtClean="0"/>
              <a:t> exigeants.</a:t>
            </a:r>
          </a:p>
          <a:p>
            <a:endParaRPr lang="fr-FR" baseline="0" dirty="0" smtClean="0"/>
          </a:p>
          <a:p>
            <a:r>
              <a:rPr lang="fr-FR" baseline="0" dirty="0" smtClean="0"/>
              <a:t>News </a:t>
            </a:r>
            <a:r>
              <a:rPr lang="fr-FR" baseline="0" dirty="0" err="1" smtClean="0"/>
              <a:t>Republic</a:t>
            </a:r>
            <a:endParaRPr lang="fr-FR" baseline="0" dirty="0" smtClean="0"/>
          </a:p>
          <a:p>
            <a:r>
              <a:rPr lang="fr-FR" baseline="0" dirty="0" smtClean="0"/>
              <a:t>Agrégation des news provenant de multiples sources.</a:t>
            </a:r>
          </a:p>
          <a:p>
            <a:r>
              <a:rPr lang="fr-FR" baseline="0" dirty="0" smtClean="0"/>
              <a:t>Stockent énormément de données, ont des exigences en terme de performances et de flexibilité.</a:t>
            </a:r>
          </a:p>
          <a:p>
            <a:endParaRPr lang="fr-FR" baseline="0" dirty="0" smtClean="0"/>
          </a:p>
          <a:p>
            <a:r>
              <a:rPr lang="fr-FR" baseline="0" dirty="0" smtClean="0"/>
              <a:t>Real Madrid</a:t>
            </a:r>
          </a:p>
          <a:p>
            <a:r>
              <a:rPr lang="fr-FR" baseline="0" dirty="0" smtClean="0"/>
              <a:t>Capturent chacune des interactions entre la marque et ses 450 millions de fans (interaction sur les réseaux sociaux, achat de produits dérivés, modification du profil sur le site du club, …) et stocke tout cela dans </a:t>
            </a:r>
            <a:r>
              <a:rPr lang="fr-FR" baseline="0" dirty="0" err="1" smtClean="0"/>
              <a:t>DocumentDB</a:t>
            </a:r>
            <a:endParaRPr lang="fr-FR" baseline="0" dirty="0" smtClean="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EE4CA52-5E5C-4954-9A88-88781D912DF9}" type="datetime8">
              <a:rPr lang="en-US" smtClean="0"/>
              <a:t>8/27/2015 11:1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3</a:t>
            </a:fld>
            <a:endParaRPr lang="en-US" dirty="0"/>
          </a:p>
        </p:txBody>
      </p:sp>
    </p:spTree>
    <p:extLst>
      <p:ext uri="{BB962C8B-B14F-4D97-AF65-F5344CB8AC3E}">
        <p14:creationId xmlns:p14="http://schemas.microsoft.com/office/powerpoint/2010/main" val="3459521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noProof="0" dirty="0" smtClean="0"/>
              <a:t>Accès en REST via HTTP</a:t>
            </a:r>
            <a:r>
              <a:rPr lang="fr-FR" baseline="0" noProof="0" dirty="0" smtClean="0"/>
              <a:t>, connexion directe en TCP, </a:t>
            </a:r>
            <a:r>
              <a:rPr lang="fr-FR" noProof="0" dirty="0" smtClean="0"/>
              <a:t>SDKs .NET, Node.js, Python, </a:t>
            </a:r>
            <a:r>
              <a:rPr lang="fr-FR" noProof="0" dirty="0" err="1" smtClean="0"/>
              <a:t>Javascript</a:t>
            </a:r>
            <a:r>
              <a:rPr lang="fr-FR" noProof="0" dirty="0" smtClean="0"/>
              <a:t>,</a:t>
            </a:r>
            <a:r>
              <a:rPr lang="fr-FR" baseline="0" noProof="0" dirty="0" smtClean="0"/>
              <a:t> Java, …</a:t>
            </a:r>
            <a:endParaRPr lang="fr-FR" noProof="0" dirty="0" smtClean="0"/>
          </a:p>
          <a:p>
            <a:endParaRPr lang="fr-FR" noProof="0" dirty="0" smtClean="0"/>
          </a:p>
          <a:p>
            <a:r>
              <a:rPr lang="fr-FR" noProof="0" dirty="0" smtClean="0"/>
              <a:t>Toutes les informations dont on a besoin sont dans le document, pour ne pas avoir à parcourir plusieurs emplacements de</a:t>
            </a:r>
            <a:r>
              <a:rPr lang="fr-FR" baseline="0" noProof="0" dirty="0" smtClean="0"/>
              <a:t> la base de données à la recherche des bonnes relations.</a:t>
            </a:r>
          </a:p>
          <a:p>
            <a:r>
              <a:rPr lang="fr-FR" baseline="0" noProof="0" dirty="0" smtClean="0"/>
              <a:t>C’est notamment grâce à cela qu’on a de telles performances.</a:t>
            </a:r>
          </a:p>
          <a:p>
            <a:endParaRPr lang="fr-FR" baseline="0" noProof="0" dirty="0" smtClean="0"/>
          </a:p>
          <a:p>
            <a:r>
              <a:rPr lang="fr-FR" baseline="0" noProof="0" dirty="0" smtClean="0"/>
              <a:t>Pas de schéma à priori. On stocke ce que l’on souhaite de la manière dont on le souhaite. </a:t>
            </a:r>
          </a:p>
          <a:p>
            <a:r>
              <a:rPr lang="fr-FR" baseline="0" noProof="0" dirty="0" smtClean="0"/>
              <a:t>Cela permet d’être très agile et de rajouter des informations à la volée.</a:t>
            </a:r>
          </a:p>
          <a:p>
            <a:r>
              <a:rPr lang="fr-FR" baseline="0" noProof="0" dirty="0" smtClean="0"/>
              <a:t>Ex : une application qui stocke des </a:t>
            </a:r>
            <a:r>
              <a:rPr lang="fr-FR" baseline="0" noProof="0" dirty="0" err="1" smtClean="0"/>
              <a:t>posts</a:t>
            </a:r>
            <a:r>
              <a:rPr lang="fr-FR" baseline="0" noProof="0" dirty="0" smtClean="0"/>
              <a:t> Facebook et Twitter peut utiliser le même store.</a:t>
            </a:r>
          </a:p>
          <a:p>
            <a:endParaRPr lang="fr-FR" baseline="0" noProof="0" dirty="0" smtClean="0"/>
          </a:p>
          <a:p>
            <a:r>
              <a:rPr lang="fr-FR" baseline="0" noProof="0" dirty="0" smtClean="0"/>
              <a:t>Self </a:t>
            </a:r>
            <a:r>
              <a:rPr lang="fr-FR" baseline="0" noProof="0" dirty="0" err="1" smtClean="0"/>
              <a:t>describing</a:t>
            </a:r>
            <a:r>
              <a:rPr lang="fr-FR" baseline="0" noProof="0" dirty="0" smtClean="0"/>
              <a:t> car on a le nom des propriétés directement dans le document,</a:t>
            </a:r>
            <a:endParaRPr lang="fr-FR" noProof="0" dirty="0" smtClean="0"/>
          </a:p>
          <a:p>
            <a:endParaRPr lang="fr-FR" noProof="0" dirty="0" smtClean="0"/>
          </a:p>
          <a:p>
            <a:endParaRPr lang="fr-FR" noProof="0" dirty="0" smtClean="0"/>
          </a:p>
          <a:p>
            <a:r>
              <a:rPr lang="fr-FR" noProof="0" dirty="0" smtClean="0"/>
              <a:t>Source: http://azure.microsoft.com/en-us/documentation/articles/documentdb-resources/#documents</a:t>
            </a:r>
          </a:p>
          <a:p>
            <a:endParaRPr lang="fr-FR" noProof="0" dirty="0" smtClean="0"/>
          </a:p>
          <a:p>
            <a:r>
              <a:rPr lang="fr-FR" noProof="0" dirty="0" smtClean="0"/>
              <a:t>You </a:t>
            </a:r>
            <a:r>
              <a:rPr lang="fr-FR" noProof="0" dirty="0" err="1" smtClean="0"/>
              <a:t>can</a:t>
            </a:r>
            <a:r>
              <a:rPr lang="fr-FR" noProof="0" dirty="0" smtClean="0"/>
              <a:t> insert, replace, </a:t>
            </a:r>
            <a:r>
              <a:rPr lang="fr-FR" noProof="0" dirty="0" err="1" smtClean="0"/>
              <a:t>delete</a:t>
            </a:r>
            <a:r>
              <a:rPr lang="fr-FR" noProof="0" dirty="0" smtClean="0"/>
              <a:t>, </a:t>
            </a:r>
            <a:r>
              <a:rPr lang="fr-FR" noProof="0" dirty="0" err="1" smtClean="0"/>
              <a:t>read</a:t>
            </a:r>
            <a:r>
              <a:rPr lang="fr-FR" noProof="0" dirty="0" smtClean="0"/>
              <a:t>, </a:t>
            </a:r>
            <a:r>
              <a:rPr lang="fr-FR" noProof="0" dirty="0" err="1" smtClean="0"/>
              <a:t>enumerate</a:t>
            </a:r>
            <a:r>
              <a:rPr lang="fr-FR" noProof="0" dirty="0" smtClean="0"/>
              <a:t> and </a:t>
            </a:r>
            <a:r>
              <a:rPr lang="fr-FR" noProof="0" dirty="0" err="1" smtClean="0"/>
              <a:t>query</a:t>
            </a:r>
            <a:r>
              <a:rPr lang="fr-FR" noProof="0" dirty="0" smtClean="0"/>
              <a:t> </a:t>
            </a:r>
            <a:r>
              <a:rPr lang="fr-FR" noProof="0" dirty="0" err="1" smtClean="0"/>
              <a:t>arbitrary</a:t>
            </a:r>
            <a:r>
              <a:rPr lang="fr-FR" noProof="0" dirty="0" smtClean="0"/>
              <a:t> JSON documents in a collection. </a:t>
            </a:r>
            <a:r>
              <a:rPr lang="fr-FR" noProof="0" dirty="0" err="1" smtClean="0"/>
              <a:t>DocumentDB</a:t>
            </a:r>
            <a:r>
              <a:rPr lang="fr-FR" noProof="0" dirty="0" smtClean="0"/>
              <a:t> </a:t>
            </a:r>
            <a:r>
              <a:rPr lang="fr-FR" noProof="0" dirty="0" err="1" smtClean="0"/>
              <a:t>does</a:t>
            </a:r>
            <a:r>
              <a:rPr lang="fr-FR" noProof="0" dirty="0" smtClean="0"/>
              <a:t> not mandate </a:t>
            </a:r>
            <a:r>
              <a:rPr lang="fr-FR" noProof="0" dirty="0" err="1" smtClean="0"/>
              <a:t>any</a:t>
            </a:r>
            <a:r>
              <a:rPr lang="fr-FR" noProof="0" dirty="0" smtClean="0"/>
              <a:t> </a:t>
            </a:r>
            <a:r>
              <a:rPr lang="fr-FR" noProof="0" dirty="0" err="1" smtClean="0"/>
              <a:t>schema</a:t>
            </a:r>
            <a:r>
              <a:rPr lang="fr-FR" noProof="0" dirty="0" smtClean="0"/>
              <a:t> and </a:t>
            </a:r>
            <a:r>
              <a:rPr lang="fr-FR" noProof="0" dirty="0" err="1" smtClean="0"/>
              <a:t>does</a:t>
            </a:r>
            <a:r>
              <a:rPr lang="fr-FR" noProof="0" dirty="0" smtClean="0"/>
              <a:t> not </a:t>
            </a:r>
            <a:r>
              <a:rPr lang="fr-FR" noProof="0" dirty="0" err="1" smtClean="0"/>
              <a:t>require</a:t>
            </a:r>
            <a:r>
              <a:rPr lang="fr-FR" noProof="0" dirty="0" smtClean="0"/>
              <a:t> </a:t>
            </a:r>
            <a:r>
              <a:rPr lang="fr-FR" noProof="0" dirty="0" err="1" smtClean="0"/>
              <a:t>secondary</a:t>
            </a:r>
            <a:r>
              <a:rPr lang="fr-FR" noProof="0" dirty="0" smtClean="0"/>
              <a:t> indexes in </a:t>
            </a:r>
            <a:r>
              <a:rPr lang="fr-FR" noProof="0" dirty="0" err="1" smtClean="0"/>
              <a:t>order</a:t>
            </a:r>
            <a:r>
              <a:rPr lang="fr-FR" noProof="0" dirty="0" smtClean="0"/>
              <a:t> to support </a:t>
            </a:r>
            <a:r>
              <a:rPr lang="fr-FR" noProof="0" dirty="0" err="1" smtClean="0"/>
              <a:t>querying</a:t>
            </a:r>
            <a:r>
              <a:rPr lang="fr-FR" noProof="0" dirty="0" smtClean="0"/>
              <a:t> over documents in a collection. </a:t>
            </a:r>
          </a:p>
          <a:p>
            <a:endParaRPr lang="fr-FR" noProof="0" dirty="0" smtClean="0"/>
          </a:p>
          <a:p>
            <a:r>
              <a:rPr lang="fr-FR" noProof="0" dirty="0" err="1" smtClean="0"/>
              <a:t>Being</a:t>
            </a:r>
            <a:r>
              <a:rPr lang="fr-FR" noProof="0" dirty="0" smtClean="0"/>
              <a:t> a </a:t>
            </a:r>
            <a:r>
              <a:rPr lang="fr-FR" noProof="0" dirty="0" err="1" smtClean="0"/>
              <a:t>truly</a:t>
            </a:r>
            <a:r>
              <a:rPr lang="fr-FR" noProof="0" dirty="0" smtClean="0"/>
              <a:t> open </a:t>
            </a:r>
            <a:r>
              <a:rPr lang="fr-FR" noProof="0" dirty="0" err="1" smtClean="0"/>
              <a:t>database</a:t>
            </a:r>
            <a:r>
              <a:rPr lang="fr-FR" noProof="0" dirty="0" smtClean="0"/>
              <a:t> service, </a:t>
            </a:r>
            <a:r>
              <a:rPr lang="fr-FR" noProof="0" dirty="0" err="1" smtClean="0"/>
              <a:t>DocumentDB</a:t>
            </a:r>
            <a:r>
              <a:rPr lang="fr-FR" noProof="0" dirty="0" smtClean="0"/>
              <a:t> </a:t>
            </a:r>
            <a:r>
              <a:rPr lang="fr-FR" noProof="0" dirty="0" err="1" smtClean="0"/>
              <a:t>does</a:t>
            </a:r>
            <a:r>
              <a:rPr lang="fr-FR" noProof="0" dirty="0" smtClean="0"/>
              <a:t> not </a:t>
            </a:r>
            <a:r>
              <a:rPr lang="fr-FR" noProof="0" dirty="0" err="1" smtClean="0"/>
              <a:t>invent</a:t>
            </a:r>
            <a:r>
              <a:rPr lang="fr-FR" noProof="0" dirty="0" smtClean="0"/>
              <a:t> </a:t>
            </a:r>
            <a:r>
              <a:rPr lang="fr-FR" noProof="0" dirty="0" err="1" smtClean="0"/>
              <a:t>any</a:t>
            </a:r>
            <a:r>
              <a:rPr lang="fr-FR" noProof="0" dirty="0" smtClean="0"/>
              <a:t> </a:t>
            </a:r>
            <a:r>
              <a:rPr lang="fr-FR" noProof="0" dirty="0" err="1" smtClean="0"/>
              <a:t>specialized</a:t>
            </a:r>
            <a:r>
              <a:rPr lang="fr-FR" noProof="0" dirty="0" smtClean="0"/>
              <a:t> data types (</a:t>
            </a:r>
            <a:r>
              <a:rPr lang="fr-FR" noProof="0" dirty="0" err="1" smtClean="0"/>
              <a:t>e.g</a:t>
            </a:r>
            <a:r>
              <a:rPr lang="fr-FR" noProof="0" dirty="0" smtClean="0"/>
              <a:t>. date time) or </a:t>
            </a:r>
            <a:r>
              <a:rPr lang="fr-FR" noProof="0" dirty="0" err="1" smtClean="0"/>
              <a:t>specific</a:t>
            </a:r>
            <a:r>
              <a:rPr lang="fr-FR" noProof="0" dirty="0" smtClean="0"/>
              <a:t> </a:t>
            </a:r>
            <a:r>
              <a:rPr lang="fr-FR" noProof="0" dirty="0" err="1" smtClean="0"/>
              <a:t>encodings</a:t>
            </a:r>
            <a:r>
              <a:rPr lang="fr-FR" noProof="0" dirty="0" smtClean="0"/>
              <a:t> for JSON documents. Note </a:t>
            </a:r>
            <a:r>
              <a:rPr lang="fr-FR" noProof="0" dirty="0" err="1" smtClean="0"/>
              <a:t>that</a:t>
            </a:r>
            <a:r>
              <a:rPr lang="fr-FR" noProof="0" dirty="0" smtClean="0"/>
              <a:t> </a:t>
            </a:r>
            <a:r>
              <a:rPr lang="fr-FR" noProof="0" dirty="0" err="1" smtClean="0"/>
              <a:t>DocumentDB</a:t>
            </a:r>
            <a:r>
              <a:rPr lang="fr-FR" noProof="0" dirty="0" smtClean="0"/>
              <a:t> </a:t>
            </a:r>
            <a:r>
              <a:rPr lang="fr-FR" noProof="0" dirty="0" err="1" smtClean="0"/>
              <a:t>does</a:t>
            </a:r>
            <a:r>
              <a:rPr lang="fr-FR" noProof="0" dirty="0" smtClean="0"/>
              <a:t> not </a:t>
            </a:r>
            <a:r>
              <a:rPr lang="fr-FR" noProof="0" dirty="0" err="1" smtClean="0"/>
              <a:t>require</a:t>
            </a:r>
            <a:r>
              <a:rPr lang="fr-FR" noProof="0" dirty="0" smtClean="0"/>
              <a:t> </a:t>
            </a:r>
            <a:r>
              <a:rPr lang="fr-FR" noProof="0" dirty="0" err="1" smtClean="0"/>
              <a:t>any</a:t>
            </a:r>
            <a:r>
              <a:rPr lang="fr-FR" noProof="0" dirty="0" smtClean="0"/>
              <a:t> </a:t>
            </a:r>
            <a:r>
              <a:rPr lang="fr-FR" noProof="0" dirty="0" err="1" smtClean="0"/>
              <a:t>special</a:t>
            </a:r>
            <a:r>
              <a:rPr lang="fr-FR" noProof="0" dirty="0" smtClean="0"/>
              <a:t> JSON conventions to </a:t>
            </a:r>
            <a:r>
              <a:rPr lang="fr-FR" noProof="0" dirty="0" err="1" smtClean="0"/>
              <a:t>codify</a:t>
            </a:r>
            <a:r>
              <a:rPr lang="fr-FR" noProof="0" dirty="0" smtClean="0"/>
              <a:t> the </a:t>
            </a:r>
            <a:r>
              <a:rPr lang="fr-FR" noProof="0" dirty="0" err="1" smtClean="0"/>
              <a:t>relationships</a:t>
            </a:r>
            <a:r>
              <a:rPr lang="fr-FR" noProof="0" dirty="0" smtClean="0"/>
              <a:t> </a:t>
            </a:r>
            <a:r>
              <a:rPr lang="fr-FR" noProof="0" dirty="0" err="1" smtClean="0"/>
              <a:t>among</a:t>
            </a:r>
            <a:r>
              <a:rPr lang="fr-FR" noProof="0" dirty="0" smtClean="0"/>
              <a:t> </a:t>
            </a:r>
            <a:r>
              <a:rPr lang="fr-FR" noProof="0" dirty="0" err="1" smtClean="0"/>
              <a:t>various</a:t>
            </a:r>
            <a:r>
              <a:rPr lang="fr-FR" noProof="0" dirty="0" smtClean="0"/>
              <a:t> documents; the SQL </a:t>
            </a:r>
            <a:r>
              <a:rPr lang="fr-FR" noProof="0" dirty="0" err="1" smtClean="0"/>
              <a:t>query</a:t>
            </a:r>
            <a:r>
              <a:rPr lang="fr-FR" noProof="0" dirty="0" smtClean="0"/>
              <a:t> </a:t>
            </a:r>
            <a:r>
              <a:rPr lang="fr-FR" noProof="0" dirty="0" err="1" smtClean="0"/>
              <a:t>language</a:t>
            </a:r>
            <a:r>
              <a:rPr lang="fr-FR" noProof="0" dirty="0" smtClean="0"/>
              <a:t> of </a:t>
            </a:r>
            <a:r>
              <a:rPr lang="fr-FR" noProof="0" dirty="0" err="1" smtClean="0"/>
              <a:t>DocumentDB</a:t>
            </a:r>
            <a:r>
              <a:rPr lang="fr-FR" noProof="0" dirty="0" smtClean="0"/>
              <a:t> </a:t>
            </a:r>
            <a:r>
              <a:rPr lang="fr-FR" noProof="0" dirty="0" err="1" smtClean="0"/>
              <a:t>provides</a:t>
            </a:r>
            <a:r>
              <a:rPr lang="fr-FR" noProof="0" dirty="0" smtClean="0"/>
              <a:t> </a:t>
            </a:r>
            <a:r>
              <a:rPr lang="fr-FR" noProof="0" dirty="0" err="1" smtClean="0"/>
              <a:t>very</a:t>
            </a:r>
            <a:r>
              <a:rPr lang="fr-FR" noProof="0" dirty="0" smtClean="0"/>
              <a:t> </a:t>
            </a:r>
            <a:r>
              <a:rPr lang="fr-FR" noProof="0" dirty="0" err="1" smtClean="0"/>
              <a:t>powerful</a:t>
            </a:r>
            <a:r>
              <a:rPr lang="fr-FR" noProof="0" dirty="0" smtClean="0"/>
              <a:t> </a:t>
            </a:r>
            <a:r>
              <a:rPr lang="fr-FR" noProof="0" dirty="0" err="1" smtClean="0"/>
              <a:t>hierarchical</a:t>
            </a:r>
            <a:r>
              <a:rPr lang="fr-FR" noProof="0" dirty="0" smtClean="0"/>
              <a:t> and </a:t>
            </a:r>
            <a:r>
              <a:rPr lang="fr-FR" noProof="0" dirty="0" err="1" smtClean="0"/>
              <a:t>relational</a:t>
            </a:r>
            <a:r>
              <a:rPr lang="fr-FR" noProof="0" dirty="0" smtClean="0"/>
              <a:t> </a:t>
            </a:r>
            <a:r>
              <a:rPr lang="fr-FR" noProof="0" dirty="0" err="1" smtClean="0"/>
              <a:t>query</a:t>
            </a:r>
            <a:r>
              <a:rPr lang="fr-FR" noProof="0" dirty="0" smtClean="0"/>
              <a:t> </a:t>
            </a:r>
            <a:r>
              <a:rPr lang="fr-FR" noProof="0" dirty="0" err="1" smtClean="0"/>
              <a:t>operators</a:t>
            </a:r>
            <a:r>
              <a:rPr lang="fr-FR" noProof="0" dirty="0" smtClean="0"/>
              <a:t> to </a:t>
            </a:r>
            <a:r>
              <a:rPr lang="fr-FR" noProof="0" dirty="0" err="1" smtClean="0"/>
              <a:t>query</a:t>
            </a:r>
            <a:r>
              <a:rPr lang="fr-FR" noProof="0" dirty="0" smtClean="0"/>
              <a:t> and </a:t>
            </a:r>
            <a:r>
              <a:rPr lang="fr-FR" noProof="0" dirty="0" err="1" smtClean="0"/>
              <a:t>project</a:t>
            </a:r>
            <a:r>
              <a:rPr lang="fr-FR" noProof="0" dirty="0" smtClean="0"/>
              <a:t> documents </a:t>
            </a:r>
            <a:r>
              <a:rPr lang="fr-FR" noProof="0" dirty="0" err="1" smtClean="0"/>
              <a:t>without</a:t>
            </a:r>
            <a:r>
              <a:rPr lang="fr-FR" noProof="0" dirty="0" smtClean="0"/>
              <a:t> </a:t>
            </a:r>
            <a:r>
              <a:rPr lang="fr-FR" noProof="0" dirty="0" err="1" smtClean="0"/>
              <a:t>any</a:t>
            </a:r>
            <a:r>
              <a:rPr lang="fr-FR" noProof="0" dirty="0" smtClean="0"/>
              <a:t> </a:t>
            </a:r>
            <a:r>
              <a:rPr lang="fr-FR" noProof="0" dirty="0" err="1" smtClean="0"/>
              <a:t>special</a:t>
            </a:r>
            <a:r>
              <a:rPr lang="fr-FR" noProof="0" dirty="0" smtClean="0"/>
              <a:t> annotations or </a:t>
            </a:r>
            <a:r>
              <a:rPr lang="fr-FR" noProof="0" dirty="0" err="1" smtClean="0"/>
              <a:t>need</a:t>
            </a:r>
            <a:r>
              <a:rPr lang="fr-FR" noProof="0" dirty="0" smtClean="0"/>
              <a:t> to </a:t>
            </a:r>
            <a:r>
              <a:rPr lang="fr-FR" noProof="0" dirty="0" err="1" smtClean="0"/>
              <a:t>codify</a:t>
            </a:r>
            <a:r>
              <a:rPr lang="fr-FR" noProof="0" dirty="0" smtClean="0"/>
              <a:t> </a:t>
            </a:r>
            <a:r>
              <a:rPr lang="fr-FR" noProof="0" dirty="0" err="1" smtClean="0"/>
              <a:t>relationships</a:t>
            </a:r>
            <a:r>
              <a:rPr lang="fr-FR" noProof="0" dirty="0" smtClean="0"/>
              <a:t> </a:t>
            </a:r>
            <a:r>
              <a:rPr lang="fr-FR" noProof="0" dirty="0" err="1" smtClean="0"/>
              <a:t>among</a:t>
            </a:r>
            <a:r>
              <a:rPr lang="fr-FR" noProof="0" dirty="0" smtClean="0"/>
              <a:t> documents </a:t>
            </a:r>
            <a:r>
              <a:rPr lang="fr-FR" noProof="0" dirty="0" err="1" smtClean="0"/>
              <a:t>using</a:t>
            </a:r>
            <a:r>
              <a:rPr lang="fr-FR" noProof="0" dirty="0" smtClean="0"/>
              <a:t> </a:t>
            </a:r>
            <a:r>
              <a:rPr lang="fr-FR" noProof="0" dirty="0" err="1" smtClean="0"/>
              <a:t>distinguished</a:t>
            </a:r>
            <a:r>
              <a:rPr lang="fr-FR" noProof="0" dirty="0" smtClean="0"/>
              <a:t> </a:t>
            </a:r>
            <a:r>
              <a:rPr lang="fr-FR" noProof="0" dirty="0" err="1" smtClean="0"/>
              <a:t>properties</a:t>
            </a:r>
            <a:r>
              <a:rPr lang="fr-FR" noProof="0" dirty="0" smtClean="0"/>
              <a:t>. </a:t>
            </a:r>
          </a:p>
          <a:p>
            <a:endParaRPr lang="fr-FR" noProof="0" dirty="0" smtClean="0"/>
          </a:p>
          <a:p>
            <a:r>
              <a:rPr lang="fr-FR" noProof="0" dirty="0" smtClean="0"/>
              <a:t>As </a:t>
            </a:r>
            <a:r>
              <a:rPr lang="fr-FR" noProof="0" dirty="0" err="1" smtClean="0"/>
              <a:t>with</a:t>
            </a:r>
            <a:r>
              <a:rPr lang="fr-FR" noProof="0" dirty="0" smtClean="0"/>
              <a:t> all </a:t>
            </a:r>
            <a:r>
              <a:rPr lang="fr-FR" noProof="0" dirty="0" err="1" smtClean="0"/>
              <a:t>other</a:t>
            </a:r>
            <a:r>
              <a:rPr lang="fr-FR" noProof="0" dirty="0" smtClean="0"/>
              <a:t> </a:t>
            </a:r>
            <a:r>
              <a:rPr lang="fr-FR" noProof="0" dirty="0" err="1" smtClean="0"/>
              <a:t>resources</a:t>
            </a:r>
            <a:r>
              <a:rPr lang="fr-FR" noProof="0" dirty="0" smtClean="0"/>
              <a:t>, documents </a:t>
            </a:r>
            <a:r>
              <a:rPr lang="fr-FR" noProof="0" dirty="0" err="1" smtClean="0"/>
              <a:t>can</a:t>
            </a:r>
            <a:r>
              <a:rPr lang="fr-FR" noProof="0" dirty="0" smtClean="0"/>
              <a:t> </a:t>
            </a:r>
            <a:r>
              <a:rPr lang="fr-FR" noProof="0" dirty="0" err="1" smtClean="0"/>
              <a:t>be</a:t>
            </a:r>
            <a:r>
              <a:rPr lang="fr-FR" noProof="0" dirty="0" smtClean="0"/>
              <a:t> </a:t>
            </a:r>
            <a:r>
              <a:rPr lang="fr-FR" noProof="0" dirty="0" err="1" smtClean="0"/>
              <a:t>created</a:t>
            </a:r>
            <a:r>
              <a:rPr lang="fr-FR" noProof="0" dirty="0" smtClean="0"/>
              <a:t>, </a:t>
            </a:r>
            <a:r>
              <a:rPr lang="fr-FR" noProof="0" dirty="0" err="1" smtClean="0"/>
              <a:t>replaced</a:t>
            </a:r>
            <a:r>
              <a:rPr lang="fr-FR" noProof="0" dirty="0" smtClean="0"/>
              <a:t>, </a:t>
            </a:r>
            <a:r>
              <a:rPr lang="fr-FR" noProof="0" dirty="0" err="1" smtClean="0"/>
              <a:t>deleted</a:t>
            </a:r>
            <a:r>
              <a:rPr lang="fr-FR" noProof="0" dirty="0" smtClean="0"/>
              <a:t>, </a:t>
            </a:r>
            <a:r>
              <a:rPr lang="fr-FR" noProof="0" dirty="0" err="1" smtClean="0"/>
              <a:t>read</a:t>
            </a:r>
            <a:r>
              <a:rPr lang="fr-FR" noProof="0" dirty="0" smtClean="0"/>
              <a:t>, </a:t>
            </a:r>
            <a:r>
              <a:rPr lang="fr-FR" noProof="0" dirty="0" err="1" smtClean="0"/>
              <a:t>enumerated</a:t>
            </a:r>
            <a:r>
              <a:rPr lang="fr-FR" noProof="0" dirty="0" smtClean="0"/>
              <a:t> and </a:t>
            </a:r>
            <a:r>
              <a:rPr lang="fr-FR" noProof="0" dirty="0" err="1" smtClean="0"/>
              <a:t>queried</a:t>
            </a:r>
            <a:r>
              <a:rPr lang="fr-FR" noProof="0" dirty="0" smtClean="0"/>
              <a:t> </a:t>
            </a:r>
            <a:r>
              <a:rPr lang="fr-FR" noProof="0" dirty="0" err="1" smtClean="0"/>
              <a:t>easily</a:t>
            </a:r>
            <a:r>
              <a:rPr lang="fr-FR" noProof="0" dirty="0" smtClean="0"/>
              <a:t> </a:t>
            </a:r>
            <a:r>
              <a:rPr lang="fr-FR" noProof="0" dirty="0" err="1" smtClean="0"/>
              <a:t>using</a:t>
            </a:r>
            <a:r>
              <a:rPr lang="fr-FR" noProof="0" dirty="0" smtClean="0"/>
              <a:t> </a:t>
            </a:r>
            <a:r>
              <a:rPr lang="fr-FR" noProof="0" dirty="0" err="1" smtClean="0"/>
              <a:t>either</a:t>
            </a:r>
            <a:r>
              <a:rPr lang="fr-FR" noProof="0" dirty="0" smtClean="0"/>
              <a:t> REST APIs or </a:t>
            </a:r>
            <a:r>
              <a:rPr lang="fr-FR" noProof="0" dirty="0" err="1" smtClean="0"/>
              <a:t>any</a:t>
            </a:r>
            <a:r>
              <a:rPr lang="fr-FR" noProof="0" dirty="0" smtClean="0"/>
              <a:t> of the client SDKs. </a:t>
            </a:r>
            <a:r>
              <a:rPr lang="fr-FR" noProof="0" dirty="0" err="1" smtClean="0"/>
              <a:t>Deleting</a:t>
            </a:r>
            <a:r>
              <a:rPr lang="fr-FR" noProof="0" dirty="0" smtClean="0"/>
              <a:t> a document </a:t>
            </a:r>
            <a:r>
              <a:rPr lang="fr-FR" noProof="0" dirty="0" err="1" smtClean="0"/>
              <a:t>instantly</a:t>
            </a:r>
            <a:r>
              <a:rPr lang="fr-FR" noProof="0" dirty="0" smtClean="0"/>
              <a:t> </a:t>
            </a:r>
            <a:r>
              <a:rPr lang="fr-FR" noProof="0" dirty="0" err="1" smtClean="0"/>
              <a:t>frees</a:t>
            </a:r>
            <a:r>
              <a:rPr lang="fr-FR" noProof="0" dirty="0" smtClean="0"/>
              <a:t> up the quota </a:t>
            </a:r>
            <a:r>
              <a:rPr lang="fr-FR" noProof="0" dirty="0" err="1" smtClean="0"/>
              <a:t>corresponding</a:t>
            </a:r>
            <a:r>
              <a:rPr lang="fr-FR" noProof="0" dirty="0" smtClean="0"/>
              <a:t> to all of the </a:t>
            </a:r>
            <a:r>
              <a:rPr lang="fr-FR" noProof="0" dirty="0" err="1" smtClean="0"/>
              <a:t>nested</a:t>
            </a:r>
            <a:r>
              <a:rPr lang="fr-FR" noProof="0" dirty="0" smtClean="0"/>
              <a:t> </a:t>
            </a:r>
            <a:r>
              <a:rPr lang="fr-FR" noProof="0" dirty="0" err="1" smtClean="0"/>
              <a:t>attachments</a:t>
            </a:r>
            <a:r>
              <a:rPr lang="fr-FR" noProof="0" dirty="0" smtClean="0"/>
              <a:t>. The </a:t>
            </a:r>
            <a:r>
              <a:rPr lang="fr-FR" noProof="0" dirty="0" err="1" smtClean="0"/>
              <a:t>read</a:t>
            </a:r>
            <a:r>
              <a:rPr lang="fr-FR" noProof="0" dirty="0" smtClean="0"/>
              <a:t> </a:t>
            </a:r>
            <a:r>
              <a:rPr lang="fr-FR" noProof="0" dirty="0" err="1" smtClean="0"/>
              <a:t>consistency</a:t>
            </a:r>
            <a:r>
              <a:rPr lang="fr-FR" noProof="0" dirty="0" smtClean="0"/>
              <a:t> </a:t>
            </a:r>
            <a:r>
              <a:rPr lang="fr-FR" noProof="0" dirty="0" err="1" smtClean="0"/>
              <a:t>level</a:t>
            </a:r>
            <a:r>
              <a:rPr lang="fr-FR" noProof="0" dirty="0" smtClean="0"/>
              <a:t> of documents </a:t>
            </a:r>
            <a:r>
              <a:rPr lang="fr-FR" noProof="0" dirty="0" err="1" smtClean="0"/>
              <a:t>follows</a:t>
            </a:r>
            <a:r>
              <a:rPr lang="fr-FR" noProof="0" dirty="0" smtClean="0"/>
              <a:t> the </a:t>
            </a:r>
            <a:r>
              <a:rPr lang="fr-FR" noProof="0" dirty="0" err="1" smtClean="0"/>
              <a:t>consistency</a:t>
            </a:r>
            <a:r>
              <a:rPr lang="fr-FR" noProof="0" dirty="0" smtClean="0"/>
              <a:t> </a:t>
            </a:r>
            <a:r>
              <a:rPr lang="fr-FR" noProof="0" dirty="0" err="1" smtClean="0"/>
              <a:t>policy</a:t>
            </a:r>
            <a:r>
              <a:rPr lang="fr-FR" noProof="0" dirty="0" smtClean="0"/>
              <a:t> on the </a:t>
            </a:r>
            <a:r>
              <a:rPr lang="fr-FR" noProof="0" dirty="0" err="1" smtClean="0"/>
              <a:t>database</a:t>
            </a:r>
            <a:r>
              <a:rPr lang="fr-FR" noProof="0" dirty="0" smtClean="0"/>
              <a:t> </a:t>
            </a:r>
            <a:r>
              <a:rPr lang="fr-FR" noProof="0" dirty="0" err="1" smtClean="0"/>
              <a:t>account</a:t>
            </a:r>
            <a:r>
              <a:rPr lang="fr-FR" noProof="0" dirty="0" smtClean="0"/>
              <a:t>. This </a:t>
            </a:r>
            <a:r>
              <a:rPr lang="fr-FR" noProof="0" dirty="0" err="1" smtClean="0"/>
              <a:t>policy</a:t>
            </a:r>
            <a:r>
              <a:rPr lang="fr-FR" noProof="0" dirty="0" smtClean="0"/>
              <a:t> </a:t>
            </a:r>
            <a:r>
              <a:rPr lang="fr-FR" noProof="0" dirty="0" err="1" smtClean="0"/>
              <a:t>can</a:t>
            </a:r>
            <a:r>
              <a:rPr lang="fr-FR" noProof="0" dirty="0" smtClean="0"/>
              <a:t> </a:t>
            </a:r>
            <a:r>
              <a:rPr lang="fr-FR" noProof="0" dirty="0" err="1" smtClean="0"/>
              <a:t>be</a:t>
            </a:r>
            <a:r>
              <a:rPr lang="fr-FR" noProof="0" dirty="0" smtClean="0"/>
              <a:t> </a:t>
            </a:r>
            <a:r>
              <a:rPr lang="fr-FR" noProof="0" dirty="0" err="1" smtClean="0"/>
              <a:t>overridden</a:t>
            </a:r>
            <a:r>
              <a:rPr lang="fr-FR" noProof="0" dirty="0" smtClean="0"/>
              <a:t> on a per-</a:t>
            </a:r>
            <a:r>
              <a:rPr lang="fr-FR" noProof="0" dirty="0" err="1" smtClean="0"/>
              <a:t>request</a:t>
            </a:r>
            <a:r>
              <a:rPr lang="fr-FR" noProof="0" dirty="0" smtClean="0"/>
              <a:t> basis </a:t>
            </a:r>
            <a:r>
              <a:rPr lang="fr-FR" noProof="0" dirty="0" err="1" smtClean="0"/>
              <a:t>depending</a:t>
            </a:r>
            <a:r>
              <a:rPr lang="fr-FR" noProof="0" dirty="0" smtClean="0"/>
              <a:t> on data </a:t>
            </a:r>
            <a:r>
              <a:rPr lang="fr-FR" noProof="0" dirty="0" err="1" smtClean="0"/>
              <a:t>consistency</a:t>
            </a:r>
            <a:r>
              <a:rPr lang="fr-FR" noProof="0" dirty="0" smtClean="0"/>
              <a:t> </a:t>
            </a:r>
            <a:r>
              <a:rPr lang="fr-FR" noProof="0" dirty="0" err="1" smtClean="0"/>
              <a:t>requirements</a:t>
            </a:r>
            <a:r>
              <a:rPr lang="fr-FR" noProof="0" dirty="0" smtClean="0"/>
              <a:t> of </a:t>
            </a:r>
            <a:r>
              <a:rPr lang="fr-FR" noProof="0" dirty="0" err="1" smtClean="0"/>
              <a:t>your</a:t>
            </a:r>
            <a:r>
              <a:rPr lang="fr-FR" noProof="0" dirty="0" smtClean="0"/>
              <a:t> application. </a:t>
            </a:r>
            <a:r>
              <a:rPr lang="fr-FR" noProof="0" dirty="0" err="1" smtClean="0"/>
              <a:t>When</a:t>
            </a:r>
            <a:r>
              <a:rPr lang="fr-FR" noProof="0" dirty="0" smtClean="0"/>
              <a:t> </a:t>
            </a:r>
            <a:r>
              <a:rPr lang="fr-FR" noProof="0" dirty="0" err="1" smtClean="0"/>
              <a:t>querying</a:t>
            </a:r>
            <a:r>
              <a:rPr lang="fr-FR" noProof="0" dirty="0" smtClean="0"/>
              <a:t> documents, the </a:t>
            </a:r>
            <a:r>
              <a:rPr lang="fr-FR" noProof="0" dirty="0" err="1" smtClean="0"/>
              <a:t>read</a:t>
            </a:r>
            <a:r>
              <a:rPr lang="fr-FR" noProof="0" dirty="0" smtClean="0"/>
              <a:t> </a:t>
            </a:r>
            <a:r>
              <a:rPr lang="fr-FR" noProof="0" dirty="0" err="1" smtClean="0"/>
              <a:t>consistency</a:t>
            </a:r>
            <a:r>
              <a:rPr lang="fr-FR" noProof="0" dirty="0" smtClean="0"/>
              <a:t> </a:t>
            </a:r>
            <a:r>
              <a:rPr lang="fr-FR" noProof="0" dirty="0" err="1" smtClean="0"/>
              <a:t>follows</a:t>
            </a:r>
            <a:r>
              <a:rPr lang="fr-FR" noProof="0" dirty="0" smtClean="0"/>
              <a:t> the </a:t>
            </a:r>
            <a:r>
              <a:rPr lang="fr-FR" noProof="0" dirty="0" err="1" smtClean="0"/>
              <a:t>indexing</a:t>
            </a:r>
            <a:r>
              <a:rPr lang="fr-FR" noProof="0" dirty="0" smtClean="0"/>
              <a:t> mode set on the collection. For “consistent”, </a:t>
            </a:r>
            <a:r>
              <a:rPr lang="fr-FR" noProof="0" dirty="0" err="1" smtClean="0"/>
              <a:t>this</a:t>
            </a:r>
            <a:r>
              <a:rPr lang="fr-FR" noProof="0" dirty="0" smtClean="0"/>
              <a:t> </a:t>
            </a:r>
            <a:r>
              <a:rPr lang="fr-FR" noProof="0" dirty="0" err="1" smtClean="0"/>
              <a:t>follows</a:t>
            </a:r>
            <a:r>
              <a:rPr lang="fr-FR" noProof="0" dirty="0" smtClean="0"/>
              <a:t> the </a:t>
            </a:r>
            <a:r>
              <a:rPr lang="fr-FR" noProof="0" dirty="0" err="1" smtClean="0"/>
              <a:t>account’s</a:t>
            </a:r>
            <a:r>
              <a:rPr lang="fr-FR" noProof="0" dirty="0" smtClean="0"/>
              <a:t> </a:t>
            </a:r>
            <a:r>
              <a:rPr lang="fr-FR" noProof="0" dirty="0" err="1" smtClean="0"/>
              <a:t>consistency</a:t>
            </a:r>
            <a:r>
              <a:rPr lang="fr-FR" noProof="0" dirty="0" smtClean="0"/>
              <a:t> </a:t>
            </a:r>
            <a:r>
              <a:rPr lang="fr-FR" noProof="0" dirty="0" err="1" smtClean="0"/>
              <a:t>policy</a:t>
            </a:r>
            <a:r>
              <a:rPr lang="fr-FR" noProof="0" dirty="0" smtClean="0"/>
              <a:t>. </a:t>
            </a:r>
          </a:p>
          <a:p>
            <a:pPr marL="171450" indent="-171450">
              <a:buFontTx/>
              <a:buChar char="-"/>
            </a:pPr>
            <a:endParaRPr lang="fr-FR" noProof="0"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EE4CA52-5E5C-4954-9A88-88781D912DF9}" type="datetime8">
              <a:rPr lang="en-US" smtClean="0"/>
              <a:t>8/27/2015 11:1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4</a:t>
            </a:fld>
            <a:endParaRPr lang="en-US" dirty="0"/>
          </a:p>
        </p:txBody>
      </p:sp>
    </p:spTree>
    <p:extLst>
      <p:ext uri="{BB962C8B-B14F-4D97-AF65-F5344CB8AC3E}">
        <p14:creationId xmlns:p14="http://schemas.microsoft.com/office/powerpoint/2010/main" val="184499554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sz="900" kern="1200" dirty="0" smtClean="0">
                <a:solidFill>
                  <a:schemeClr val="tx1"/>
                </a:solidFill>
                <a:effectLst/>
                <a:latin typeface="Segoe UI Light" pitchFamily="34" charset="0"/>
                <a:ea typeface="+mn-ea"/>
                <a:cs typeface="+mn-cs"/>
              </a:rPr>
              <a:t>1 base = infinité de collections. Porte les éléments liés à la sécurité</a:t>
            </a:r>
          </a:p>
          <a:p>
            <a:r>
              <a:rPr lang="fr-FR" sz="900" kern="1200" dirty="0" smtClean="0">
                <a:solidFill>
                  <a:schemeClr val="tx1"/>
                </a:solidFill>
                <a:effectLst/>
                <a:latin typeface="Segoe UI Light" pitchFamily="34" charset="0"/>
                <a:ea typeface="+mn-ea"/>
                <a:cs typeface="+mn-cs"/>
              </a:rPr>
              <a:t>1 collection = 1 </a:t>
            </a:r>
            <a:r>
              <a:rPr lang="fr-FR" sz="900" kern="1200" dirty="0" err="1" smtClean="0">
                <a:solidFill>
                  <a:schemeClr val="tx1"/>
                </a:solidFill>
                <a:effectLst/>
                <a:latin typeface="Segoe UI Light" pitchFamily="34" charset="0"/>
                <a:ea typeface="+mn-ea"/>
                <a:cs typeface="+mn-cs"/>
              </a:rPr>
              <a:t>shard</a:t>
            </a:r>
            <a:r>
              <a:rPr lang="fr-FR" sz="900" kern="1200" dirty="0" smtClean="0">
                <a:solidFill>
                  <a:schemeClr val="tx1"/>
                </a:solidFill>
                <a:effectLst/>
                <a:latin typeface="Segoe UI Light" pitchFamily="34" charset="0"/>
                <a:ea typeface="+mn-ea"/>
                <a:cs typeface="+mn-cs"/>
              </a:rPr>
              <a:t> mais pas une table (ne pas tomber dans le piège). Pas de requêtes multi-collection.</a:t>
            </a:r>
            <a:r>
              <a:rPr lang="fr-FR" sz="900" kern="1200" baseline="0" dirty="0" smtClean="0">
                <a:solidFill>
                  <a:schemeClr val="tx1"/>
                </a:solidFill>
                <a:effectLst/>
                <a:latin typeface="Segoe UI Light" pitchFamily="34" charset="0"/>
                <a:ea typeface="+mn-ea"/>
                <a:cs typeface="+mn-cs"/>
              </a:rPr>
              <a:t> </a:t>
            </a:r>
            <a:br>
              <a:rPr lang="fr-FR" sz="900" kern="1200" baseline="0" dirty="0" smtClean="0">
                <a:solidFill>
                  <a:schemeClr val="tx1"/>
                </a:solidFill>
                <a:effectLst/>
                <a:latin typeface="Segoe UI Light" pitchFamily="34" charset="0"/>
                <a:ea typeface="+mn-ea"/>
                <a:cs typeface="+mn-cs"/>
              </a:rPr>
            </a:br>
            <a:r>
              <a:rPr lang="fr-FR" sz="900" kern="1200" baseline="0" dirty="0" smtClean="0">
                <a:solidFill>
                  <a:schemeClr val="tx1"/>
                </a:solidFill>
                <a:effectLst/>
                <a:latin typeface="Segoe UI Light" pitchFamily="34" charset="0"/>
                <a:ea typeface="+mn-ea"/>
                <a:cs typeface="+mn-cs"/>
              </a:rPr>
              <a:t>Porte des éléments d’extension, comme les procédures stockées, les triggers ou les user-</a:t>
            </a:r>
            <a:r>
              <a:rPr lang="fr-FR" sz="900" kern="1200" baseline="0" dirty="0" err="1" smtClean="0">
                <a:solidFill>
                  <a:schemeClr val="tx1"/>
                </a:solidFill>
                <a:effectLst/>
                <a:latin typeface="Segoe UI Light" pitchFamily="34" charset="0"/>
                <a:ea typeface="+mn-ea"/>
                <a:cs typeface="+mn-cs"/>
              </a:rPr>
              <a:t>defined</a:t>
            </a:r>
            <a:r>
              <a:rPr lang="fr-FR" sz="900" kern="1200" baseline="0" dirty="0" smtClean="0">
                <a:solidFill>
                  <a:schemeClr val="tx1"/>
                </a:solidFill>
                <a:effectLst/>
                <a:latin typeface="Segoe UI Light" pitchFamily="34" charset="0"/>
                <a:ea typeface="+mn-ea"/>
                <a:cs typeface="+mn-cs"/>
              </a:rPr>
              <a:t> </a:t>
            </a:r>
            <a:r>
              <a:rPr lang="fr-FR" sz="900" kern="1200" baseline="0" dirty="0" err="1" smtClean="0">
                <a:solidFill>
                  <a:schemeClr val="tx1"/>
                </a:solidFill>
                <a:effectLst/>
                <a:latin typeface="Segoe UI Light" pitchFamily="34" charset="0"/>
                <a:ea typeface="+mn-ea"/>
                <a:cs typeface="+mn-cs"/>
              </a:rPr>
              <a:t>functions</a:t>
            </a:r>
            <a:r>
              <a:rPr lang="fr-FR" sz="900" kern="1200" baseline="0" dirty="0" smtClean="0">
                <a:solidFill>
                  <a:schemeClr val="tx1"/>
                </a:solidFill>
                <a:effectLst/>
                <a:latin typeface="Segoe UI Light" pitchFamily="34" charset="0"/>
                <a:ea typeface="+mn-ea"/>
                <a:cs typeface="+mn-cs"/>
              </a:rPr>
              <a:t>, développé en JavaScript, ce qui est le plus logique pour du </a:t>
            </a:r>
            <a:r>
              <a:rPr lang="fr-FR" sz="900" kern="1200" baseline="0" dirty="0" err="1" smtClean="0">
                <a:solidFill>
                  <a:schemeClr val="tx1"/>
                </a:solidFill>
                <a:effectLst/>
                <a:latin typeface="Segoe UI Light" pitchFamily="34" charset="0"/>
                <a:ea typeface="+mn-ea"/>
                <a:cs typeface="+mn-cs"/>
              </a:rPr>
              <a:t>json</a:t>
            </a:r>
            <a:r>
              <a:rPr lang="fr-FR" sz="900" kern="1200" baseline="0" dirty="0" smtClean="0">
                <a:solidFill>
                  <a:schemeClr val="tx1"/>
                </a:solidFill>
                <a:effectLst/>
                <a:latin typeface="Segoe UI Light" pitchFamily="34" charset="0"/>
                <a:ea typeface="+mn-ea"/>
                <a:cs typeface="+mn-cs"/>
              </a:rPr>
              <a:t>.</a:t>
            </a:r>
            <a:endParaRPr lang="fr-FR" sz="900" kern="1200" dirty="0" smtClean="0">
              <a:solidFill>
                <a:schemeClr val="tx1"/>
              </a:solidFill>
              <a:effectLst/>
              <a:latin typeface="Segoe UI Light" pitchFamily="34" charset="0"/>
              <a:ea typeface="+mn-ea"/>
              <a:cs typeface="+mn-cs"/>
            </a:endParaRPr>
          </a:p>
          <a:p>
            <a:r>
              <a:rPr lang="fr-FR" sz="900" kern="1200" dirty="0" smtClean="0">
                <a:solidFill>
                  <a:schemeClr val="tx1"/>
                </a:solidFill>
                <a:effectLst/>
                <a:latin typeface="Segoe UI Light" pitchFamily="34" charset="0"/>
                <a:ea typeface="+mn-ea"/>
                <a:cs typeface="+mn-cs"/>
              </a:rPr>
              <a:t>1 fichier joint = stocké dans Azure</a:t>
            </a:r>
            <a:r>
              <a:rPr lang="fr-FR" sz="900" kern="1200" baseline="0" dirty="0" smtClean="0">
                <a:solidFill>
                  <a:schemeClr val="tx1"/>
                </a:solidFill>
                <a:effectLst/>
                <a:latin typeface="Segoe UI Light" pitchFamily="34" charset="0"/>
                <a:ea typeface="+mn-ea"/>
                <a:cs typeface="+mn-cs"/>
              </a:rPr>
              <a:t> Storage, en dehors de la collection mais avec un lien</a:t>
            </a:r>
            <a:endParaRPr lang="fr-FR" sz="900" kern="1200" dirty="0" smtClean="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EE4CA52-5E5C-4954-9A88-88781D912DF9}" type="datetime8">
              <a:rPr lang="en-US" smtClean="0"/>
              <a:t>8/27/2015 11:1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5</a:t>
            </a:fld>
            <a:endParaRPr lang="en-US" dirty="0"/>
          </a:p>
        </p:txBody>
      </p:sp>
    </p:spTree>
    <p:extLst>
      <p:ext uri="{BB962C8B-B14F-4D97-AF65-F5344CB8AC3E}">
        <p14:creationId xmlns:p14="http://schemas.microsoft.com/office/powerpoint/2010/main" val="123136679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smtClean="0"/>
              <a:t>L’index est automatique sur l’ensemble</a:t>
            </a:r>
            <a:r>
              <a:rPr lang="fr-FR" baseline="0" dirty="0" smtClean="0"/>
              <a:t> des champs. Le niveau de cohérence peut-être défini sur la collection ou par requête pour optimiser les performances.</a:t>
            </a:r>
          </a:p>
          <a:p>
            <a:endParaRPr lang="fr-FR" baseline="0" dirty="0" smtClean="0"/>
          </a:p>
          <a:p>
            <a:r>
              <a:rPr lang="fr-FR" baseline="0" dirty="0" smtClean="0"/>
              <a:t>Un langage puissant sur du non-relationnel, </a:t>
            </a:r>
            <a:r>
              <a:rPr lang="fr-FR" baseline="0" dirty="0" err="1" smtClean="0"/>
              <a:t>subset</a:t>
            </a:r>
            <a:r>
              <a:rPr lang="fr-FR" baseline="0" dirty="0" smtClean="0"/>
              <a:t> du langage SQL, avec ajouts réguliers</a:t>
            </a:r>
          </a:p>
          <a:p>
            <a:r>
              <a:rPr lang="fr-FR" baseline="0" dirty="0" smtClean="0"/>
              <a:t>C’est certainement l’un des plus grands avantages de </a:t>
            </a:r>
            <a:r>
              <a:rPr lang="fr-FR" baseline="0" dirty="0" err="1" smtClean="0"/>
              <a:t>DocumentDB</a:t>
            </a:r>
            <a:r>
              <a:rPr lang="fr-FR" baseline="0" dirty="0" smtClean="0"/>
              <a:t> !</a:t>
            </a:r>
            <a:endParaRPr lang="fr-FR"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EE4CA52-5E5C-4954-9A88-88781D912DF9}" type="datetime8">
              <a:rPr lang="en-US" smtClean="0"/>
              <a:t>8/27/2015 11:1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312907047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gi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gi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gi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gi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slideMaster" Target="../slideMasters/slideMaster1.xml"/><Relationship Id="rId1" Type="http://schemas.openxmlformats.org/officeDocument/2006/relationships/themeOverride" Target="../theme/themeOverride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Presentation 1">
    <p:spTree>
      <p:nvGrpSpPr>
        <p:cNvPr id="1" name=""/>
        <p:cNvGrpSpPr/>
        <p:nvPr/>
      </p:nvGrpSpPr>
      <p:grpSpPr>
        <a:xfrm>
          <a:off x="0" y="0"/>
          <a:ext cx="0" cy="0"/>
          <a:chOff x="0" y="0"/>
          <a:chExt cx="0" cy="0"/>
        </a:xfrm>
      </p:grpSpPr>
      <p:pic>
        <p:nvPicPr>
          <p:cNvPr id="4" name="Imag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963" y="-1"/>
            <a:ext cx="12432549" cy="6994525"/>
          </a:xfrm>
          <a:prstGeom prst="rect">
            <a:avLst/>
          </a:prstGeom>
        </p:spPr>
      </p:pic>
      <p:sp>
        <p:nvSpPr>
          <p:cNvPr id="6" name="ZoneTexte 12"/>
          <p:cNvSpPr txBox="1"/>
          <p:nvPr userDrawn="1"/>
        </p:nvSpPr>
        <p:spPr>
          <a:xfrm>
            <a:off x="461963" y="2788683"/>
            <a:ext cx="5747052" cy="734534"/>
          </a:xfrm>
          <a:prstGeom prst="rect">
            <a:avLst/>
          </a:prstGeom>
          <a:noFill/>
          <a:effectLst>
            <a:glow rad="228600">
              <a:schemeClr val="accent3">
                <a:satMod val="175000"/>
                <a:alpha val="40000"/>
              </a:schemeClr>
            </a:glow>
            <a:innerShdw blurRad="114300">
              <a:prstClr val="black"/>
            </a:innerShdw>
          </a:effectLst>
        </p:spPr>
        <p:txBody>
          <a:bodyPr wrap="none" rtlCol="0">
            <a:spAutoFit/>
          </a:bodyPr>
          <a:lstStyle/>
          <a:p>
            <a:r>
              <a:rPr lang="fr-FR" sz="4080" dirty="0">
                <a:solidFill>
                  <a:prstClr val="white"/>
                </a:solidFill>
                <a:latin typeface="Segoe Pro Display Light" panose="020B0302040504020203" pitchFamily="34" charset="0"/>
              </a:rPr>
              <a:t>AMBIENT  INTELLIGENCE</a:t>
            </a:r>
          </a:p>
        </p:txBody>
      </p:sp>
      <p:sp>
        <p:nvSpPr>
          <p:cNvPr id="13" name="ZoneTexte 13"/>
          <p:cNvSpPr txBox="1"/>
          <p:nvPr userDrawn="1"/>
        </p:nvSpPr>
        <p:spPr>
          <a:xfrm>
            <a:off x="6317945" y="6377582"/>
            <a:ext cx="6116611" cy="523220"/>
          </a:xfrm>
          <a:prstGeom prst="rect">
            <a:avLst/>
          </a:prstGeom>
          <a:noFill/>
        </p:spPr>
        <p:txBody>
          <a:bodyPr wrap="none" rtlCol="0">
            <a:spAutoFit/>
          </a:bodyPr>
          <a:lstStyle/>
          <a:p>
            <a:r>
              <a:rPr lang="fr-FR" sz="2800" dirty="0" smtClean="0">
                <a:solidFill>
                  <a:prstClr val="white"/>
                </a:solidFill>
                <a:effectLst>
                  <a:outerShdw blurRad="38100" dist="38100" dir="2700000" algn="tl">
                    <a:srgbClr val="000000">
                      <a:alpha val="43137"/>
                    </a:srgbClr>
                  </a:outerShdw>
                </a:effectLst>
                <a:cs typeface="Segoe UI" panose="020B0502040204020203" pitchFamily="34" charset="0"/>
              </a:rPr>
              <a:t>#</a:t>
            </a:r>
            <a:r>
              <a:rPr lang="fr-FR" sz="2800" dirty="0" err="1" smtClean="0">
                <a:solidFill>
                  <a:prstClr val="white"/>
                </a:solidFill>
                <a:effectLst>
                  <a:outerShdw blurRad="38100" dist="38100" dir="2700000" algn="tl">
                    <a:srgbClr val="000000">
                      <a:alpha val="43137"/>
                    </a:srgbClr>
                  </a:outerShdw>
                </a:effectLst>
                <a:cs typeface="Segoe UI" panose="020B0502040204020203" pitchFamily="34" charset="0"/>
              </a:rPr>
              <a:t>mstechdays</a:t>
            </a:r>
            <a:r>
              <a:rPr lang="fr-FR" sz="2800" dirty="0" smtClean="0">
                <a:solidFill>
                  <a:prstClr val="white"/>
                </a:solidFill>
                <a:effectLst>
                  <a:outerShdw blurRad="38100" dist="38100" dir="2700000" algn="tl">
                    <a:srgbClr val="000000">
                      <a:alpha val="43137"/>
                    </a:srgbClr>
                  </a:outerShdw>
                </a:effectLst>
                <a:cs typeface="Segoe UI" panose="020B0502040204020203" pitchFamily="34" charset="0"/>
              </a:rPr>
              <a:t>     </a:t>
            </a:r>
            <a:r>
              <a:rPr lang="fr-FR" sz="2800" dirty="0" smtClean="0">
                <a:solidFill>
                  <a:prstClr val="white"/>
                </a:solidFill>
                <a:cs typeface="Segoe UI" panose="020B0502040204020203" pitchFamily="34" charset="0"/>
              </a:rPr>
              <a:t>techdays.microsoft.fr </a:t>
            </a:r>
            <a:endParaRPr lang="fr-FR" sz="2800" dirty="0">
              <a:solidFill>
                <a:prstClr val="white"/>
              </a:solidFill>
              <a:effectLst>
                <a:outerShdw blurRad="38100" dist="38100" dir="2700000" algn="tl">
                  <a:srgbClr val="000000">
                    <a:alpha val="43137"/>
                  </a:srgbClr>
                </a:outerShdw>
              </a:effectLst>
              <a:cs typeface="Segoe UI" panose="020B0502040204020203" pitchFamily="34" charset="0"/>
            </a:endParaRPr>
          </a:p>
        </p:txBody>
      </p:sp>
      <p:pic>
        <p:nvPicPr>
          <p:cNvPr id="14" name="Image 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62964" y="342911"/>
            <a:ext cx="2203167" cy="810420"/>
          </a:xfrm>
          <a:prstGeom prst="rect">
            <a:avLst/>
          </a:prstGeom>
        </p:spPr>
      </p:pic>
      <p:grpSp>
        <p:nvGrpSpPr>
          <p:cNvPr id="15" name="Group 14"/>
          <p:cNvGrpSpPr/>
          <p:nvPr userDrawn="1"/>
        </p:nvGrpSpPr>
        <p:grpSpPr>
          <a:xfrm>
            <a:off x="461963" y="1117600"/>
            <a:ext cx="3786188" cy="1455738"/>
            <a:chOff x="461963" y="1117600"/>
            <a:chExt cx="3786188" cy="1455738"/>
          </a:xfrm>
        </p:grpSpPr>
        <p:sp>
          <p:nvSpPr>
            <p:cNvPr id="16" name="AutoShape 3"/>
            <p:cNvSpPr>
              <a:spLocks noChangeAspect="1" noChangeArrowheads="1" noTextEdit="1"/>
            </p:cNvSpPr>
            <p:nvPr/>
          </p:nvSpPr>
          <p:spPr bwMode="auto">
            <a:xfrm>
              <a:off x="461963" y="1292225"/>
              <a:ext cx="3524250" cy="1260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solidFill>
                  <a:prstClr val="black"/>
                </a:solidFill>
              </a:endParaRPr>
            </a:p>
          </p:txBody>
        </p:sp>
        <p:sp>
          <p:nvSpPr>
            <p:cNvPr id="18" name="Rectangle 5"/>
            <p:cNvSpPr>
              <a:spLocks noChangeArrowheads="1"/>
            </p:cNvSpPr>
            <p:nvPr/>
          </p:nvSpPr>
          <p:spPr bwMode="auto">
            <a:xfrm>
              <a:off x="461963" y="1125538"/>
              <a:ext cx="1825625" cy="1247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914400"/>
              <a:r>
                <a:rPr lang="fr-FR" altLang="fr-FR" sz="6200" dirty="0" err="1" smtClean="0">
                  <a:solidFill>
                    <a:srgbClr val="FFFFFF"/>
                  </a:solidFill>
                  <a:latin typeface="Segoe UI Light" panose="020B0502040204020203" pitchFamily="34" charset="0"/>
                </a:rPr>
                <a:t>tech</a:t>
              </a:r>
              <a:endParaRPr lang="fr-FR" altLang="fr-FR" dirty="0" smtClean="0">
                <a:solidFill>
                  <a:prstClr val="black"/>
                </a:solidFill>
              </a:endParaRPr>
            </a:p>
          </p:txBody>
        </p:sp>
        <p:sp>
          <p:nvSpPr>
            <p:cNvPr id="19" name="Rectangle 6"/>
            <p:cNvSpPr>
              <a:spLocks noChangeArrowheads="1"/>
            </p:cNvSpPr>
            <p:nvPr/>
          </p:nvSpPr>
          <p:spPr bwMode="auto">
            <a:xfrm>
              <a:off x="1995488" y="1117600"/>
              <a:ext cx="1911350" cy="1247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914400"/>
              <a:r>
                <a:rPr lang="fr-FR" altLang="fr-FR" sz="6200" dirty="0" err="1" smtClean="0">
                  <a:solidFill>
                    <a:srgbClr val="FFFFFF"/>
                  </a:solidFill>
                  <a:latin typeface="Segoe UI Light" panose="020B0502040204020203" pitchFamily="34" charset="0"/>
                </a:rPr>
                <a:t>days</a:t>
              </a:r>
              <a:endParaRPr lang="fr-FR" altLang="fr-FR" dirty="0" smtClean="0">
                <a:solidFill>
                  <a:prstClr val="black"/>
                </a:solidFill>
              </a:endParaRPr>
            </a:p>
          </p:txBody>
        </p:sp>
        <p:sp>
          <p:nvSpPr>
            <p:cNvPr id="20" name="Rectangle 7"/>
            <p:cNvSpPr>
              <a:spLocks noChangeArrowheads="1"/>
            </p:cNvSpPr>
            <p:nvPr/>
          </p:nvSpPr>
          <p:spPr bwMode="auto">
            <a:xfrm>
              <a:off x="1851026" y="1525588"/>
              <a:ext cx="319088" cy="547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914400"/>
              <a:r>
                <a:rPr lang="fr-FR" altLang="fr-FR" sz="2700" smtClean="0">
                  <a:solidFill>
                    <a:srgbClr val="FFFFFF"/>
                  </a:solidFill>
                  <a:latin typeface="Segoe UI Light" panose="020B0502040204020203" pitchFamily="34" charset="0"/>
                </a:rPr>
                <a:t>•</a:t>
              </a:r>
              <a:endParaRPr lang="fr-FR" altLang="fr-FR" smtClean="0">
                <a:solidFill>
                  <a:prstClr val="black"/>
                </a:solidFill>
              </a:endParaRPr>
            </a:p>
          </p:txBody>
        </p:sp>
        <p:sp>
          <p:nvSpPr>
            <p:cNvPr id="21" name="Rectangle 8"/>
            <p:cNvSpPr>
              <a:spLocks noChangeArrowheads="1"/>
            </p:cNvSpPr>
            <p:nvPr/>
          </p:nvSpPr>
          <p:spPr bwMode="auto">
            <a:xfrm>
              <a:off x="3030538" y="1895475"/>
              <a:ext cx="1217613" cy="677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914400"/>
              <a:r>
                <a:rPr lang="fr-FR" altLang="fr-FR" sz="4400" dirty="0" smtClean="0">
                  <a:solidFill>
                    <a:srgbClr val="E31A86"/>
                  </a:solidFill>
                  <a:latin typeface="Segoe UI" panose="020B0502040204020203" pitchFamily="34" charset="0"/>
                </a:rPr>
                <a:t>2015</a:t>
              </a:r>
              <a:endParaRPr lang="fr-FR" altLang="fr-FR" sz="2800" dirty="0" smtClean="0">
                <a:solidFill>
                  <a:srgbClr val="E31A86"/>
                </a:solidFill>
              </a:endParaRPr>
            </a:p>
          </p:txBody>
        </p:sp>
        <p:sp>
          <p:nvSpPr>
            <p:cNvPr id="22" name="Rectangle 21"/>
            <p:cNvSpPr/>
            <p:nvPr userDrawn="1"/>
          </p:nvSpPr>
          <p:spPr>
            <a:xfrm>
              <a:off x="1393701" y="1741487"/>
              <a:ext cx="1435008" cy="646331"/>
            </a:xfrm>
            <a:prstGeom prst="rect">
              <a:avLst/>
            </a:prstGeom>
          </p:spPr>
          <p:txBody>
            <a:bodyPr wrap="none">
              <a:spAutoFit/>
            </a:bodyPr>
            <a:lstStyle/>
            <a:p>
              <a:pPr defTabSz="914400"/>
              <a:r>
                <a:rPr lang="fr-FR" altLang="fr-FR" sz="3600" dirty="0" smtClean="0">
                  <a:solidFill>
                    <a:schemeClr val="accent2">
                      <a:lumMod val="60000"/>
                      <a:lumOff val="40000"/>
                    </a:schemeClr>
                  </a:solidFill>
                  <a:latin typeface="Segoe UI Light" panose="020B0502040204020203" pitchFamily="34" charset="0"/>
                </a:rPr>
                <a:t>camps</a:t>
              </a:r>
              <a:endParaRPr lang="fr-FR" altLang="fr-FR" sz="3600" dirty="0" smtClean="0">
                <a:solidFill>
                  <a:schemeClr val="accent2">
                    <a:lumMod val="60000"/>
                    <a:lumOff val="40000"/>
                  </a:schemeClr>
                </a:solidFill>
              </a:endParaRPr>
            </a:p>
          </p:txBody>
        </p:sp>
      </p:grpSp>
    </p:spTree>
    <p:extLst>
      <p:ext uri="{BB962C8B-B14F-4D97-AF65-F5344CB8AC3E}">
        <p14:creationId xmlns:p14="http://schemas.microsoft.com/office/powerpoint/2010/main" val="3148153914"/>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Slide de fin">
    <p:spTree>
      <p:nvGrpSpPr>
        <p:cNvPr id="1" name=""/>
        <p:cNvGrpSpPr/>
        <p:nvPr/>
      </p:nvGrpSpPr>
      <p:grpSpPr>
        <a:xfrm>
          <a:off x="0" y="0"/>
          <a:ext cx="0" cy="0"/>
          <a:chOff x="0" y="0"/>
          <a:chExt cx="0" cy="0"/>
        </a:xfrm>
      </p:grpSpPr>
      <p:sp>
        <p:nvSpPr>
          <p:cNvPr id="4" name="Rectangle 3"/>
          <p:cNvSpPr/>
          <p:nvPr userDrawn="1"/>
        </p:nvSpPr>
        <p:spPr bwMode="auto">
          <a:xfrm>
            <a:off x="-19024" y="0"/>
            <a:ext cx="12455500" cy="6994525"/>
          </a:xfrm>
          <a:prstGeom prst="rect">
            <a:avLst/>
          </a:prstGeom>
          <a:solidFill>
            <a:srgbClr val="5C2D91">
              <a:alpha val="87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solidFill>
                  <a:srgbClr val="FFFFFF"/>
                </a:solidFill>
                <a:cs typeface="Segoe UI" pitchFamily="34" charset="0"/>
              </a:rPr>
              <a:t>© </a:t>
            </a:r>
            <a:r>
              <a:rPr lang="en-US" sz="700" dirty="0" smtClean="0">
                <a:solidFill>
                  <a:srgbClr val="FFFFFF"/>
                </a:solidFill>
                <a:cs typeface="Segoe UI" pitchFamily="34" charset="0"/>
              </a:rPr>
              <a:t>2015 </a:t>
            </a:r>
            <a:r>
              <a:rPr lang="en-US" sz="700" dirty="0">
                <a:solidFill>
                  <a:srgbClr val="FFFFFF"/>
                </a:solidFill>
                <a:cs typeface="Segoe UI" pitchFamily="34" charset="0"/>
              </a:rPr>
              <a:t>Microsoft Corporation. All rights reserved. </a:t>
            </a:r>
          </a:p>
        </p:txBody>
      </p:sp>
      <p:pic>
        <p:nvPicPr>
          <p:cNvPr id="6" name="Imag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58073" y="1120998"/>
            <a:ext cx="2160164" cy="794602"/>
          </a:xfrm>
          <a:prstGeom prst="rect">
            <a:avLst/>
          </a:prstGeom>
        </p:spPr>
      </p:pic>
      <p:sp>
        <p:nvSpPr>
          <p:cNvPr id="8" name="ZoneTexte 1"/>
          <p:cNvSpPr txBox="1"/>
          <p:nvPr userDrawn="1"/>
        </p:nvSpPr>
        <p:spPr>
          <a:xfrm>
            <a:off x="1465709" y="4186707"/>
            <a:ext cx="9793088" cy="707886"/>
          </a:xfrm>
          <a:prstGeom prst="rect">
            <a:avLst/>
          </a:prstGeom>
          <a:noFill/>
        </p:spPr>
        <p:txBody>
          <a:bodyPr wrap="square" rtlCol="0">
            <a:spAutoFit/>
          </a:bodyPr>
          <a:lstStyle/>
          <a:p>
            <a:r>
              <a:rPr lang="fr-FR" sz="1200" dirty="0">
                <a:solidFill>
                  <a:srgbClr val="FFFFFF"/>
                </a:solidFill>
                <a:latin typeface="Segoe UI Light" panose="020B0502040204020203" pitchFamily="34" charset="0"/>
                <a:cs typeface="Segoe UI Light" panose="020B0502040204020203" pitchFamily="34" charset="0"/>
              </a:rPr>
              <a:t> </a:t>
            </a:r>
            <a:r>
              <a:rPr lang="fr-FR" sz="4000" dirty="0">
                <a:solidFill>
                  <a:srgbClr val="FFFFFF"/>
                </a:solidFill>
                <a:latin typeface="Segoe UI Light" panose="020B0502040204020203" pitchFamily="34" charset="0"/>
                <a:cs typeface="Segoe UI Light" panose="020B0502040204020203" pitchFamily="34" charset="0"/>
              </a:rPr>
              <a:t>#</a:t>
            </a:r>
            <a:r>
              <a:rPr lang="fr-FR" sz="4000" dirty="0" err="1">
                <a:solidFill>
                  <a:srgbClr val="FFFFFF"/>
                </a:solidFill>
                <a:latin typeface="Segoe UI Light" panose="020B0502040204020203" pitchFamily="34" charset="0"/>
                <a:cs typeface="Segoe UI Light" panose="020B0502040204020203" pitchFamily="34" charset="0"/>
              </a:rPr>
              <a:t>mstechdays</a:t>
            </a:r>
            <a:r>
              <a:rPr lang="fr-FR" sz="4000" dirty="0">
                <a:solidFill>
                  <a:srgbClr val="FFFFFF"/>
                </a:solidFill>
                <a:latin typeface="Segoe UI Light" panose="020B0502040204020203" pitchFamily="34" charset="0"/>
                <a:cs typeface="Segoe UI Light" panose="020B0502040204020203" pitchFamily="34" charset="0"/>
              </a:rPr>
              <a:t> </a:t>
            </a:r>
            <a:r>
              <a:rPr lang="fr-FR" sz="4000" dirty="0" smtClean="0">
                <a:solidFill>
                  <a:srgbClr val="FFFFFF"/>
                </a:solidFill>
                <a:latin typeface="Segoe UI Light" panose="020B0502040204020203" pitchFamily="34" charset="0"/>
                <a:cs typeface="Segoe UI Light" panose="020B0502040204020203" pitchFamily="34" charset="0"/>
              </a:rPr>
              <a:t>     techdays.microsoft.fr/camp</a:t>
            </a:r>
          </a:p>
        </p:txBody>
      </p:sp>
      <p:grpSp>
        <p:nvGrpSpPr>
          <p:cNvPr id="16" name="Group 15"/>
          <p:cNvGrpSpPr/>
          <p:nvPr userDrawn="1"/>
        </p:nvGrpSpPr>
        <p:grpSpPr>
          <a:xfrm>
            <a:off x="3697957" y="2201118"/>
            <a:ext cx="3786188" cy="1455738"/>
            <a:chOff x="461963" y="1117600"/>
            <a:chExt cx="3786188" cy="1455738"/>
          </a:xfrm>
        </p:grpSpPr>
        <p:sp>
          <p:nvSpPr>
            <p:cNvPr id="17" name="AutoShape 3"/>
            <p:cNvSpPr>
              <a:spLocks noChangeAspect="1" noChangeArrowheads="1" noTextEdit="1"/>
            </p:cNvSpPr>
            <p:nvPr/>
          </p:nvSpPr>
          <p:spPr bwMode="auto">
            <a:xfrm>
              <a:off x="461963" y="1292225"/>
              <a:ext cx="3524250" cy="1260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solidFill>
                  <a:prstClr val="black"/>
                </a:solidFill>
              </a:endParaRPr>
            </a:p>
          </p:txBody>
        </p:sp>
        <p:sp>
          <p:nvSpPr>
            <p:cNvPr id="18" name="Rectangle 5"/>
            <p:cNvSpPr>
              <a:spLocks noChangeArrowheads="1"/>
            </p:cNvSpPr>
            <p:nvPr/>
          </p:nvSpPr>
          <p:spPr bwMode="auto">
            <a:xfrm>
              <a:off x="461963" y="1125538"/>
              <a:ext cx="1825625" cy="1247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914400"/>
              <a:r>
                <a:rPr lang="fr-FR" altLang="fr-FR" sz="6200" smtClean="0">
                  <a:solidFill>
                    <a:srgbClr val="FFFFFF"/>
                  </a:solidFill>
                  <a:latin typeface="Segoe UI Light" panose="020B0502040204020203" pitchFamily="34" charset="0"/>
                </a:rPr>
                <a:t>tech</a:t>
              </a:r>
              <a:endParaRPr lang="fr-FR" altLang="fr-FR" smtClean="0">
                <a:solidFill>
                  <a:prstClr val="black"/>
                </a:solidFill>
              </a:endParaRPr>
            </a:p>
          </p:txBody>
        </p:sp>
        <p:sp>
          <p:nvSpPr>
            <p:cNvPr id="19" name="Rectangle 6"/>
            <p:cNvSpPr>
              <a:spLocks noChangeArrowheads="1"/>
            </p:cNvSpPr>
            <p:nvPr/>
          </p:nvSpPr>
          <p:spPr bwMode="auto">
            <a:xfrm>
              <a:off x="1995488" y="1117600"/>
              <a:ext cx="1911350" cy="1247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914400"/>
              <a:r>
                <a:rPr lang="fr-FR" altLang="fr-FR" sz="6200" dirty="0" err="1" smtClean="0">
                  <a:solidFill>
                    <a:srgbClr val="FFFFFF"/>
                  </a:solidFill>
                  <a:latin typeface="Segoe UI Light" panose="020B0502040204020203" pitchFamily="34" charset="0"/>
                </a:rPr>
                <a:t>days</a:t>
              </a:r>
              <a:endParaRPr lang="fr-FR" altLang="fr-FR" dirty="0" smtClean="0">
                <a:solidFill>
                  <a:prstClr val="black"/>
                </a:solidFill>
              </a:endParaRPr>
            </a:p>
          </p:txBody>
        </p:sp>
        <p:sp>
          <p:nvSpPr>
            <p:cNvPr id="20" name="Rectangle 7"/>
            <p:cNvSpPr>
              <a:spLocks noChangeArrowheads="1"/>
            </p:cNvSpPr>
            <p:nvPr/>
          </p:nvSpPr>
          <p:spPr bwMode="auto">
            <a:xfrm>
              <a:off x="1851026" y="1525588"/>
              <a:ext cx="319088" cy="547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914400"/>
              <a:r>
                <a:rPr lang="fr-FR" altLang="fr-FR" sz="2700" smtClean="0">
                  <a:solidFill>
                    <a:srgbClr val="FFFFFF"/>
                  </a:solidFill>
                  <a:latin typeface="Segoe UI Light" panose="020B0502040204020203" pitchFamily="34" charset="0"/>
                </a:rPr>
                <a:t>•</a:t>
              </a:r>
              <a:endParaRPr lang="fr-FR" altLang="fr-FR" smtClean="0">
                <a:solidFill>
                  <a:prstClr val="black"/>
                </a:solidFill>
              </a:endParaRPr>
            </a:p>
          </p:txBody>
        </p:sp>
        <p:sp>
          <p:nvSpPr>
            <p:cNvPr id="21" name="Rectangle 8"/>
            <p:cNvSpPr>
              <a:spLocks noChangeArrowheads="1"/>
            </p:cNvSpPr>
            <p:nvPr/>
          </p:nvSpPr>
          <p:spPr bwMode="auto">
            <a:xfrm>
              <a:off x="3030538" y="1895475"/>
              <a:ext cx="1217613" cy="677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914400"/>
              <a:r>
                <a:rPr lang="fr-FR" altLang="fr-FR" sz="4400" dirty="0" smtClean="0">
                  <a:solidFill>
                    <a:srgbClr val="E31A86"/>
                  </a:solidFill>
                  <a:latin typeface="Segoe UI" panose="020B0502040204020203" pitchFamily="34" charset="0"/>
                </a:rPr>
                <a:t>2015</a:t>
              </a:r>
              <a:endParaRPr lang="fr-FR" altLang="fr-FR" sz="2800" dirty="0" smtClean="0">
                <a:solidFill>
                  <a:srgbClr val="E31A86"/>
                </a:solidFill>
              </a:endParaRPr>
            </a:p>
          </p:txBody>
        </p:sp>
        <p:sp>
          <p:nvSpPr>
            <p:cNvPr id="22" name="Rectangle 21"/>
            <p:cNvSpPr/>
            <p:nvPr userDrawn="1"/>
          </p:nvSpPr>
          <p:spPr>
            <a:xfrm>
              <a:off x="1398067" y="1741487"/>
              <a:ext cx="1435008" cy="646331"/>
            </a:xfrm>
            <a:prstGeom prst="rect">
              <a:avLst/>
            </a:prstGeom>
          </p:spPr>
          <p:txBody>
            <a:bodyPr wrap="none">
              <a:spAutoFit/>
            </a:bodyPr>
            <a:lstStyle/>
            <a:p>
              <a:pPr defTabSz="914400"/>
              <a:r>
                <a:rPr lang="fr-FR" altLang="fr-FR" sz="3600" dirty="0" smtClean="0">
                  <a:solidFill>
                    <a:schemeClr val="accent2">
                      <a:lumMod val="60000"/>
                      <a:lumOff val="40000"/>
                    </a:schemeClr>
                  </a:solidFill>
                  <a:latin typeface="Segoe UI Light" panose="020B0502040204020203" pitchFamily="34" charset="0"/>
                </a:rPr>
                <a:t>camps</a:t>
              </a:r>
              <a:endParaRPr lang="fr-FR" altLang="fr-FR" sz="3600" dirty="0" smtClean="0">
                <a:solidFill>
                  <a:schemeClr val="accent2">
                    <a:lumMod val="60000"/>
                    <a:lumOff val="40000"/>
                  </a:schemeClr>
                </a:solidFill>
              </a:endParaRPr>
            </a:p>
          </p:txBody>
        </p:sp>
      </p:grpSp>
    </p:spTree>
    <p:extLst>
      <p:ext uri="{BB962C8B-B14F-4D97-AF65-F5344CB8AC3E}">
        <p14:creationId xmlns:p14="http://schemas.microsoft.com/office/powerpoint/2010/main" val="237882908"/>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Démo">
    <p:spTree>
      <p:nvGrpSpPr>
        <p:cNvPr id="1" name=""/>
        <p:cNvGrpSpPr/>
        <p:nvPr/>
      </p:nvGrpSpPr>
      <p:grpSpPr>
        <a:xfrm>
          <a:off x="0" y="0"/>
          <a:ext cx="0" cy="0"/>
          <a:chOff x="0" y="0"/>
          <a:chExt cx="0" cy="0"/>
        </a:xfrm>
      </p:grpSpPr>
      <p:sp>
        <p:nvSpPr>
          <p:cNvPr id="4" name="Rectangle 3"/>
          <p:cNvSpPr/>
          <p:nvPr userDrawn="1"/>
        </p:nvSpPr>
        <p:spPr>
          <a:xfrm>
            <a:off x="0" y="535453"/>
            <a:ext cx="353681" cy="353681"/>
          </a:xfrm>
          <a:prstGeom prst="rect">
            <a:avLst/>
          </a:prstGeom>
          <a:solidFill>
            <a:srgbClr val="F472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12" name="Group 11"/>
          <p:cNvGrpSpPr/>
          <p:nvPr userDrawn="1"/>
        </p:nvGrpSpPr>
        <p:grpSpPr>
          <a:xfrm>
            <a:off x="6152588" y="6634306"/>
            <a:ext cx="6283887" cy="360219"/>
            <a:chOff x="6152588" y="6634306"/>
            <a:chExt cx="6283887" cy="360219"/>
          </a:xfrm>
        </p:grpSpPr>
        <p:sp>
          <p:nvSpPr>
            <p:cNvPr id="7" name="Rectangle 6"/>
            <p:cNvSpPr/>
            <p:nvPr userDrawn="1"/>
          </p:nvSpPr>
          <p:spPr>
            <a:xfrm>
              <a:off x="6589127" y="6634306"/>
              <a:ext cx="5847348" cy="360219"/>
            </a:xfrm>
            <a:prstGeom prst="rect">
              <a:avLst/>
            </a:prstGeom>
            <a:solidFill>
              <a:srgbClr val="EC00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Rectangle 7"/>
            <p:cNvSpPr/>
            <p:nvPr userDrawn="1"/>
          </p:nvSpPr>
          <p:spPr>
            <a:xfrm>
              <a:off x="6152588" y="6640844"/>
              <a:ext cx="353681" cy="353681"/>
            </a:xfrm>
            <a:prstGeom prst="rect">
              <a:avLst/>
            </a:prstGeom>
            <a:solidFill>
              <a:srgbClr val="F472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 name="ZoneTexte 10"/>
            <p:cNvSpPr txBox="1"/>
            <p:nvPr userDrawn="1"/>
          </p:nvSpPr>
          <p:spPr>
            <a:xfrm>
              <a:off x="10829178" y="6652969"/>
              <a:ext cx="1253869" cy="307777"/>
            </a:xfrm>
            <a:prstGeom prst="rect">
              <a:avLst/>
            </a:prstGeom>
            <a:noFill/>
          </p:spPr>
          <p:txBody>
            <a:bodyPr wrap="none" rtlCol="0">
              <a:spAutoFit/>
            </a:bodyPr>
            <a:lstStyle/>
            <a:p>
              <a:r>
                <a:rPr lang="fr-FR" sz="1400" dirty="0" err="1" smtClean="0">
                  <a:solidFill>
                    <a:schemeClr val="bg1"/>
                  </a:solidFill>
                  <a:latin typeface="Segoe Pro Display Light" panose="020B0302040504020203" pitchFamily="34" charset="0"/>
                </a:rPr>
                <a:t>tech.days</a:t>
              </a:r>
              <a:r>
                <a:rPr lang="fr-FR" sz="1400" dirty="0" smtClean="0">
                  <a:solidFill>
                    <a:schemeClr val="bg1"/>
                  </a:solidFill>
                  <a:latin typeface="Segoe Pro Display Light" panose="020B0302040504020203" pitchFamily="34" charset="0"/>
                </a:rPr>
                <a:t> 2015</a:t>
              </a:r>
              <a:endParaRPr lang="fr-FR" sz="1400" dirty="0">
                <a:solidFill>
                  <a:schemeClr val="bg1"/>
                </a:solidFill>
                <a:latin typeface="Segoe Pro Display Light" panose="020B0302040504020203" pitchFamily="34" charset="0"/>
              </a:endParaRPr>
            </a:p>
          </p:txBody>
        </p:sp>
        <p:sp>
          <p:nvSpPr>
            <p:cNvPr id="10" name="ZoneTexte 11"/>
            <p:cNvSpPr txBox="1"/>
            <p:nvPr userDrawn="1"/>
          </p:nvSpPr>
          <p:spPr>
            <a:xfrm>
              <a:off x="6650285" y="6652969"/>
              <a:ext cx="1159292" cy="307777"/>
            </a:xfrm>
            <a:prstGeom prst="rect">
              <a:avLst/>
            </a:prstGeom>
            <a:noFill/>
          </p:spPr>
          <p:txBody>
            <a:bodyPr wrap="none" rtlCol="0">
              <a:spAutoFit/>
            </a:bodyPr>
            <a:lstStyle/>
            <a:p>
              <a:r>
                <a:rPr lang="fr-FR" sz="1400" dirty="0" smtClean="0">
                  <a:solidFill>
                    <a:schemeClr val="bg1"/>
                  </a:solidFill>
                  <a:latin typeface="Segoe Pro Display Light" panose="020B0302040504020203" pitchFamily="34" charset="0"/>
                </a:rPr>
                <a:t>#</a:t>
              </a:r>
              <a:r>
                <a:rPr lang="fr-FR" sz="1400" dirty="0" err="1" smtClean="0">
                  <a:solidFill>
                    <a:schemeClr val="bg1"/>
                  </a:solidFill>
                  <a:latin typeface="Segoe Pro Display Light" panose="020B0302040504020203" pitchFamily="34" charset="0"/>
                </a:rPr>
                <a:t>mstechdays</a:t>
              </a:r>
              <a:endParaRPr lang="fr-FR" sz="1400" dirty="0">
                <a:solidFill>
                  <a:schemeClr val="bg1"/>
                </a:solidFill>
                <a:latin typeface="Segoe Pro Display Light" panose="020B0302040504020203" pitchFamily="34" charset="0"/>
              </a:endParaRPr>
            </a:p>
          </p:txBody>
        </p:sp>
      </p:grpSp>
      <p:pic>
        <p:nvPicPr>
          <p:cNvPr id="15" name="Imag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46" y="1913084"/>
            <a:ext cx="5001322" cy="2810267"/>
          </a:xfrm>
          <a:prstGeom prst="rect">
            <a:avLst/>
          </a:prstGeom>
          <a:noFill/>
          <a:ln>
            <a:noFill/>
          </a:ln>
        </p:spPr>
      </p:pic>
      <p:sp>
        <p:nvSpPr>
          <p:cNvPr id="16" name="Rectangle 15"/>
          <p:cNvSpPr/>
          <p:nvPr userDrawn="1"/>
        </p:nvSpPr>
        <p:spPr bwMode="auto">
          <a:xfrm>
            <a:off x="4994101" y="1913084"/>
            <a:ext cx="1595026" cy="280831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fr-FR"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17"/>
          <p:cNvSpPr/>
          <p:nvPr userDrawn="1"/>
        </p:nvSpPr>
        <p:spPr>
          <a:xfrm>
            <a:off x="6589127" y="1913085"/>
            <a:ext cx="5847348" cy="2808313"/>
          </a:xfrm>
          <a:prstGeom prst="rect">
            <a:avLst/>
          </a:prstGeom>
          <a:solidFill>
            <a:srgbClr val="9B4F96"/>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smtClean="0">
              <a:ln>
                <a:noFill/>
              </a:ln>
              <a:solidFill>
                <a:prstClr val="white"/>
              </a:solidFill>
              <a:effectLst/>
              <a:uLnTx/>
              <a:uFillTx/>
              <a:latin typeface="Calibri" panose="020F0502020204030204"/>
              <a:ea typeface="+mn-ea"/>
              <a:cs typeface="+mn-cs"/>
            </a:endParaRPr>
          </a:p>
        </p:txBody>
      </p:sp>
      <p:sp>
        <p:nvSpPr>
          <p:cNvPr id="19" name="Text Placeholder 7"/>
          <p:cNvSpPr>
            <a:spLocks noGrp="1"/>
          </p:cNvSpPr>
          <p:nvPr>
            <p:ph type="body" sz="quarter" idx="10" hasCustomPrompt="1"/>
          </p:nvPr>
        </p:nvSpPr>
        <p:spPr>
          <a:xfrm>
            <a:off x="7154863" y="2417763"/>
            <a:ext cx="4679950" cy="1551194"/>
          </a:xfrm>
          <a:prstGeom prst="rect">
            <a:avLst/>
          </a:prstGeom>
        </p:spPr>
        <p:txBody>
          <a:bodyPr/>
          <a:lstStyle>
            <a:lvl1pPr marL="0" indent="0">
              <a:buFontTx/>
              <a:buNone/>
              <a:defRPr>
                <a:solidFill>
                  <a:schemeClr val="bg1"/>
                </a:solidFill>
              </a:defRPr>
            </a:lvl1pPr>
            <a:lvl2pPr marL="342900" indent="0">
              <a:buFontTx/>
              <a:buNone/>
              <a:defRPr>
                <a:solidFill>
                  <a:schemeClr val="bg1"/>
                </a:solidFill>
              </a:defRPr>
            </a:lvl2pPr>
          </a:lstStyle>
          <a:p>
            <a:pPr lvl="0"/>
            <a:r>
              <a:rPr lang="en-US" dirty="0" err="1" smtClean="0"/>
              <a:t>Démo</a:t>
            </a:r>
            <a:endParaRPr lang="en-US" dirty="0" smtClean="0"/>
          </a:p>
        </p:txBody>
      </p:sp>
      <p:sp>
        <p:nvSpPr>
          <p:cNvPr id="21" name="Text Placeholder 19"/>
          <p:cNvSpPr>
            <a:spLocks noGrp="1"/>
          </p:cNvSpPr>
          <p:nvPr>
            <p:ph type="body" sz="quarter" idx="15" hasCustomPrompt="1"/>
          </p:nvPr>
        </p:nvSpPr>
        <p:spPr>
          <a:xfrm>
            <a:off x="601613" y="6652968"/>
            <a:ext cx="5472113" cy="308219"/>
          </a:xfrm>
          <a:prstGeom prst="rect">
            <a:avLst/>
          </a:prstGeom>
        </p:spPr>
        <p:txBody>
          <a:bodyPr/>
          <a:lstStyle>
            <a:lvl1pPr marL="0" indent="0" algn="r">
              <a:buFontTx/>
              <a:buNone/>
              <a:defRPr lang="fr-FR" sz="1400" kern="1200" dirty="0">
                <a:solidFill>
                  <a:srgbClr val="EC008C"/>
                </a:solidFill>
                <a:latin typeface="Segoe Pro Display Light" panose="020B0302040504020203" pitchFamily="34" charset="0"/>
                <a:ea typeface="+mn-ea"/>
                <a:cs typeface="+mn-cs"/>
              </a:defRPr>
            </a:lvl1pPr>
          </a:lstStyle>
          <a:p>
            <a:r>
              <a:rPr lang="fr-FR" dirty="0" smtClean="0"/>
              <a:t>Titre session pied de page</a:t>
            </a:r>
            <a:endParaRPr lang="fr-FR" dirty="0"/>
          </a:p>
        </p:txBody>
      </p:sp>
      <p:sp>
        <p:nvSpPr>
          <p:cNvPr id="14" name="Title 1"/>
          <p:cNvSpPr>
            <a:spLocks noGrp="1"/>
          </p:cNvSpPr>
          <p:nvPr>
            <p:ph type="title" hasCustomPrompt="1"/>
          </p:nvPr>
        </p:nvSpPr>
        <p:spPr>
          <a:xfrm>
            <a:off x="274639" y="295274"/>
            <a:ext cx="11889564" cy="593860"/>
          </a:xfrm>
        </p:spPr>
        <p:txBody>
          <a:bodyPr lIns="324000" rIns="144000"/>
          <a:lstStyle>
            <a:lvl1pPr>
              <a:defRPr sz="4800"/>
            </a:lvl1pPr>
          </a:lstStyle>
          <a:p>
            <a:r>
              <a:rPr lang="en-US" dirty="0" err="1" smtClean="0"/>
              <a:t>Démo</a:t>
            </a:r>
            <a:endParaRPr lang="en-US" dirty="0"/>
          </a:p>
        </p:txBody>
      </p:sp>
    </p:spTree>
    <p:extLst>
      <p:ext uri="{BB962C8B-B14F-4D97-AF65-F5344CB8AC3E}">
        <p14:creationId xmlns:p14="http://schemas.microsoft.com/office/powerpoint/2010/main" val="43154467"/>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29660" y="233151"/>
            <a:ext cx="11375536" cy="762786"/>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29660" y="1476621"/>
            <a:ext cx="11375536" cy="2609585"/>
          </a:xfrm>
          <a:prstGeom prst="rect">
            <a:avLst/>
          </a:prstGeom>
        </p:spPr>
        <p:txBody>
          <a:bodyPr/>
          <a:lstStyle>
            <a:lvl1pPr marL="466298" indent="-466298">
              <a:buFont typeface="Arial" panose="020B0604020202020204" pitchFamily="34" charset="0"/>
              <a:buChar char="•"/>
              <a:defRPr lang="en-US" sz="3199" kern="1200" dirty="0" smtClean="0">
                <a:solidFill>
                  <a:srgbClr val="0072C6"/>
                </a:solidFill>
                <a:latin typeface="Segoe UI Light"/>
                <a:ea typeface="Segoe UI" pitchFamily="34" charset="0"/>
                <a:cs typeface="Segoe UI" pitchFamily="34" charset="0"/>
              </a:defRPr>
            </a:lvl1pPr>
            <a:lvl2pPr marL="756115" marR="0" indent="-466298" algn="l" defTabSz="932559" rtl="0" eaLnBrk="1" fontAlgn="auto" latinLnBrk="0" hangingPunct="1">
              <a:lnSpc>
                <a:spcPct val="90000"/>
              </a:lnSpc>
              <a:spcBef>
                <a:spcPct val="20000"/>
              </a:spcBef>
              <a:spcAft>
                <a:spcPts val="0"/>
              </a:spcAft>
              <a:buClrTx/>
              <a:buSzPct val="90000"/>
              <a:buFont typeface="Arial" panose="020B0604020202020204" pitchFamily="34" charset="0"/>
              <a:buChar char="•"/>
              <a:tabLst/>
              <a:defRPr lang="en-US" sz="3199" kern="1200" dirty="0" smtClean="0">
                <a:solidFill>
                  <a:srgbClr val="0072C6"/>
                </a:solidFill>
                <a:latin typeface="Segoe UI Light"/>
                <a:ea typeface="Segoe UI" pitchFamily="34" charset="0"/>
                <a:cs typeface="Segoe UI" pitchFamily="34" charset="0"/>
              </a:defRPr>
            </a:lvl2pPr>
            <a:lvl3pPr marL="994122" indent="-466298">
              <a:buFont typeface="Arial" panose="020B0604020202020204" pitchFamily="34" charset="0"/>
              <a:buChar char="•"/>
              <a:tabLst/>
              <a:defRPr lang="en-US" sz="3199" kern="1200" dirty="0" smtClean="0">
                <a:solidFill>
                  <a:srgbClr val="0072C6"/>
                </a:solidFill>
                <a:latin typeface="Segoe UI Light"/>
                <a:ea typeface="Segoe UI" pitchFamily="34" charset="0"/>
                <a:cs typeface="Segoe UI" pitchFamily="34" charset="0"/>
              </a:defRPr>
            </a:lvl3pPr>
            <a:lvl4pPr marL="1222413" indent="-466298">
              <a:buFont typeface="Arial" panose="020B0604020202020204" pitchFamily="34" charset="0"/>
              <a:buChar char="•"/>
              <a:defRPr lang="en-US" sz="3199" kern="1200" dirty="0" smtClean="0">
                <a:solidFill>
                  <a:srgbClr val="0072C6"/>
                </a:solidFill>
                <a:latin typeface="Segoe UI Light"/>
                <a:ea typeface="Segoe UI" pitchFamily="34" charset="0"/>
                <a:cs typeface="Segoe UI" pitchFamily="34" charset="0"/>
              </a:defRPr>
            </a:lvl4pPr>
            <a:lvl5pPr marL="1398895" indent="-466298">
              <a:buFont typeface="Arial" panose="020B0604020202020204" pitchFamily="34" charset="0"/>
              <a:buChar char="•"/>
              <a:tabLst/>
              <a:defRPr lang="en-US" sz="3199" kern="1200" dirty="0">
                <a:solidFill>
                  <a:srgbClr val="0072C6"/>
                </a:solidFill>
                <a:latin typeface="Segoe UI Light"/>
                <a:ea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1"/>
          <p:cNvSpPr txBox="1">
            <a:spLocks/>
          </p:cNvSpPr>
          <p:nvPr userDrawn="1"/>
        </p:nvSpPr>
        <p:spPr>
          <a:xfrm>
            <a:off x="9840621" y="6381672"/>
            <a:ext cx="2257929" cy="345817"/>
          </a:xfrm>
          <a:prstGeom prst="rect">
            <a:avLst/>
          </a:prstGeom>
        </p:spPr>
        <p:txBody>
          <a:bodyPr vert="horz" wrap="square" lIns="0" tIns="0" rIns="0" bIns="0" rtlCol="0">
            <a:spAutoFit/>
          </a:bodyPr>
          <a:lstStyle>
            <a:lvl1pPr marL="0"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1800" kern="1200" spc="-70" baseline="0" dirty="0">
                <a:solidFill>
                  <a:schemeClr val="tx1">
                    <a:alpha val="99000"/>
                  </a:schemeClr>
                </a:solidFill>
                <a:latin typeface="+mn-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r>
              <a:rPr lang="fr-FR" sz="2448" dirty="0" smtClean="0"/>
              <a:t>#</a:t>
            </a:r>
            <a:r>
              <a:rPr lang="fr-FR" sz="2448" dirty="0" err="1" smtClean="0"/>
              <a:t>azurecamp</a:t>
            </a:r>
            <a:endParaRPr lang="fr-FR" sz="2448" dirty="0"/>
          </a:p>
        </p:txBody>
      </p:sp>
    </p:spTree>
    <p:extLst>
      <p:ext uri="{BB962C8B-B14F-4D97-AF65-F5344CB8AC3E}">
        <p14:creationId xmlns:p14="http://schemas.microsoft.com/office/powerpoint/2010/main" val="11925871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29660" y="233151"/>
            <a:ext cx="11375536" cy="762786"/>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6" name="Text Placeholder 1"/>
          <p:cNvSpPr txBox="1">
            <a:spLocks/>
          </p:cNvSpPr>
          <p:nvPr userDrawn="1"/>
        </p:nvSpPr>
        <p:spPr>
          <a:xfrm>
            <a:off x="9840621" y="6381672"/>
            <a:ext cx="2257929" cy="345817"/>
          </a:xfrm>
          <a:prstGeom prst="rect">
            <a:avLst/>
          </a:prstGeom>
        </p:spPr>
        <p:txBody>
          <a:bodyPr vert="horz" wrap="square" lIns="0" tIns="0" rIns="0" bIns="0" rtlCol="0">
            <a:spAutoFit/>
          </a:bodyPr>
          <a:lstStyle>
            <a:lvl1pPr marL="0"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1800" kern="1200" spc="-70" baseline="0" dirty="0">
                <a:solidFill>
                  <a:schemeClr val="tx1">
                    <a:alpha val="99000"/>
                  </a:schemeClr>
                </a:solidFill>
                <a:latin typeface="+mn-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r>
              <a:rPr lang="fr-FR" sz="2448" dirty="0" smtClean="0"/>
              <a:t>#</a:t>
            </a:r>
            <a:r>
              <a:rPr lang="fr-FR" sz="2448" dirty="0" err="1" smtClean="0"/>
              <a:t>azurecamp</a:t>
            </a:r>
            <a:endParaRPr lang="fr-FR" sz="2448" dirty="0"/>
          </a:p>
        </p:txBody>
      </p:sp>
    </p:spTree>
    <p:extLst>
      <p:ext uri="{BB962C8B-B14F-4D97-AF65-F5344CB8AC3E}">
        <p14:creationId xmlns:p14="http://schemas.microsoft.com/office/powerpoint/2010/main" val="28932767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640" y="295277"/>
            <a:ext cx="11889564" cy="762786"/>
          </a:xfrm>
          <a:prstGeom prst="rect">
            <a:avLst/>
          </a:prstGeom>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9" y="1212851"/>
            <a:ext cx="11887200" cy="1951893"/>
          </a:xfrm>
          <a:prstGeom prst="rect">
            <a:avLst/>
          </a:prstGeom>
        </p:spPr>
        <p:txBody>
          <a:bodyPr/>
          <a:lstStyle>
            <a:lvl1pPr marL="0" indent="0">
              <a:buNone/>
              <a:defRPr>
                <a:gradFill>
                  <a:gsLst>
                    <a:gs pos="20354">
                      <a:schemeClr val="tx2"/>
                    </a:gs>
                    <a:gs pos="40000">
                      <a:schemeClr val="tx2"/>
                    </a:gs>
                  </a:gsLst>
                  <a:lin ang="5400000" scaled="0"/>
                </a:gradFill>
              </a:defRPr>
            </a:lvl1pPr>
            <a:lvl2pPr marL="0" indent="0">
              <a:buFontTx/>
              <a:buNone/>
              <a:defRPr sz="1999"/>
            </a:lvl2pPr>
            <a:lvl3pPr marL="228471" indent="0">
              <a:buNone/>
              <a:defRPr/>
            </a:lvl3pPr>
            <a:lvl4pPr marL="456939" indent="0">
              <a:buNone/>
              <a:defRPr/>
            </a:lvl4pPr>
            <a:lvl5pPr marL="68541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4484565"/>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74639" y="1212849"/>
            <a:ext cx="11889564" cy="2059025"/>
          </a:xfrm>
          <a:prstGeom prst="rect">
            <a:avLst/>
          </a:prstGeo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smtClean="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41768592"/>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6152"/>
            <a:ext cx="11887199" cy="2131353"/>
          </a:xfrm>
          <a:prstGeom prst="rect">
            <a:avLst/>
          </a:prstGeo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9777539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12_Custom Layout">
    <p:spTree>
      <p:nvGrpSpPr>
        <p:cNvPr id="1" name=""/>
        <p:cNvGrpSpPr/>
        <p:nvPr/>
      </p:nvGrpSpPr>
      <p:grpSpPr>
        <a:xfrm>
          <a:off x="0" y="0"/>
          <a:ext cx="0" cy="0"/>
          <a:chOff x="0" y="0"/>
          <a:chExt cx="0" cy="0"/>
        </a:xfrm>
      </p:grpSpPr>
      <p:sp>
        <p:nvSpPr>
          <p:cNvPr id="4" name="Rectangle 3"/>
          <p:cNvSpPr/>
          <p:nvPr/>
        </p:nvSpPr>
        <p:spPr bwMode="auto">
          <a:xfrm>
            <a:off x="1" y="0"/>
            <a:ext cx="12436475" cy="6994525"/>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77671" tIns="38840" rIns="77671" bIns="38840" numCol="1" rtlCol="0" anchor="ctr" anchorCtr="0" compatLnSpc="1">
            <a:prstTxWarp prst="textNoShape">
              <a:avLst/>
            </a:prstTxWarp>
          </a:bodyPr>
          <a:lstStyle/>
          <a:p>
            <a:pPr algn="ctr" defTabSz="776460"/>
            <a:endParaRPr lang="en-US" sz="1785"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5" name="Rectangle 4"/>
          <p:cNvSpPr/>
          <p:nvPr userDrawn="1"/>
        </p:nvSpPr>
        <p:spPr bwMode="auto">
          <a:xfrm>
            <a:off x="1" y="0"/>
            <a:ext cx="12436475" cy="6994525"/>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77671" tIns="38840" rIns="77671" bIns="38840" numCol="1" rtlCol="0" anchor="ctr" anchorCtr="0" compatLnSpc="1">
            <a:prstTxWarp prst="textNoShape">
              <a:avLst/>
            </a:prstTxWarp>
          </a:bodyPr>
          <a:lstStyle/>
          <a:p>
            <a:pPr algn="ctr" defTabSz="776460"/>
            <a:endParaRPr lang="en-US" sz="1785"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62116169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57200" y="6565900"/>
            <a:ext cx="3937000" cy="136525"/>
          </a:xfrm>
          <a:prstGeom prst="rect">
            <a:avLst/>
          </a:prstGeom>
        </p:spPr>
        <p:txBody>
          <a:bodyPr/>
          <a:lstStyle>
            <a:lvl1pPr fontAlgn="base">
              <a:spcBef>
                <a:spcPct val="0"/>
              </a:spcBef>
              <a:spcAft>
                <a:spcPct val="0"/>
              </a:spcAft>
              <a:defRPr dirty="0" smtClean="0">
                <a:solidFill>
                  <a:srgbClr val="000000"/>
                </a:solidFill>
              </a:defRPr>
            </a:lvl1pPr>
          </a:lstStyle>
          <a:p>
            <a:pPr>
              <a:defRPr/>
            </a:pPr>
            <a:r>
              <a:t>Microsoft Confidential</a:t>
            </a:r>
            <a:endParaRPr/>
          </a:p>
        </p:txBody>
      </p:sp>
      <p:sp>
        <p:nvSpPr>
          <p:cNvPr id="3" name="Slide Number Placeholder 2"/>
          <p:cNvSpPr>
            <a:spLocks noGrp="1"/>
          </p:cNvSpPr>
          <p:nvPr>
            <p:ph type="sldNum" sz="quarter" idx="11"/>
          </p:nvPr>
        </p:nvSpPr>
        <p:spPr>
          <a:xfrm>
            <a:off x="11595100" y="6565900"/>
            <a:ext cx="566738" cy="136525"/>
          </a:xfrm>
          <a:prstGeom prst="rect">
            <a:avLst/>
          </a:prstGeom>
        </p:spPr>
        <p:txBody>
          <a:bodyPr/>
          <a:lstStyle>
            <a:lvl1pPr defTabSz="931863"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846319739"/>
      </p:ext>
    </p:extLst>
  </p:cSld>
  <p:clrMapOvr>
    <a:overrideClrMapping bg1="lt1" tx1="dk1" bg2="lt2" tx2="dk2" accent1="accent1" accent2="accent2" accent3="accent3" accent4="accent4" accent5="accent5" accent6="accent6" hlink="hlink" folHlink="folHlink"/>
  </p:clrMapOvr>
  <p:transition spd="med">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lIns="146304" tIns="91440" rIns="146304" bIns="91440"/>
          <a:lstStyle>
            <a:lvl1pPr algn="l">
              <a:defRPr sz="5199">
                <a:solidFill>
                  <a:schemeClr val="tx2"/>
                </a:solidFill>
                <a:latin typeface="+mj-lt"/>
              </a:defRPr>
            </a:lvl1pPr>
          </a:lstStyle>
          <a:p>
            <a:r>
              <a:rPr lang="en-US" dirty="0" smtClean="0"/>
              <a:t>Click to edit Master title style</a:t>
            </a:r>
            <a:endParaRPr lang="en-US" dirty="0"/>
          </a:p>
        </p:txBody>
      </p:sp>
    </p:spTree>
    <p:extLst>
      <p:ext uri="{BB962C8B-B14F-4D97-AF65-F5344CB8AC3E}">
        <p14:creationId xmlns:p14="http://schemas.microsoft.com/office/powerpoint/2010/main" val="3263911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re 2">
    <p:spTree>
      <p:nvGrpSpPr>
        <p:cNvPr id="1" name=""/>
        <p:cNvGrpSpPr/>
        <p:nvPr/>
      </p:nvGrpSpPr>
      <p:grpSpPr>
        <a:xfrm>
          <a:off x="0" y="0"/>
          <a:ext cx="0" cy="0"/>
          <a:chOff x="0" y="0"/>
          <a:chExt cx="0" cy="0"/>
        </a:xfrm>
      </p:grpSpPr>
      <p:pic>
        <p:nvPicPr>
          <p:cNvPr id="8" name="Imag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19" y="-82"/>
            <a:ext cx="12463894" cy="7005467"/>
          </a:xfrm>
          <a:prstGeom prst="rect">
            <a:avLst/>
          </a:prstGeom>
        </p:spPr>
      </p:pic>
      <p:sp>
        <p:nvSpPr>
          <p:cNvPr id="9" name="Rectangle 8"/>
          <p:cNvSpPr/>
          <p:nvPr userDrawn="1"/>
        </p:nvSpPr>
        <p:spPr bwMode="auto">
          <a:xfrm>
            <a:off x="280987" y="2167979"/>
            <a:ext cx="6528223" cy="3921571"/>
          </a:xfrm>
          <a:prstGeom prst="rect">
            <a:avLst/>
          </a:prstGeom>
          <a:solidFill>
            <a:srgbClr val="5C2D91">
              <a:alpha val="87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Title 6"/>
          <p:cNvSpPr>
            <a:spLocks noGrp="1"/>
          </p:cNvSpPr>
          <p:nvPr>
            <p:ph type="title" hasCustomPrompt="1"/>
          </p:nvPr>
        </p:nvSpPr>
        <p:spPr>
          <a:xfrm>
            <a:off x="280987" y="2273126"/>
            <a:ext cx="6528223" cy="1655156"/>
          </a:xfrm>
        </p:spPr>
        <p:txBody>
          <a:bodyPr/>
          <a:lstStyle>
            <a:lvl1pPr>
              <a:defRPr>
                <a:solidFill>
                  <a:schemeClr val="bg1"/>
                </a:solidFill>
              </a:defRPr>
            </a:lvl1pPr>
          </a:lstStyle>
          <a:p>
            <a:r>
              <a:rPr lang="en-US" dirty="0" smtClean="0"/>
              <a:t>Presentation title</a:t>
            </a:r>
            <a:endParaRPr lang="fr-FR" dirty="0"/>
          </a:p>
        </p:txBody>
      </p:sp>
      <p:sp>
        <p:nvSpPr>
          <p:cNvPr id="20" name="Text Placeholder 19"/>
          <p:cNvSpPr>
            <a:spLocks noGrp="1"/>
          </p:cNvSpPr>
          <p:nvPr>
            <p:ph type="body" sz="quarter" idx="10" hasCustomPrompt="1"/>
          </p:nvPr>
        </p:nvSpPr>
        <p:spPr>
          <a:xfrm>
            <a:off x="280987" y="3943857"/>
            <a:ext cx="6516649" cy="738664"/>
          </a:xfrm>
          <a:prstGeom prst="rect">
            <a:avLst/>
          </a:prstGeom>
        </p:spPr>
        <p:txBody>
          <a:bodyPr/>
          <a:lstStyle>
            <a:lvl1pPr marL="0" indent="0">
              <a:buNone/>
              <a:defRPr baseline="0">
                <a:solidFill>
                  <a:schemeClr val="bg1"/>
                </a:solidFill>
              </a:defRPr>
            </a:lvl1pPr>
          </a:lstStyle>
          <a:p>
            <a:pPr lvl="0"/>
            <a:r>
              <a:rPr lang="fr-FR" dirty="0" err="1" smtClean="0"/>
              <a:t>Author</a:t>
            </a:r>
            <a:r>
              <a:rPr lang="fr-FR" dirty="0" smtClean="0"/>
              <a:t> Name</a:t>
            </a:r>
          </a:p>
        </p:txBody>
      </p:sp>
      <p:sp>
        <p:nvSpPr>
          <p:cNvPr id="22" name="Text Placeholder 19"/>
          <p:cNvSpPr>
            <a:spLocks noGrp="1"/>
          </p:cNvSpPr>
          <p:nvPr>
            <p:ph type="body" sz="quarter" idx="11" hasCustomPrompt="1"/>
          </p:nvPr>
        </p:nvSpPr>
        <p:spPr>
          <a:xfrm>
            <a:off x="292561" y="4695158"/>
            <a:ext cx="6516649" cy="1203234"/>
          </a:xfrm>
          <a:prstGeom prst="rect">
            <a:avLst/>
          </a:prstGeom>
        </p:spPr>
        <p:txBody>
          <a:bodyPr/>
          <a:lstStyle>
            <a:lvl1pPr marL="0" indent="0">
              <a:buNone/>
              <a:defRPr sz="2400" baseline="0">
                <a:solidFill>
                  <a:schemeClr val="bg1"/>
                </a:solidFill>
              </a:defRPr>
            </a:lvl1pPr>
          </a:lstStyle>
          <a:p>
            <a:pPr lvl="0"/>
            <a:r>
              <a:rPr lang="fr-FR" dirty="0" smtClean="0"/>
              <a:t>Twitter</a:t>
            </a:r>
          </a:p>
          <a:p>
            <a:pPr lvl="0"/>
            <a:r>
              <a:rPr lang="fr-FR" dirty="0" smtClean="0"/>
              <a:t>Mail</a:t>
            </a:r>
          </a:p>
        </p:txBody>
      </p:sp>
      <p:pic>
        <p:nvPicPr>
          <p:cNvPr id="10" name="Image 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62964" y="342911"/>
            <a:ext cx="2203167" cy="810420"/>
          </a:xfrm>
          <a:prstGeom prst="rect">
            <a:avLst/>
          </a:prstGeom>
        </p:spPr>
      </p:pic>
    </p:spTree>
    <p:extLst>
      <p:ext uri="{BB962C8B-B14F-4D97-AF65-F5344CB8AC3E}">
        <p14:creationId xmlns:p14="http://schemas.microsoft.com/office/powerpoint/2010/main" val="3218741855"/>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Pattern Layout">
    <p:spTree>
      <p:nvGrpSpPr>
        <p:cNvPr id="1" name=""/>
        <p:cNvGrpSpPr/>
        <p:nvPr/>
      </p:nvGrpSpPr>
      <p:grpSpPr>
        <a:xfrm>
          <a:off x="0" y="0"/>
          <a:ext cx="0" cy="0"/>
          <a:chOff x="0" y="0"/>
          <a:chExt cx="0" cy="0"/>
        </a:xfrm>
      </p:grpSpPr>
      <p:grpSp>
        <p:nvGrpSpPr>
          <p:cNvPr id="4" name="Group 2439"/>
          <p:cNvGrpSpPr/>
          <p:nvPr userDrawn="1"/>
        </p:nvGrpSpPr>
        <p:grpSpPr>
          <a:xfrm>
            <a:off x="75133" y="63500"/>
            <a:ext cx="12348642" cy="3429000"/>
            <a:chOff x="75133" y="63500"/>
            <a:chExt cx="12348642" cy="3429000"/>
          </a:xfrm>
        </p:grpSpPr>
        <p:grpSp>
          <p:nvGrpSpPr>
            <p:cNvPr id="5" name="Group 1364"/>
            <p:cNvGrpSpPr>
              <a:grpSpLocks noChangeAspect="1"/>
            </p:cNvGrpSpPr>
            <p:nvPr/>
          </p:nvGrpSpPr>
          <p:grpSpPr>
            <a:xfrm>
              <a:off x="75133" y="63500"/>
              <a:ext cx="6198230" cy="3429000"/>
              <a:chOff x="88900" y="16253"/>
              <a:chExt cx="12361342" cy="6838572"/>
            </a:xfrm>
          </p:grpSpPr>
          <p:sp>
            <p:nvSpPr>
              <p:cNvPr id="643"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44"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45"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46"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47"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48"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49"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50"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51"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52"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53"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54"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55"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56"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57"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58"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59"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60"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61"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62"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63"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64"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65"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66"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67"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68"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69"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70"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71"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72"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73"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74"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75"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76"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77"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78"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79"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80"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81"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682" name="Group 740"/>
              <p:cNvGrpSpPr/>
              <p:nvPr/>
            </p:nvGrpSpPr>
            <p:grpSpPr>
              <a:xfrm>
                <a:off x="2143112" y="6384174"/>
                <a:ext cx="348520" cy="470651"/>
                <a:chOff x="7011958" y="-48945"/>
                <a:chExt cx="557213" cy="752475"/>
              </a:xfrm>
              <a:solidFill>
                <a:schemeClr val="tx1">
                  <a:alpha val="12000"/>
                </a:schemeClr>
              </a:solidFill>
            </p:grpSpPr>
            <p:sp>
              <p:nvSpPr>
                <p:cNvPr id="127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83" name="Group 746"/>
              <p:cNvGrpSpPr/>
              <p:nvPr/>
            </p:nvGrpSpPr>
            <p:grpSpPr>
              <a:xfrm>
                <a:off x="4559759" y="6384174"/>
                <a:ext cx="348520" cy="470651"/>
                <a:chOff x="7011958" y="-48945"/>
                <a:chExt cx="557213" cy="752475"/>
              </a:xfrm>
              <a:solidFill>
                <a:schemeClr val="tx1">
                  <a:alpha val="7000"/>
                </a:schemeClr>
              </a:solidFill>
            </p:grpSpPr>
            <p:sp>
              <p:nvSpPr>
                <p:cNvPr id="12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84"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85"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86"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87"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88"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89"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90"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91"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692" name="Group 740"/>
              <p:cNvGrpSpPr/>
              <p:nvPr/>
            </p:nvGrpSpPr>
            <p:grpSpPr>
              <a:xfrm>
                <a:off x="5930616" y="6384174"/>
                <a:ext cx="348520" cy="470651"/>
                <a:chOff x="7011958" y="-48945"/>
                <a:chExt cx="557213" cy="752475"/>
              </a:xfrm>
              <a:solidFill>
                <a:schemeClr val="tx1">
                  <a:alpha val="12000"/>
                </a:schemeClr>
              </a:solidFill>
            </p:grpSpPr>
            <p:sp>
              <p:nvSpPr>
                <p:cNvPr id="127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93"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94"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95"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96"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697" name="Group 746"/>
              <p:cNvGrpSpPr/>
              <p:nvPr/>
            </p:nvGrpSpPr>
            <p:grpSpPr>
              <a:xfrm>
                <a:off x="10744892" y="6384174"/>
                <a:ext cx="348520" cy="470651"/>
                <a:chOff x="7011958" y="-48945"/>
                <a:chExt cx="557213" cy="752475"/>
              </a:xfrm>
              <a:solidFill>
                <a:schemeClr val="tx1">
                  <a:alpha val="7000"/>
                </a:schemeClr>
              </a:solidFill>
            </p:grpSpPr>
            <p:sp>
              <p:nvSpPr>
                <p:cNvPr id="12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98"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99"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700" name="Group 781"/>
              <p:cNvGrpSpPr/>
              <p:nvPr/>
            </p:nvGrpSpPr>
            <p:grpSpPr>
              <a:xfrm>
                <a:off x="520986" y="5766031"/>
                <a:ext cx="612096" cy="486108"/>
                <a:chOff x="9258271" y="-45770"/>
                <a:chExt cx="925513" cy="735013"/>
              </a:xfrm>
              <a:solidFill>
                <a:schemeClr val="bg2">
                  <a:alpha val="38000"/>
                </a:schemeClr>
              </a:solidFill>
            </p:grpSpPr>
            <p:sp>
              <p:nvSpPr>
                <p:cNvPr id="12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01"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702"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2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03"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04"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05"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06"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07"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08"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09"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10"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11"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712" name="Group 740"/>
              <p:cNvGrpSpPr/>
              <p:nvPr/>
            </p:nvGrpSpPr>
            <p:grpSpPr>
              <a:xfrm>
                <a:off x="11309752" y="5781488"/>
                <a:ext cx="348520" cy="470651"/>
                <a:chOff x="7011958" y="-48945"/>
                <a:chExt cx="557213" cy="752475"/>
              </a:xfrm>
              <a:solidFill>
                <a:schemeClr val="tx1">
                  <a:alpha val="12000"/>
                </a:schemeClr>
              </a:solidFill>
            </p:grpSpPr>
            <p:sp>
              <p:nvSpPr>
                <p:cNvPr id="12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13"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14"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15"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16"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17"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18"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19"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20"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21"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22"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723" name="Group 746"/>
              <p:cNvGrpSpPr/>
              <p:nvPr/>
            </p:nvGrpSpPr>
            <p:grpSpPr>
              <a:xfrm>
                <a:off x="2852473" y="5781488"/>
                <a:ext cx="348520" cy="470651"/>
                <a:chOff x="7011958" y="-48945"/>
                <a:chExt cx="557213" cy="752475"/>
              </a:xfrm>
              <a:solidFill>
                <a:schemeClr val="tx1">
                  <a:alpha val="7000"/>
                </a:schemeClr>
              </a:solidFill>
            </p:grpSpPr>
            <p:sp>
              <p:nvSpPr>
                <p:cNvPr id="12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24"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25"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26"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727"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2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28"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29"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30"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31"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732" name="Group 740"/>
              <p:cNvGrpSpPr/>
              <p:nvPr/>
            </p:nvGrpSpPr>
            <p:grpSpPr>
              <a:xfrm>
                <a:off x="4495231" y="5781488"/>
                <a:ext cx="348520" cy="470651"/>
                <a:chOff x="7011958" y="-48945"/>
                <a:chExt cx="557213" cy="752475"/>
              </a:xfrm>
              <a:solidFill>
                <a:schemeClr val="tx1">
                  <a:alpha val="12000"/>
                </a:schemeClr>
              </a:solidFill>
            </p:grpSpPr>
            <p:sp>
              <p:nvSpPr>
                <p:cNvPr id="12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33"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34"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35"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36"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37"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38"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39"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40"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41"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42"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43"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44"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45"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46"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747" name="Group 740"/>
              <p:cNvGrpSpPr/>
              <p:nvPr/>
            </p:nvGrpSpPr>
            <p:grpSpPr>
              <a:xfrm>
                <a:off x="7781911" y="5093639"/>
                <a:ext cx="348520" cy="470651"/>
                <a:chOff x="7011958" y="-48945"/>
                <a:chExt cx="557213" cy="752475"/>
              </a:xfrm>
              <a:solidFill>
                <a:schemeClr val="tx1">
                  <a:alpha val="12000"/>
                </a:schemeClr>
              </a:solidFill>
            </p:grpSpPr>
            <p:sp>
              <p:nvSpPr>
                <p:cNvPr id="123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48" name="Group 746"/>
              <p:cNvGrpSpPr/>
              <p:nvPr/>
            </p:nvGrpSpPr>
            <p:grpSpPr>
              <a:xfrm>
                <a:off x="10201492" y="5093639"/>
                <a:ext cx="348520" cy="470651"/>
                <a:chOff x="7011958" y="-48945"/>
                <a:chExt cx="557213" cy="752475"/>
              </a:xfrm>
              <a:solidFill>
                <a:schemeClr val="tx1">
                  <a:alpha val="7000"/>
                </a:schemeClr>
              </a:solidFill>
            </p:grpSpPr>
            <p:sp>
              <p:nvSpPr>
                <p:cNvPr id="123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49"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50"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51"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52"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753" name="Group 740"/>
              <p:cNvGrpSpPr/>
              <p:nvPr/>
            </p:nvGrpSpPr>
            <p:grpSpPr>
              <a:xfrm>
                <a:off x="11574305" y="5093639"/>
                <a:ext cx="348520" cy="470651"/>
                <a:chOff x="7011958" y="-48945"/>
                <a:chExt cx="557213" cy="752475"/>
              </a:xfrm>
              <a:solidFill>
                <a:schemeClr val="tx1">
                  <a:alpha val="12000"/>
                </a:schemeClr>
              </a:solidFill>
            </p:grpSpPr>
            <p:sp>
              <p:nvSpPr>
                <p:cNvPr id="122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54" name="Group 781"/>
              <p:cNvGrpSpPr/>
              <p:nvPr/>
            </p:nvGrpSpPr>
            <p:grpSpPr>
              <a:xfrm>
                <a:off x="6103830" y="4470631"/>
                <a:ext cx="612096" cy="486108"/>
                <a:chOff x="9258271" y="-45770"/>
                <a:chExt cx="925513" cy="735013"/>
              </a:xfrm>
              <a:solidFill>
                <a:schemeClr val="bg2">
                  <a:alpha val="38000"/>
                </a:schemeClr>
              </a:solidFill>
            </p:grpSpPr>
            <p:sp>
              <p:nvSpPr>
                <p:cNvPr id="121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55"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2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56"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57"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58"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759" name="Group 746"/>
              <p:cNvGrpSpPr/>
              <p:nvPr/>
            </p:nvGrpSpPr>
            <p:grpSpPr>
              <a:xfrm>
                <a:off x="8463837" y="4486088"/>
                <a:ext cx="348520" cy="470651"/>
                <a:chOff x="7011958" y="-48945"/>
                <a:chExt cx="557213" cy="752475"/>
              </a:xfrm>
              <a:solidFill>
                <a:schemeClr val="tx1">
                  <a:alpha val="7000"/>
                </a:schemeClr>
              </a:solidFill>
            </p:grpSpPr>
            <p:sp>
              <p:nvSpPr>
                <p:cNvPr id="12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60"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61"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62"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763"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19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64"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65"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66"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67"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768" name="Group 740"/>
              <p:cNvGrpSpPr/>
              <p:nvPr/>
            </p:nvGrpSpPr>
            <p:grpSpPr>
              <a:xfrm>
                <a:off x="10109715" y="4486088"/>
                <a:ext cx="348520" cy="470651"/>
                <a:chOff x="7011958" y="-48945"/>
                <a:chExt cx="557213" cy="752475"/>
              </a:xfrm>
              <a:solidFill>
                <a:schemeClr val="tx1">
                  <a:alpha val="12000"/>
                </a:schemeClr>
              </a:solidFill>
            </p:grpSpPr>
            <p:sp>
              <p:nvSpPr>
                <p:cNvPr id="11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69"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70"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71"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72"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73"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74"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75"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76"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77"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78"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79"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780" name="Group 746"/>
              <p:cNvGrpSpPr/>
              <p:nvPr/>
            </p:nvGrpSpPr>
            <p:grpSpPr>
              <a:xfrm>
                <a:off x="4493794" y="5093639"/>
                <a:ext cx="348520" cy="470651"/>
                <a:chOff x="7011958" y="-48945"/>
                <a:chExt cx="557213" cy="752475"/>
              </a:xfrm>
              <a:solidFill>
                <a:schemeClr val="tx1">
                  <a:alpha val="7000"/>
                </a:schemeClr>
              </a:solidFill>
            </p:grpSpPr>
            <p:sp>
              <p:nvSpPr>
                <p:cNvPr id="11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81"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82"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83"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784"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85"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86"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87"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88"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89"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90"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91"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92"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793" name="Group 740"/>
              <p:cNvGrpSpPr/>
              <p:nvPr/>
            </p:nvGrpSpPr>
            <p:grpSpPr>
              <a:xfrm>
                <a:off x="5035577" y="4486088"/>
                <a:ext cx="348520" cy="470651"/>
                <a:chOff x="7011958" y="-48945"/>
                <a:chExt cx="557213" cy="752475"/>
              </a:xfrm>
              <a:solidFill>
                <a:schemeClr val="tx1">
                  <a:alpha val="12000"/>
                </a:schemeClr>
              </a:solidFill>
            </p:grpSpPr>
            <p:sp>
              <p:nvSpPr>
                <p:cNvPr id="119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94"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95"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96"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97"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98"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99"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00"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01"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02"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03"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04"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05"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06"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07"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08"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09"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10"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11"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12"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13"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14"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15"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816" name="Group 740"/>
              <p:cNvGrpSpPr/>
              <p:nvPr/>
            </p:nvGrpSpPr>
            <p:grpSpPr>
              <a:xfrm>
                <a:off x="2168512" y="3806074"/>
                <a:ext cx="348520" cy="470651"/>
                <a:chOff x="7011958" y="-48945"/>
                <a:chExt cx="557213" cy="752475"/>
              </a:xfrm>
              <a:solidFill>
                <a:schemeClr val="tx1">
                  <a:alpha val="12000"/>
                </a:schemeClr>
              </a:solidFill>
            </p:grpSpPr>
            <p:sp>
              <p:nvSpPr>
                <p:cNvPr id="118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817" name="Group 746"/>
              <p:cNvGrpSpPr/>
              <p:nvPr/>
            </p:nvGrpSpPr>
            <p:grpSpPr>
              <a:xfrm>
                <a:off x="4585159" y="3806074"/>
                <a:ext cx="348520" cy="470651"/>
                <a:chOff x="7011958" y="-48945"/>
                <a:chExt cx="557213" cy="752475"/>
              </a:xfrm>
              <a:solidFill>
                <a:schemeClr val="tx1">
                  <a:alpha val="7000"/>
                </a:schemeClr>
              </a:solidFill>
            </p:grpSpPr>
            <p:sp>
              <p:nvSpPr>
                <p:cNvPr id="118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18"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19"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20"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21"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22"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23"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24"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25"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826" name="Group 740"/>
              <p:cNvGrpSpPr/>
              <p:nvPr/>
            </p:nvGrpSpPr>
            <p:grpSpPr>
              <a:xfrm>
                <a:off x="5956016" y="3806074"/>
                <a:ext cx="348520" cy="470651"/>
                <a:chOff x="7011958" y="-48945"/>
                <a:chExt cx="557213" cy="752475"/>
              </a:xfrm>
              <a:solidFill>
                <a:schemeClr val="tx1">
                  <a:alpha val="12000"/>
                </a:schemeClr>
              </a:solidFill>
            </p:grpSpPr>
            <p:sp>
              <p:nvSpPr>
                <p:cNvPr id="118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27"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28"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29"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30"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831" name="Group 746"/>
              <p:cNvGrpSpPr/>
              <p:nvPr/>
            </p:nvGrpSpPr>
            <p:grpSpPr>
              <a:xfrm>
                <a:off x="10770292" y="3806074"/>
                <a:ext cx="348520" cy="470651"/>
                <a:chOff x="7011958" y="-48945"/>
                <a:chExt cx="557213" cy="752475"/>
              </a:xfrm>
              <a:solidFill>
                <a:schemeClr val="tx1">
                  <a:alpha val="7000"/>
                </a:schemeClr>
              </a:solidFill>
            </p:grpSpPr>
            <p:sp>
              <p:nvSpPr>
                <p:cNvPr id="11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32"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33"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834" name="Group 781"/>
              <p:cNvGrpSpPr/>
              <p:nvPr/>
            </p:nvGrpSpPr>
            <p:grpSpPr>
              <a:xfrm>
                <a:off x="520986" y="3124431"/>
                <a:ext cx="612096" cy="486108"/>
                <a:chOff x="9258271" y="-45770"/>
                <a:chExt cx="925513" cy="735013"/>
              </a:xfrm>
              <a:solidFill>
                <a:schemeClr val="bg2">
                  <a:alpha val="38000"/>
                </a:schemeClr>
              </a:solidFill>
            </p:grpSpPr>
            <p:sp>
              <p:nvSpPr>
                <p:cNvPr id="11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35"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836"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16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37"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38"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39"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40"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41"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42"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43"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44"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45"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846" name="Group 740"/>
              <p:cNvGrpSpPr/>
              <p:nvPr/>
            </p:nvGrpSpPr>
            <p:grpSpPr>
              <a:xfrm>
                <a:off x="11335152" y="3139888"/>
                <a:ext cx="348520" cy="470651"/>
                <a:chOff x="7011958" y="-48945"/>
                <a:chExt cx="557213" cy="752475"/>
              </a:xfrm>
              <a:solidFill>
                <a:schemeClr val="tx1">
                  <a:alpha val="12000"/>
                </a:schemeClr>
              </a:solidFill>
            </p:grpSpPr>
            <p:sp>
              <p:nvSpPr>
                <p:cNvPr id="11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47"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48"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49"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50"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51"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52"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53"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54"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55"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56"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857" name="Group 746"/>
              <p:cNvGrpSpPr/>
              <p:nvPr/>
            </p:nvGrpSpPr>
            <p:grpSpPr>
              <a:xfrm>
                <a:off x="2877873" y="3139888"/>
                <a:ext cx="348520" cy="470651"/>
                <a:chOff x="7011958" y="-48945"/>
                <a:chExt cx="557213" cy="752475"/>
              </a:xfrm>
              <a:solidFill>
                <a:schemeClr val="tx1">
                  <a:alpha val="7000"/>
                </a:schemeClr>
              </a:solidFill>
            </p:grpSpPr>
            <p:sp>
              <p:nvSpPr>
                <p:cNvPr id="11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58"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59"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60"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861"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14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62"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63"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64"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65"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866" name="Group 740"/>
              <p:cNvGrpSpPr/>
              <p:nvPr/>
            </p:nvGrpSpPr>
            <p:grpSpPr>
              <a:xfrm>
                <a:off x="4520631" y="3139888"/>
                <a:ext cx="348520" cy="470651"/>
                <a:chOff x="7011958" y="-48945"/>
                <a:chExt cx="557213" cy="752475"/>
              </a:xfrm>
              <a:solidFill>
                <a:schemeClr val="tx1">
                  <a:alpha val="12000"/>
                </a:schemeClr>
              </a:solidFill>
            </p:grpSpPr>
            <p:sp>
              <p:nvSpPr>
                <p:cNvPr id="11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67"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68"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69"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70"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71"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72"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73"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74"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75"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76"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77"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78"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79"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80"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881" name="Group 740"/>
              <p:cNvGrpSpPr/>
              <p:nvPr/>
            </p:nvGrpSpPr>
            <p:grpSpPr>
              <a:xfrm>
                <a:off x="7807311" y="2515539"/>
                <a:ext cx="348520" cy="470651"/>
                <a:chOff x="7011958" y="-48945"/>
                <a:chExt cx="557213" cy="752475"/>
              </a:xfrm>
              <a:solidFill>
                <a:schemeClr val="tx1">
                  <a:alpha val="12000"/>
                </a:schemeClr>
              </a:solidFill>
            </p:grpSpPr>
            <p:sp>
              <p:nvSpPr>
                <p:cNvPr id="114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882" name="Group 746"/>
              <p:cNvGrpSpPr/>
              <p:nvPr/>
            </p:nvGrpSpPr>
            <p:grpSpPr>
              <a:xfrm>
                <a:off x="10226892" y="2515539"/>
                <a:ext cx="348520" cy="470651"/>
                <a:chOff x="7011958" y="-48945"/>
                <a:chExt cx="557213" cy="752475"/>
              </a:xfrm>
              <a:solidFill>
                <a:schemeClr val="tx1">
                  <a:alpha val="7000"/>
                </a:schemeClr>
              </a:solidFill>
            </p:grpSpPr>
            <p:sp>
              <p:nvSpPr>
                <p:cNvPr id="114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83"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84"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85"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86"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887" name="Group 740"/>
              <p:cNvGrpSpPr/>
              <p:nvPr/>
            </p:nvGrpSpPr>
            <p:grpSpPr>
              <a:xfrm>
                <a:off x="11599705" y="2515539"/>
                <a:ext cx="348520" cy="470651"/>
                <a:chOff x="7011958" y="-48945"/>
                <a:chExt cx="557213" cy="752475"/>
              </a:xfrm>
              <a:solidFill>
                <a:schemeClr val="tx1">
                  <a:alpha val="12000"/>
                </a:schemeClr>
              </a:solidFill>
            </p:grpSpPr>
            <p:sp>
              <p:nvSpPr>
                <p:cNvPr id="11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888" name="Group 781"/>
              <p:cNvGrpSpPr/>
              <p:nvPr/>
            </p:nvGrpSpPr>
            <p:grpSpPr>
              <a:xfrm>
                <a:off x="6129230" y="1892531"/>
                <a:ext cx="612096" cy="486108"/>
                <a:chOff x="9258271" y="-45770"/>
                <a:chExt cx="925513" cy="735013"/>
              </a:xfrm>
              <a:solidFill>
                <a:schemeClr val="bg2">
                  <a:alpha val="38000"/>
                </a:schemeClr>
              </a:solidFill>
            </p:grpSpPr>
            <p:sp>
              <p:nvSpPr>
                <p:cNvPr id="113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889"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12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90"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91"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92"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893" name="Group 746"/>
              <p:cNvGrpSpPr/>
              <p:nvPr/>
            </p:nvGrpSpPr>
            <p:grpSpPr>
              <a:xfrm>
                <a:off x="8489237" y="1907988"/>
                <a:ext cx="348520" cy="470651"/>
                <a:chOff x="7011958" y="-48945"/>
                <a:chExt cx="557213" cy="752475"/>
              </a:xfrm>
              <a:solidFill>
                <a:schemeClr val="tx1">
                  <a:alpha val="7000"/>
                </a:schemeClr>
              </a:solidFill>
            </p:grpSpPr>
            <p:sp>
              <p:nvSpPr>
                <p:cNvPr id="11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94"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95"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96"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897"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1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98"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99"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00"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01"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902" name="Group 740"/>
              <p:cNvGrpSpPr/>
              <p:nvPr/>
            </p:nvGrpSpPr>
            <p:grpSpPr>
              <a:xfrm>
                <a:off x="10135115" y="1907988"/>
                <a:ext cx="348520" cy="470651"/>
                <a:chOff x="7011958" y="-48945"/>
                <a:chExt cx="557213" cy="752475"/>
              </a:xfrm>
              <a:solidFill>
                <a:schemeClr val="tx1">
                  <a:alpha val="12000"/>
                </a:schemeClr>
              </a:solidFill>
            </p:grpSpPr>
            <p:sp>
              <p:nvSpPr>
                <p:cNvPr id="11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903"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04"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05"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06"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07"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08"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09"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10"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11"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12"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13"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914" name="Group 746"/>
              <p:cNvGrpSpPr/>
              <p:nvPr/>
            </p:nvGrpSpPr>
            <p:grpSpPr>
              <a:xfrm>
                <a:off x="4519194" y="2515539"/>
                <a:ext cx="348520" cy="470651"/>
                <a:chOff x="7011958" y="-48945"/>
                <a:chExt cx="557213" cy="752475"/>
              </a:xfrm>
              <a:solidFill>
                <a:schemeClr val="tx1">
                  <a:alpha val="7000"/>
                </a:schemeClr>
              </a:solidFill>
            </p:grpSpPr>
            <p:sp>
              <p:nvSpPr>
                <p:cNvPr id="11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915"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16"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17"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918"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19"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20"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21"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22"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23"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24"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25"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26"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927" name="Group 740"/>
              <p:cNvGrpSpPr/>
              <p:nvPr/>
            </p:nvGrpSpPr>
            <p:grpSpPr>
              <a:xfrm>
                <a:off x="5060977" y="1907988"/>
                <a:ext cx="348520" cy="470651"/>
                <a:chOff x="7011958" y="-48945"/>
                <a:chExt cx="557213" cy="752475"/>
              </a:xfrm>
              <a:solidFill>
                <a:schemeClr val="tx1">
                  <a:alpha val="12000"/>
                </a:schemeClr>
              </a:solidFill>
            </p:grpSpPr>
            <p:sp>
              <p:nvSpPr>
                <p:cNvPr id="110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928"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29"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30"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31"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32"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33"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34"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35"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36"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37"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38"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39"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40"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41"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42"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43"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44"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45"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46"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47"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48"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49"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950" name="Group 740"/>
              <p:cNvGrpSpPr/>
              <p:nvPr/>
            </p:nvGrpSpPr>
            <p:grpSpPr>
              <a:xfrm>
                <a:off x="7820011" y="1334439"/>
                <a:ext cx="348520" cy="470651"/>
                <a:chOff x="7011958" y="-48945"/>
                <a:chExt cx="557213" cy="752475"/>
              </a:xfrm>
              <a:solidFill>
                <a:schemeClr val="tx1">
                  <a:alpha val="12000"/>
                </a:schemeClr>
              </a:solidFill>
            </p:grpSpPr>
            <p:sp>
              <p:nvSpPr>
                <p:cNvPr id="110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51" name="Group 746"/>
              <p:cNvGrpSpPr/>
              <p:nvPr/>
            </p:nvGrpSpPr>
            <p:grpSpPr>
              <a:xfrm>
                <a:off x="10239592" y="1334439"/>
                <a:ext cx="348520" cy="470651"/>
                <a:chOff x="7011958" y="-48945"/>
                <a:chExt cx="557213" cy="752475"/>
              </a:xfrm>
              <a:solidFill>
                <a:schemeClr val="tx1">
                  <a:alpha val="7000"/>
                </a:schemeClr>
              </a:solidFill>
            </p:grpSpPr>
            <p:sp>
              <p:nvSpPr>
                <p:cNvPr id="10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952"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53"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54"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55"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956" name="Group 740"/>
              <p:cNvGrpSpPr/>
              <p:nvPr/>
            </p:nvGrpSpPr>
            <p:grpSpPr>
              <a:xfrm>
                <a:off x="11612405" y="1334439"/>
                <a:ext cx="348520" cy="470651"/>
                <a:chOff x="7011958" y="-48945"/>
                <a:chExt cx="557213" cy="752475"/>
              </a:xfrm>
              <a:solidFill>
                <a:schemeClr val="tx1">
                  <a:alpha val="12000"/>
                </a:schemeClr>
              </a:solidFill>
            </p:grpSpPr>
            <p:sp>
              <p:nvSpPr>
                <p:cNvPr id="10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57" name="Group 781"/>
              <p:cNvGrpSpPr/>
              <p:nvPr/>
            </p:nvGrpSpPr>
            <p:grpSpPr>
              <a:xfrm>
                <a:off x="6141930" y="711431"/>
                <a:ext cx="612096" cy="486108"/>
                <a:chOff x="9258271" y="-45770"/>
                <a:chExt cx="925513" cy="735013"/>
              </a:xfrm>
              <a:solidFill>
                <a:schemeClr val="bg2">
                  <a:alpha val="38000"/>
                </a:schemeClr>
              </a:solidFill>
            </p:grpSpPr>
            <p:sp>
              <p:nvSpPr>
                <p:cNvPr id="108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58"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07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959"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60"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61"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962" name="Group 746"/>
              <p:cNvGrpSpPr/>
              <p:nvPr/>
            </p:nvGrpSpPr>
            <p:grpSpPr>
              <a:xfrm>
                <a:off x="8501937" y="726888"/>
                <a:ext cx="348520" cy="470651"/>
                <a:chOff x="7011958" y="-48945"/>
                <a:chExt cx="557213" cy="752475"/>
              </a:xfrm>
              <a:solidFill>
                <a:schemeClr val="tx1">
                  <a:alpha val="7000"/>
                </a:schemeClr>
              </a:solidFill>
            </p:grpSpPr>
            <p:sp>
              <p:nvSpPr>
                <p:cNvPr id="10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963"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64"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65"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966"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06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967"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68"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69"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70"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971" name="Group 740"/>
              <p:cNvGrpSpPr/>
              <p:nvPr/>
            </p:nvGrpSpPr>
            <p:grpSpPr>
              <a:xfrm>
                <a:off x="10147815" y="726888"/>
                <a:ext cx="348520" cy="470651"/>
                <a:chOff x="7011958" y="-48945"/>
                <a:chExt cx="557213" cy="752475"/>
              </a:xfrm>
              <a:solidFill>
                <a:schemeClr val="tx1">
                  <a:alpha val="12000"/>
                </a:schemeClr>
              </a:solidFill>
            </p:grpSpPr>
            <p:sp>
              <p:nvSpPr>
                <p:cNvPr id="10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972"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73"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74"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75"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76"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77"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78"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79"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80"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81"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82"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983" name="Group 746"/>
              <p:cNvGrpSpPr/>
              <p:nvPr/>
            </p:nvGrpSpPr>
            <p:grpSpPr>
              <a:xfrm>
                <a:off x="4531894" y="1334439"/>
                <a:ext cx="348520" cy="470651"/>
                <a:chOff x="7011958" y="-48945"/>
                <a:chExt cx="557213" cy="752475"/>
              </a:xfrm>
              <a:solidFill>
                <a:schemeClr val="tx1">
                  <a:alpha val="7000"/>
                </a:schemeClr>
              </a:solidFill>
            </p:grpSpPr>
            <p:sp>
              <p:nvSpPr>
                <p:cNvPr id="10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984"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85"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86"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987"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88"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89"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90"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91"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92"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93"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94"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95"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996" name="Group 740"/>
              <p:cNvGrpSpPr/>
              <p:nvPr/>
            </p:nvGrpSpPr>
            <p:grpSpPr>
              <a:xfrm>
                <a:off x="5073677" y="726888"/>
                <a:ext cx="348520" cy="470651"/>
                <a:chOff x="7011958" y="-48945"/>
                <a:chExt cx="557213" cy="752475"/>
              </a:xfrm>
              <a:solidFill>
                <a:schemeClr val="tx1">
                  <a:alpha val="12000"/>
                </a:schemeClr>
              </a:solidFill>
            </p:grpSpPr>
            <p:sp>
              <p:nvSpPr>
                <p:cNvPr id="10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997"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98"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99"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00"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01"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02"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03"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04"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05"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06"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07"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08"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09"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10"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11"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12"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13"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14"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15"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16"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017" name="Group 740"/>
              <p:cNvGrpSpPr/>
              <p:nvPr/>
            </p:nvGrpSpPr>
            <p:grpSpPr>
              <a:xfrm>
                <a:off x="2206612" y="46874"/>
                <a:ext cx="348520" cy="470651"/>
                <a:chOff x="7011958" y="-48945"/>
                <a:chExt cx="557213" cy="752475"/>
              </a:xfrm>
              <a:solidFill>
                <a:schemeClr val="tx1">
                  <a:alpha val="12000"/>
                </a:schemeClr>
              </a:solidFill>
            </p:grpSpPr>
            <p:sp>
              <p:nvSpPr>
                <p:cNvPr id="10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018" name="Group 746"/>
              <p:cNvGrpSpPr/>
              <p:nvPr/>
            </p:nvGrpSpPr>
            <p:grpSpPr>
              <a:xfrm>
                <a:off x="4623259" y="46874"/>
                <a:ext cx="348520" cy="470651"/>
                <a:chOff x="7011958" y="-48945"/>
                <a:chExt cx="557213" cy="752475"/>
              </a:xfrm>
              <a:solidFill>
                <a:schemeClr val="tx1">
                  <a:alpha val="7000"/>
                </a:schemeClr>
              </a:solidFill>
            </p:grpSpPr>
            <p:sp>
              <p:nvSpPr>
                <p:cNvPr id="10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019"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20"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21"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22"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23"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24"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25"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26"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027" name="Group 740"/>
              <p:cNvGrpSpPr/>
              <p:nvPr/>
            </p:nvGrpSpPr>
            <p:grpSpPr>
              <a:xfrm>
                <a:off x="5994116" y="46874"/>
                <a:ext cx="348520" cy="470651"/>
                <a:chOff x="7011958" y="-48945"/>
                <a:chExt cx="557213" cy="752475"/>
              </a:xfrm>
              <a:solidFill>
                <a:schemeClr val="tx1">
                  <a:alpha val="12000"/>
                </a:schemeClr>
              </a:solidFill>
            </p:grpSpPr>
            <p:sp>
              <p:nvSpPr>
                <p:cNvPr id="10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028"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29"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30"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31"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032" name="Group 746"/>
              <p:cNvGrpSpPr/>
              <p:nvPr/>
            </p:nvGrpSpPr>
            <p:grpSpPr>
              <a:xfrm>
                <a:off x="10808392" y="46874"/>
                <a:ext cx="348520" cy="470651"/>
                <a:chOff x="7011958" y="-48945"/>
                <a:chExt cx="557213" cy="752475"/>
              </a:xfrm>
              <a:solidFill>
                <a:schemeClr val="tx1">
                  <a:alpha val="7000"/>
                </a:schemeClr>
              </a:solidFill>
            </p:grpSpPr>
            <p:sp>
              <p:nvSpPr>
                <p:cNvPr id="10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033"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34"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35"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036"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0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037"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38"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39"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40"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6" name="Group 1364"/>
            <p:cNvGrpSpPr>
              <a:grpSpLocks noChangeAspect="1"/>
            </p:cNvGrpSpPr>
            <p:nvPr/>
          </p:nvGrpSpPr>
          <p:grpSpPr>
            <a:xfrm>
              <a:off x="6225545" y="63500"/>
              <a:ext cx="6198230" cy="3429000"/>
              <a:chOff x="88900" y="16253"/>
              <a:chExt cx="12361342" cy="6838572"/>
            </a:xfrm>
          </p:grpSpPr>
          <p:sp>
            <p:nvSpPr>
              <p:cNvPr id="7"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5"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6"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7"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1"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2"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3"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4"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5"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2"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3"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4"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5"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46" name="Group 740"/>
              <p:cNvGrpSpPr/>
              <p:nvPr/>
            </p:nvGrpSpPr>
            <p:grpSpPr>
              <a:xfrm>
                <a:off x="2143125" y="6384174"/>
                <a:ext cx="348521" cy="470651"/>
                <a:chOff x="7011958" y="-48945"/>
                <a:chExt cx="557213" cy="752475"/>
              </a:xfrm>
              <a:solidFill>
                <a:schemeClr val="tx1">
                  <a:alpha val="12000"/>
                </a:schemeClr>
              </a:solidFill>
            </p:grpSpPr>
            <p:sp>
              <p:nvSpPr>
                <p:cNvPr id="6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7" name="Group 746"/>
              <p:cNvGrpSpPr/>
              <p:nvPr/>
            </p:nvGrpSpPr>
            <p:grpSpPr>
              <a:xfrm>
                <a:off x="4559772" y="6384174"/>
                <a:ext cx="348521" cy="470651"/>
                <a:chOff x="7011958" y="-48945"/>
                <a:chExt cx="557213" cy="752475"/>
              </a:xfrm>
              <a:solidFill>
                <a:schemeClr val="tx1">
                  <a:alpha val="7000"/>
                </a:schemeClr>
              </a:solidFill>
            </p:grpSpPr>
            <p:sp>
              <p:nvSpPr>
                <p:cNvPr id="6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8"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9"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0"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1"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2"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3"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4"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5"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56" name="Group 740"/>
              <p:cNvGrpSpPr/>
              <p:nvPr/>
            </p:nvGrpSpPr>
            <p:grpSpPr>
              <a:xfrm>
                <a:off x="5930629" y="6384174"/>
                <a:ext cx="348521" cy="470651"/>
                <a:chOff x="7011958" y="-48945"/>
                <a:chExt cx="557213" cy="752475"/>
              </a:xfrm>
              <a:solidFill>
                <a:schemeClr val="tx1">
                  <a:alpha val="12000"/>
                </a:schemeClr>
              </a:solidFill>
            </p:grpSpPr>
            <p:sp>
              <p:nvSpPr>
                <p:cNvPr id="63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7"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8"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9"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0"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61" name="Group 746"/>
              <p:cNvGrpSpPr/>
              <p:nvPr/>
            </p:nvGrpSpPr>
            <p:grpSpPr>
              <a:xfrm>
                <a:off x="10744905" y="6384174"/>
                <a:ext cx="348521" cy="470651"/>
                <a:chOff x="7011958" y="-48945"/>
                <a:chExt cx="557213" cy="752475"/>
              </a:xfrm>
              <a:solidFill>
                <a:schemeClr val="tx1">
                  <a:alpha val="7000"/>
                </a:schemeClr>
              </a:solidFill>
            </p:grpSpPr>
            <p:sp>
              <p:nvSpPr>
                <p:cNvPr id="6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2"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3"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64" name="Group 781"/>
              <p:cNvGrpSpPr/>
              <p:nvPr/>
            </p:nvGrpSpPr>
            <p:grpSpPr>
              <a:xfrm>
                <a:off x="520986" y="5766031"/>
                <a:ext cx="612096" cy="486108"/>
                <a:chOff x="9258271" y="-45770"/>
                <a:chExt cx="925513" cy="735013"/>
              </a:xfrm>
              <a:solidFill>
                <a:schemeClr val="bg2">
                  <a:alpha val="38000"/>
                </a:schemeClr>
              </a:solidFill>
            </p:grpSpPr>
            <p:sp>
              <p:nvSpPr>
                <p:cNvPr id="62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5"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66"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61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7"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8"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9"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0"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1"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2"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3"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4"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5"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76" name="Group 740"/>
              <p:cNvGrpSpPr/>
              <p:nvPr/>
            </p:nvGrpSpPr>
            <p:grpSpPr>
              <a:xfrm>
                <a:off x="11309765" y="5781488"/>
                <a:ext cx="348521" cy="470651"/>
                <a:chOff x="7011958" y="-48945"/>
                <a:chExt cx="557213" cy="752475"/>
              </a:xfrm>
              <a:solidFill>
                <a:schemeClr val="tx1">
                  <a:alpha val="12000"/>
                </a:schemeClr>
              </a:solidFill>
            </p:grpSpPr>
            <p:sp>
              <p:nvSpPr>
                <p:cNvPr id="61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7"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8"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9"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0"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1"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2"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3"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4"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5"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6"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87" name="Group 746"/>
              <p:cNvGrpSpPr/>
              <p:nvPr/>
            </p:nvGrpSpPr>
            <p:grpSpPr>
              <a:xfrm>
                <a:off x="2852486" y="5781488"/>
                <a:ext cx="348521" cy="470651"/>
                <a:chOff x="7011958" y="-48945"/>
                <a:chExt cx="557213" cy="752475"/>
              </a:xfrm>
              <a:solidFill>
                <a:schemeClr val="tx1">
                  <a:alpha val="7000"/>
                </a:schemeClr>
              </a:solidFill>
            </p:grpSpPr>
            <p:sp>
              <p:nvSpPr>
                <p:cNvPr id="6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8"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9"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0"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91"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60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92"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3"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4"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5"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96" name="Group 740"/>
              <p:cNvGrpSpPr/>
              <p:nvPr/>
            </p:nvGrpSpPr>
            <p:grpSpPr>
              <a:xfrm>
                <a:off x="4495244" y="5781488"/>
                <a:ext cx="348521" cy="470651"/>
                <a:chOff x="7011958" y="-48945"/>
                <a:chExt cx="557213" cy="752475"/>
              </a:xfrm>
              <a:solidFill>
                <a:schemeClr val="tx1">
                  <a:alpha val="12000"/>
                </a:schemeClr>
              </a:solidFill>
            </p:grpSpPr>
            <p:sp>
              <p:nvSpPr>
                <p:cNvPr id="5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97"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8"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9"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0"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1"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2"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3"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4"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5"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6"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7"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8"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9"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0"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11" name="Group 740"/>
              <p:cNvGrpSpPr/>
              <p:nvPr/>
            </p:nvGrpSpPr>
            <p:grpSpPr>
              <a:xfrm>
                <a:off x="7781924" y="5093639"/>
                <a:ext cx="348521" cy="470651"/>
                <a:chOff x="7011958" y="-48945"/>
                <a:chExt cx="557213" cy="752475"/>
              </a:xfrm>
              <a:solidFill>
                <a:schemeClr val="tx1">
                  <a:alpha val="12000"/>
                </a:schemeClr>
              </a:solidFill>
            </p:grpSpPr>
            <p:sp>
              <p:nvSpPr>
                <p:cNvPr id="5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12" name="Group 746"/>
              <p:cNvGrpSpPr/>
              <p:nvPr/>
            </p:nvGrpSpPr>
            <p:grpSpPr>
              <a:xfrm>
                <a:off x="10201505" y="5093639"/>
                <a:ext cx="348521" cy="470651"/>
                <a:chOff x="7011958" y="-48945"/>
                <a:chExt cx="557213" cy="752475"/>
              </a:xfrm>
              <a:solidFill>
                <a:schemeClr val="tx1">
                  <a:alpha val="7000"/>
                </a:schemeClr>
              </a:solidFill>
            </p:grpSpPr>
            <p:sp>
              <p:nvSpPr>
                <p:cNvPr id="5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13"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4"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5"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6"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17" name="Group 740"/>
              <p:cNvGrpSpPr/>
              <p:nvPr/>
            </p:nvGrpSpPr>
            <p:grpSpPr>
              <a:xfrm>
                <a:off x="11574318" y="5093639"/>
                <a:ext cx="348521" cy="470651"/>
                <a:chOff x="7011958" y="-48945"/>
                <a:chExt cx="557213" cy="752475"/>
              </a:xfrm>
              <a:solidFill>
                <a:schemeClr val="tx1">
                  <a:alpha val="12000"/>
                </a:schemeClr>
              </a:solidFill>
            </p:grpSpPr>
            <p:sp>
              <p:nvSpPr>
                <p:cNvPr id="5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18" name="Group 781"/>
              <p:cNvGrpSpPr/>
              <p:nvPr/>
            </p:nvGrpSpPr>
            <p:grpSpPr>
              <a:xfrm>
                <a:off x="6103830" y="4470631"/>
                <a:ext cx="612096" cy="486108"/>
                <a:chOff x="9258271" y="-45770"/>
                <a:chExt cx="925513" cy="735013"/>
              </a:xfrm>
              <a:solidFill>
                <a:schemeClr val="bg2">
                  <a:alpha val="38000"/>
                </a:schemeClr>
              </a:solidFill>
            </p:grpSpPr>
            <p:sp>
              <p:nvSpPr>
                <p:cNvPr id="58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19"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5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20"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1"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2"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23" name="Group 746"/>
              <p:cNvGrpSpPr/>
              <p:nvPr/>
            </p:nvGrpSpPr>
            <p:grpSpPr>
              <a:xfrm>
                <a:off x="8463850" y="4486088"/>
                <a:ext cx="348521" cy="470651"/>
                <a:chOff x="7011958" y="-48945"/>
                <a:chExt cx="557213" cy="752475"/>
              </a:xfrm>
              <a:solidFill>
                <a:schemeClr val="tx1">
                  <a:alpha val="7000"/>
                </a:schemeClr>
              </a:solidFill>
            </p:grpSpPr>
            <p:sp>
              <p:nvSpPr>
                <p:cNvPr id="5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24"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5"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6"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27"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5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28"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9"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0"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1"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32" name="Group 740"/>
              <p:cNvGrpSpPr/>
              <p:nvPr/>
            </p:nvGrpSpPr>
            <p:grpSpPr>
              <a:xfrm>
                <a:off x="10109728" y="4486088"/>
                <a:ext cx="348521" cy="470651"/>
                <a:chOff x="7011958" y="-48945"/>
                <a:chExt cx="557213" cy="752475"/>
              </a:xfrm>
              <a:solidFill>
                <a:schemeClr val="tx1">
                  <a:alpha val="12000"/>
                </a:schemeClr>
              </a:solidFill>
            </p:grpSpPr>
            <p:sp>
              <p:nvSpPr>
                <p:cNvPr id="5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33"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4"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5"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6"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7"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8"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9"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0"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1"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2"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3"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44" name="Group 746"/>
              <p:cNvGrpSpPr/>
              <p:nvPr/>
            </p:nvGrpSpPr>
            <p:grpSpPr>
              <a:xfrm>
                <a:off x="4493807" y="5093639"/>
                <a:ext cx="348521" cy="470651"/>
                <a:chOff x="7011958" y="-48945"/>
                <a:chExt cx="557213" cy="752475"/>
              </a:xfrm>
              <a:solidFill>
                <a:schemeClr val="tx1">
                  <a:alpha val="7000"/>
                </a:schemeClr>
              </a:solidFill>
            </p:grpSpPr>
            <p:sp>
              <p:nvSpPr>
                <p:cNvPr id="5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5"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6"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7"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48"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9"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0"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1"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2"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3"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4"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5"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6"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57" name="Group 740"/>
              <p:cNvGrpSpPr/>
              <p:nvPr/>
            </p:nvGrpSpPr>
            <p:grpSpPr>
              <a:xfrm>
                <a:off x="5035590" y="4486088"/>
                <a:ext cx="348521" cy="470651"/>
                <a:chOff x="7011958" y="-48945"/>
                <a:chExt cx="557213" cy="752475"/>
              </a:xfrm>
              <a:solidFill>
                <a:schemeClr val="tx1">
                  <a:alpha val="12000"/>
                </a:schemeClr>
              </a:solidFill>
            </p:grpSpPr>
            <p:sp>
              <p:nvSpPr>
                <p:cNvPr id="5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8"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9"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0"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1"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2"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3"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4"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5"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6"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7"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8"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9"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70"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1"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2"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3"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4"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5"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6"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7"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8"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9"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80" name="Group 740"/>
              <p:cNvGrpSpPr/>
              <p:nvPr/>
            </p:nvGrpSpPr>
            <p:grpSpPr>
              <a:xfrm>
                <a:off x="2168525" y="3806074"/>
                <a:ext cx="348521" cy="470651"/>
                <a:chOff x="7011958" y="-48945"/>
                <a:chExt cx="557213" cy="752475"/>
              </a:xfrm>
              <a:solidFill>
                <a:schemeClr val="tx1">
                  <a:alpha val="12000"/>
                </a:schemeClr>
              </a:solidFill>
            </p:grpSpPr>
            <p:sp>
              <p:nvSpPr>
                <p:cNvPr id="5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81" name="Group 746"/>
              <p:cNvGrpSpPr/>
              <p:nvPr/>
            </p:nvGrpSpPr>
            <p:grpSpPr>
              <a:xfrm>
                <a:off x="4585172" y="3806074"/>
                <a:ext cx="348521" cy="470651"/>
                <a:chOff x="7011958" y="-48945"/>
                <a:chExt cx="557213" cy="752475"/>
              </a:xfrm>
              <a:solidFill>
                <a:schemeClr val="tx1">
                  <a:alpha val="7000"/>
                </a:schemeClr>
              </a:solidFill>
            </p:grpSpPr>
            <p:sp>
              <p:nvSpPr>
                <p:cNvPr id="5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82"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3"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4"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5"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6"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7"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8"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9"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90" name="Group 740"/>
              <p:cNvGrpSpPr/>
              <p:nvPr/>
            </p:nvGrpSpPr>
            <p:grpSpPr>
              <a:xfrm>
                <a:off x="5956029" y="3806074"/>
                <a:ext cx="348521" cy="470651"/>
                <a:chOff x="7011958" y="-48945"/>
                <a:chExt cx="557213" cy="752475"/>
              </a:xfrm>
              <a:solidFill>
                <a:schemeClr val="tx1">
                  <a:alpha val="12000"/>
                </a:schemeClr>
              </a:solidFill>
            </p:grpSpPr>
            <p:sp>
              <p:nvSpPr>
                <p:cNvPr id="5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91"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2"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3"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4"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95" name="Group 746"/>
              <p:cNvGrpSpPr/>
              <p:nvPr/>
            </p:nvGrpSpPr>
            <p:grpSpPr>
              <a:xfrm>
                <a:off x="10770305" y="3806074"/>
                <a:ext cx="348521" cy="470651"/>
                <a:chOff x="7011958" y="-48945"/>
                <a:chExt cx="557213" cy="752475"/>
              </a:xfrm>
              <a:solidFill>
                <a:schemeClr val="tx1">
                  <a:alpha val="7000"/>
                </a:schemeClr>
              </a:solidFill>
            </p:grpSpPr>
            <p:sp>
              <p:nvSpPr>
                <p:cNvPr id="5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96"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7"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98" name="Group 781"/>
              <p:cNvGrpSpPr/>
              <p:nvPr/>
            </p:nvGrpSpPr>
            <p:grpSpPr>
              <a:xfrm>
                <a:off x="520986" y="3124431"/>
                <a:ext cx="612096" cy="486108"/>
                <a:chOff x="9258271" y="-45770"/>
                <a:chExt cx="925513" cy="735013"/>
              </a:xfrm>
              <a:solidFill>
                <a:schemeClr val="bg2">
                  <a:alpha val="38000"/>
                </a:schemeClr>
              </a:solidFill>
            </p:grpSpPr>
            <p:sp>
              <p:nvSpPr>
                <p:cNvPr id="5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99"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00"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52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01"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2"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3"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4"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5"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6"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7"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8"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9"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10" name="Group 740"/>
              <p:cNvGrpSpPr/>
              <p:nvPr/>
            </p:nvGrpSpPr>
            <p:grpSpPr>
              <a:xfrm>
                <a:off x="11335165" y="3139888"/>
                <a:ext cx="348521" cy="470651"/>
                <a:chOff x="7011958" y="-48945"/>
                <a:chExt cx="557213" cy="752475"/>
              </a:xfrm>
              <a:solidFill>
                <a:schemeClr val="tx1">
                  <a:alpha val="12000"/>
                </a:schemeClr>
              </a:solidFill>
            </p:grpSpPr>
            <p:sp>
              <p:nvSpPr>
                <p:cNvPr id="5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11"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2"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3"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4"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5"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6"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7"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8"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9"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0"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21" name="Group 746"/>
              <p:cNvGrpSpPr/>
              <p:nvPr/>
            </p:nvGrpSpPr>
            <p:grpSpPr>
              <a:xfrm>
                <a:off x="2877886" y="3139888"/>
                <a:ext cx="348521" cy="470651"/>
                <a:chOff x="7011958" y="-48945"/>
                <a:chExt cx="557213" cy="752475"/>
              </a:xfrm>
              <a:solidFill>
                <a:schemeClr val="tx1">
                  <a:alpha val="7000"/>
                </a:schemeClr>
              </a:solidFill>
            </p:grpSpPr>
            <p:sp>
              <p:nvSpPr>
                <p:cNvPr id="5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22"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3"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4"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25"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51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26"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7"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8"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9"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30" name="Group 740"/>
              <p:cNvGrpSpPr/>
              <p:nvPr/>
            </p:nvGrpSpPr>
            <p:grpSpPr>
              <a:xfrm>
                <a:off x="4520644" y="3139888"/>
                <a:ext cx="348521" cy="470651"/>
                <a:chOff x="7011958" y="-48945"/>
                <a:chExt cx="557213" cy="752475"/>
              </a:xfrm>
              <a:solidFill>
                <a:schemeClr val="tx1">
                  <a:alpha val="12000"/>
                </a:schemeClr>
              </a:solidFill>
            </p:grpSpPr>
            <p:sp>
              <p:nvSpPr>
                <p:cNvPr id="5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31"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2"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3"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4"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5"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6"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7"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8"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9"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0"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1"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2"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3"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4"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45" name="Group 740"/>
              <p:cNvGrpSpPr/>
              <p:nvPr/>
            </p:nvGrpSpPr>
            <p:grpSpPr>
              <a:xfrm>
                <a:off x="7807324" y="2515539"/>
                <a:ext cx="348521" cy="470651"/>
                <a:chOff x="7011958" y="-48945"/>
                <a:chExt cx="557213" cy="752475"/>
              </a:xfrm>
              <a:solidFill>
                <a:schemeClr val="tx1">
                  <a:alpha val="12000"/>
                </a:schemeClr>
              </a:solidFill>
            </p:grpSpPr>
            <p:sp>
              <p:nvSpPr>
                <p:cNvPr id="50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46" name="Group 746"/>
              <p:cNvGrpSpPr/>
              <p:nvPr/>
            </p:nvGrpSpPr>
            <p:grpSpPr>
              <a:xfrm>
                <a:off x="10226905" y="2515539"/>
                <a:ext cx="348521" cy="470651"/>
                <a:chOff x="7011958" y="-48945"/>
                <a:chExt cx="557213" cy="752475"/>
              </a:xfrm>
              <a:solidFill>
                <a:schemeClr val="tx1">
                  <a:alpha val="7000"/>
                </a:schemeClr>
              </a:solidFill>
            </p:grpSpPr>
            <p:sp>
              <p:nvSpPr>
                <p:cNvPr id="5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47"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8"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9"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50"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51" name="Group 740"/>
              <p:cNvGrpSpPr/>
              <p:nvPr/>
            </p:nvGrpSpPr>
            <p:grpSpPr>
              <a:xfrm>
                <a:off x="11599718" y="2515539"/>
                <a:ext cx="348521" cy="470651"/>
                <a:chOff x="7011958" y="-48945"/>
                <a:chExt cx="557213" cy="752475"/>
              </a:xfrm>
              <a:solidFill>
                <a:schemeClr val="tx1">
                  <a:alpha val="12000"/>
                </a:schemeClr>
              </a:solidFill>
            </p:grpSpPr>
            <p:sp>
              <p:nvSpPr>
                <p:cNvPr id="5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52" name="Group 781"/>
              <p:cNvGrpSpPr/>
              <p:nvPr/>
            </p:nvGrpSpPr>
            <p:grpSpPr>
              <a:xfrm>
                <a:off x="6129230" y="1892531"/>
                <a:ext cx="612096" cy="486108"/>
                <a:chOff x="9258271" y="-45770"/>
                <a:chExt cx="925513" cy="735013"/>
              </a:xfrm>
              <a:solidFill>
                <a:schemeClr val="bg2">
                  <a:alpha val="38000"/>
                </a:schemeClr>
              </a:solidFill>
            </p:grpSpPr>
            <p:sp>
              <p:nvSpPr>
                <p:cNvPr id="49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53"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48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54"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55"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56"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57" name="Group 746"/>
              <p:cNvGrpSpPr/>
              <p:nvPr/>
            </p:nvGrpSpPr>
            <p:grpSpPr>
              <a:xfrm>
                <a:off x="8489250" y="1907988"/>
                <a:ext cx="348521" cy="470651"/>
                <a:chOff x="7011958" y="-48945"/>
                <a:chExt cx="557213" cy="752475"/>
              </a:xfrm>
              <a:solidFill>
                <a:schemeClr val="tx1">
                  <a:alpha val="7000"/>
                </a:schemeClr>
              </a:solidFill>
            </p:grpSpPr>
            <p:sp>
              <p:nvSpPr>
                <p:cNvPr id="4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58"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59"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60"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61"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4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62"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63"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64"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65"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66" name="Group 740"/>
              <p:cNvGrpSpPr/>
              <p:nvPr/>
            </p:nvGrpSpPr>
            <p:grpSpPr>
              <a:xfrm>
                <a:off x="10135128" y="1907988"/>
                <a:ext cx="348521" cy="470651"/>
                <a:chOff x="7011958" y="-48945"/>
                <a:chExt cx="557213" cy="752475"/>
              </a:xfrm>
              <a:solidFill>
                <a:schemeClr val="tx1">
                  <a:alpha val="12000"/>
                </a:schemeClr>
              </a:solidFill>
            </p:grpSpPr>
            <p:sp>
              <p:nvSpPr>
                <p:cNvPr id="4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67"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68"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69"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70"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71"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72"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73"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74"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75"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76"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77"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78" name="Group 746"/>
              <p:cNvGrpSpPr/>
              <p:nvPr/>
            </p:nvGrpSpPr>
            <p:grpSpPr>
              <a:xfrm>
                <a:off x="4519207" y="2515539"/>
                <a:ext cx="348521" cy="470651"/>
                <a:chOff x="7011958" y="-48945"/>
                <a:chExt cx="557213" cy="752475"/>
              </a:xfrm>
              <a:solidFill>
                <a:schemeClr val="tx1">
                  <a:alpha val="7000"/>
                </a:schemeClr>
              </a:solidFill>
            </p:grpSpPr>
            <p:sp>
              <p:nvSpPr>
                <p:cNvPr id="46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79"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0"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1"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82"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3"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4"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5"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6"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7"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8"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9"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0"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91" name="Group 740"/>
              <p:cNvGrpSpPr/>
              <p:nvPr/>
            </p:nvGrpSpPr>
            <p:grpSpPr>
              <a:xfrm>
                <a:off x="5060990" y="1907988"/>
                <a:ext cx="348521" cy="470651"/>
                <a:chOff x="7011958" y="-48945"/>
                <a:chExt cx="557213" cy="752475"/>
              </a:xfrm>
              <a:solidFill>
                <a:schemeClr val="tx1">
                  <a:alpha val="12000"/>
                </a:schemeClr>
              </a:solidFill>
            </p:grpSpPr>
            <p:sp>
              <p:nvSpPr>
                <p:cNvPr id="46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92"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3"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4"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5"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6"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7"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8"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9"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0"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1"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2"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3"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4"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5"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6"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7"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8"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9"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10"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11"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12"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13"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314" name="Group 740"/>
              <p:cNvGrpSpPr/>
              <p:nvPr/>
            </p:nvGrpSpPr>
            <p:grpSpPr>
              <a:xfrm>
                <a:off x="7820024" y="1334439"/>
                <a:ext cx="348521" cy="470651"/>
                <a:chOff x="7011958" y="-48945"/>
                <a:chExt cx="557213" cy="752475"/>
              </a:xfrm>
              <a:solidFill>
                <a:schemeClr val="tx1">
                  <a:alpha val="12000"/>
                </a:schemeClr>
              </a:solidFill>
            </p:grpSpPr>
            <p:sp>
              <p:nvSpPr>
                <p:cNvPr id="46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15" name="Group 746"/>
              <p:cNvGrpSpPr/>
              <p:nvPr/>
            </p:nvGrpSpPr>
            <p:grpSpPr>
              <a:xfrm>
                <a:off x="10239605" y="1334439"/>
                <a:ext cx="348521" cy="470651"/>
                <a:chOff x="7011958" y="-48945"/>
                <a:chExt cx="557213" cy="752475"/>
              </a:xfrm>
              <a:solidFill>
                <a:schemeClr val="tx1">
                  <a:alpha val="7000"/>
                </a:schemeClr>
              </a:solidFill>
            </p:grpSpPr>
            <p:sp>
              <p:nvSpPr>
                <p:cNvPr id="4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16"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17"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18"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19"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320" name="Group 740"/>
              <p:cNvGrpSpPr/>
              <p:nvPr/>
            </p:nvGrpSpPr>
            <p:grpSpPr>
              <a:xfrm>
                <a:off x="11612418" y="1334439"/>
                <a:ext cx="348521" cy="470651"/>
                <a:chOff x="7011958" y="-48945"/>
                <a:chExt cx="557213" cy="752475"/>
              </a:xfrm>
              <a:solidFill>
                <a:schemeClr val="tx1">
                  <a:alpha val="12000"/>
                </a:schemeClr>
              </a:solidFill>
            </p:grpSpPr>
            <p:sp>
              <p:nvSpPr>
                <p:cNvPr id="4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21" name="Group 781"/>
              <p:cNvGrpSpPr/>
              <p:nvPr/>
            </p:nvGrpSpPr>
            <p:grpSpPr>
              <a:xfrm>
                <a:off x="6141930" y="711431"/>
                <a:ext cx="612096" cy="486108"/>
                <a:chOff x="9258271" y="-45770"/>
                <a:chExt cx="925513" cy="735013"/>
              </a:xfrm>
              <a:solidFill>
                <a:schemeClr val="bg2">
                  <a:alpha val="38000"/>
                </a:schemeClr>
              </a:solidFill>
            </p:grpSpPr>
            <p:sp>
              <p:nvSpPr>
                <p:cNvPr id="4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22"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4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23"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24"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25"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326" name="Group 746"/>
              <p:cNvGrpSpPr/>
              <p:nvPr/>
            </p:nvGrpSpPr>
            <p:grpSpPr>
              <a:xfrm>
                <a:off x="8501950" y="726888"/>
                <a:ext cx="348521" cy="470651"/>
                <a:chOff x="7011958" y="-48945"/>
                <a:chExt cx="557213" cy="752475"/>
              </a:xfrm>
              <a:solidFill>
                <a:schemeClr val="tx1">
                  <a:alpha val="7000"/>
                </a:schemeClr>
              </a:solidFill>
            </p:grpSpPr>
            <p:sp>
              <p:nvSpPr>
                <p:cNvPr id="4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27"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28"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29"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330"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42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31"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32"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33"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34"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335" name="Group 740"/>
              <p:cNvGrpSpPr/>
              <p:nvPr/>
            </p:nvGrpSpPr>
            <p:grpSpPr>
              <a:xfrm>
                <a:off x="10147828" y="726888"/>
                <a:ext cx="348521" cy="470651"/>
                <a:chOff x="7011958" y="-48945"/>
                <a:chExt cx="557213" cy="752475"/>
              </a:xfrm>
              <a:solidFill>
                <a:schemeClr val="tx1">
                  <a:alpha val="12000"/>
                </a:schemeClr>
              </a:solidFill>
            </p:grpSpPr>
            <p:sp>
              <p:nvSpPr>
                <p:cNvPr id="42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36"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37"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38"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39"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40"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41"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42"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43"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44"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45"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46"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347" name="Group 746"/>
              <p:cNvGrpSpPr/>
              <p:nvPr/>
            </p:nvGrpSpPr>
            <p:grpSpPr>
              <a:xfrm>
                <a:off x="4531907" y="1334439"/>
                <a:ext cx="348521" cy="470651"/>
                <a:chOff x="7011958" y="-48945"/>
                <a:chExt cx="557213" cy="752475"/>
              </a:xfrm>
              <a:solidFill>
                <a:schemeClr val="tx1">
                  <a:alpha val="7000"/>
                </a:schemeClr>
              </a:solidFill>
            </p:grpSpPr>
            <p:sp>
              <p:nvSpPr>
                <p:cNvPr id="4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48"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49"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50"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51"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52"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53"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54"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55"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56"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57"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58"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59"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360" name="Group 740"/>
              <p:cNvGrpSpPr/>
              <p:nvPr/>
            </p:nvGrpSpPr>
            <p:grpSpPr>
              <a:xfrm>
                <a:off x="5073690" y="726888"/>
                <a:ext cx="348521" cy="470651"/>
                <a:chOff x="7011958" y="-48945"/>
                <a:chExt cx="557213" cy="752475"/>
              </a:xfrm>
              <a:solidFill>
                <a:schemeClr val="tx1">
                  <a:alpha val="12000"/>
                </a:schemeClr>
              </a:solidFill>
            </p:grpSpPr>
            <p:sp>
              <p:nvSpPr>
                <p:cNvPr id="4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61"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2"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3"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4"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5"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6"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7"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8"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9"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0"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1"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2"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3"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4"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5"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6"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7"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8"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9"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0"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381" name="Group 740"/>
              <p:cNvGrpSpPr/>
              <p:nvPr/>
            </p:nvGrpSpPr>
            <p:grpSpPr>
              <a:xfrm>
                <a:off x="2206625" y="46874"/>
                <a:ext cx="348521" cy="470651"/>
                <a:chOff x="7011958" y="-48945"/>
                <a:chExt cx="557213" cy="752475"/>
              </a:xfrm>
              <a:solidFill>
                <a:schemeClr val="tx1">
                  <a:alpha val="12000"/>
                </a:schemeClr>
              </a:solidFill>
            </p:grpSpPr>
            <p:sp>
              <p:nvSpPr>
                <p:cNvPr id="42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82" name="Group 746"/>
              <p:cNvGrpSpPr/>
              <p:nvPr/>
            </p:nvGrpSpPr>
            <p:grpSpPr>
              <a:xfrm>
                <a:off x="4623272" y="46874"/>
                <a:ext cx="348521" cy="470651"/>
                <a:chOff x="7011958" y="-48945"/>
                <a:chExt cx="557213" cy="752475"/>
              </a:xfrm>
              <a:solidFill>
                <a:schemeClr val="tx1">
                  <a:alpha val="7000"/>
                </a:schemeClr>
              </a:solidFill>
            </p:grpSpPr>
            <p:sp>
              <p:nvSpPr>
                <p:cNvPr id="4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83"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4"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5"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6"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7"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8"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9"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0"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391" name="Group 740"/>
              <p:cNvGrpSpPr/>
              <p:nvPr/>
            </p:nvGrpSpPr>
            <p:grpSpPr>
              <a:xfrm>
                <a:off x="5994129" y="46874"/>
                <a:ext cx="348521" cy="470651"/>
                <a:chOff x="7011958" y="-48945"/>
                <a:chExt cx="557213" cy="752475"/>
              </a:xfrm>
              <a:solidFill>
                <a:schemeClr val="tx1">
                  <a:alpha val="12000"/>
                </a:schemeClr>
              </a:solidFill>
            </p:grpSpPr>
            <p:sp>
              <p:nvSpPr>
                <p:cNvPr id="41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92"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3"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4"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5"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396" name="Group 746"/>
              <p:cNvGrpSpPr/>
              <p:nvPr/>
            </p:nvGrpSpPr>
            <p:grpSpPr>
              <a:xfrm>
                <a:off x="10808405" y="46874"/>
                <a:ext cx="348521" cy="470651"/>
                <a:chOff x="7011958" y="-48945"/>
                <a:chExt cx="557213" cy="752475"/>
              </a:xfrm>
              <a:solidFill>
                <a:schemeClr val="tx1">
                  <a:alpha val="7000"/>
                </a:schemeClr>
              </a:solidFill>
            </p:grpSpPr>
            <p:sp>
              <p:nvSpPr>
                <p:cNvPr id="41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97"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8"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9"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400"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40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01"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2"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3"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4"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grpSp>
        <p:nvGrpSpPr>
          <p:cNvPr id="1279" name="Group 2440"/>
          <p:cNvGrpSpPr/>
          <p:nvPr userDrawn="1"/>
        </p:nvGrpSpPr>
        <p:grpSpPr>
          <a:xfrm>
            <a:off x="88900" y="3514725"/>
            <a:ext cx="12348642" cy="3429000"/>
            <a:chOff x="75133" y="63500"/>
            <a:chExt cx="12348642" cy="3429000"/>
          </a:xfrm>
        </p:grpSpPr>
        <p:grpSp>
          <p:nvGrpSpPr>
            <p:cNvPr id="1280" name="Group 1364"/>
            <p:cNvGrpSpPr>
              <a:grpSpLocks noChangeAspect="1"/>
            </p:cNvGrpSpPr>
            <p:nvPr/>
          </p:nvGrpSpPr>
          <p:grpSpPr>
            <a:xfrm>
              <a:off x="75133" y="63500"/>
              <a:ext cx="6198188" cy="3428988"/>
              <a:chOff x="88900" y="16253"/>
              <a:chExt cx="12361342" cy="6838572"/>
            </a:xfrm>
          </p:grpSpPr>
          <p:sp>
            <p:nvSpPr>
              <p:cNvPr id="1918"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19"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20"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21"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22"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23"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24"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25"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26"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27"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28"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29"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30"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31"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32"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33"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34"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35"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36"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37"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38"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39"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40"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41"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42"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43"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44"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45"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46"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47"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48"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49"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50"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51"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52"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53"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54"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55"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56"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957" name="Group 740"/>
              <p:cNvGrpSpPr/>
              <p:nvPr/>
            </p:nvGrpSpPr>
            <p:grpSpPr>
              <a:xfrm>
                <a:off x="2143125" y="6384174"/>
                <a:ext cx="348521" cy="470651"/>
                <a:chOff x="7011958" y="-48945"/>
                <a:chExt cx="557213" cy="752475"/>
              </a:xfrm>
              <a:solidFill>
                <a:schemeClr val="tx1">
                  <a:alpha val="12000"/>
                </a:schemeClr>
              </a:solidFill>
            </p:grpSpPr>
            <p:sp>
              <p:nvSpPr>
                <p:cNvPr id="255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5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958" name="Group 746"/>
              <p:cNvGrpSpPr/>
              <p:nvPr/>
            </p:nvGrpSpPr>
            <p:grpSpPr>
              <a:xfrm>
                <a:off x="4559772" y="6384174"/>
                <a:ext cx="348521" cy="470651"/>
                <a:chOff x="7011958" y="-48945"/>
                <a:chExt cx="557213" cy="752475"/>
              </a:xfrm>
              <a:solidFill>
                <a:schemeClr val="tx1">
                  <a:alpha val="7000"/>
                </a:schemeClr>
              </a:solidFill>
            </p:grpSpPr>
            <p:sp>
              <p:nvSpPr>
                <p:cNvPr id="25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959"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60"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61"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62"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63"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64"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65"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66"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967" name="Group 740"/>
              <p:cNvGrpSpPr/>
              <p:nvPr/>
            </p:nvGrpSpPr>
            <p:grpSpPr>
              <a:xfrm>
                <a:off x="5930629" y="6384174"/>
                <a:ext cx="348521" cy="470651"/>
                <a:chOff x="7011958" y="-48945"/>
                <a:chExt cx="557213" cy="752475"/>
              </a:xfrm>
              <a:solidFill>
                <a:schemeClr val="tx1">
                  <a:alpha val="12000"/>
                </a:schemeClr>
              </a:solidFill>
            </p:grpSpPr>
            <p:sp>
              <p:nvSpPr>
                <p:cNvPr id="254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4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968"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69"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70"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71"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972" name="Group 746"/>
              <p:cNvGrpSpPr/>
              <p:nvPr/>
            </p:nvGrpSpPr>
            <p:grpSpPr>
              <a:xfrm>
                <a:off x="10744905" y="6384174"/>
                <a:ext cx="348521" cy="470651"/>
                <a:chOff x="7011958" y="-48945"/>
                <a:chExt cx="557213" cy="752475"/>
              </a:xfrm>
              <a:solidFill>
                <a:schemeClr val="tx1">
                  <a:alpha val="7000"/>
                </a:schemeClr>
              </a:solidFill>
            </p:grpSpPr>
            <p:sp>
              <p:nvSpPr>
                <p:cNvPr id="25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973"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74"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975" name="Group 781"/>
              <p:cNvGrpSpPr/>
              <p:nvPr/>
            </p:nvGrpSpPr>
            <p:grpSpPr>
              <a:xfrm>
                <a:off x="520986" y="5766031"/>
                <a:ext cx="612096" cy="486108"/>
                <a:chOff x="9258271" y="-45770"/>
                <a:chExt cx="925513" cy="735013"/>
              </a:xfrm>
              <a:solidFill>
                <a:schemeClr val="bg2">
                  <a:alpha val="38000"/>
                </a:schemeClr>
              </a:solidFill>
            </p:grpSpPr>
            <p:sp>
              <p:nvSpPr>
                <p:cNvPr id="25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976"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977"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25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978"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79"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80"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81"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82"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83"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84"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85"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86"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987" name="Group 740"/>
              <p:cNvGrpSpPr/>
              <p:nvPr/>
            </p:nvGrpSpPr>
            <p:grpSpPr>
              <a:xfrm>
                <a:off x="11309765" y="5781488"/>
                <a:ext cx="348521" cy="470651"/>
                <a:chOff x="7011958" y="-48945"/>
                <a:chExt cx="557213" cy="752475"/>
              </a:xfrm>
              <a:solidFill>
                <a:schemeClr val="tx1">
                  <a:alpha val="12000"/>
                </a:schemeClr>
              </a:solidFill>
            </p:grpSpPr>
            <p:sp>
              <p:nvSpPr>
                <p:cNvPr id="25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988"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89"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90"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91"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92"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93"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94"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95"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96"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97"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998" name="Group 746"/>
              <p:cNvGrpSpPr/>
              <p:nvPr/>
            </p:nvGrpSpPr>
            <p:grpSpPr>
              <a:xfrm>
                <a:off x="2852486" y="5781488"/>
                <a:ext cx="348521" cy="470651"/>
                <a:chOff x="7011958" y="-48945"/>
                <a:chExt cx="557213" cy="752475"/>
              </a:xfrm>
              <a:solidFill>
                <a:schemeClr val="tx1">
                  <a:alpha val="7000"/>
                </a:schemeClr>
              </a:solidFill>
            </p:grpSpPr>
            <p:sp>
              <p:nvSpPr>
                <p:cNvPr id="25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999"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00"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01"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002"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25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003"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04"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05"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06"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007" name="Group 740"/>
              <p:cNvGrpSpPr/>
              <p:nvPr/>
            </p:nvGrpSpPr>
            <p:grpSpPr>
              <a:xfrm>
                <a:off x="4495244" y="5781488"/>
                <a:ext cx="348521" cy="470651"/>
                <a:chOff x="7011958" y="-48945"/>
                <a:chExt cx="557213" cy="752475"/>
              </a:xfrm>
              <a:solidFill>
                <a:schemeClr val="tx1">
                  <a:alpha val="12000"/>
                </a:schemeClr>
              </a:solidFill>
            </p:grpSpPr>
            <p:sp>
              <p:nvSpPr>
                <p:cNvPr id="25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008"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09"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10"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11"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12"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13"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14"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15"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16"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17"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18"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19"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20"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21"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022" name="Group 740"/>
              <p:cNvGrpSpPr/>
              <p:nvPr/>
            </p:nvGrpSpPr>
            <p:grpSpPr>
              <a:xfrm>
                <a:off x="7781924" y="5093639"/>
                <a:ext cx="348521" cy="470651"/>
                <a:chOff x="7011958" y="-48945"/>
                <a:chExt cx="557213" cy="752475"/>
              </a:xfrm>
              <a:solidFill>
                <a:schemeClr val="tx1">
                  <a:alpha val="12000"/>
                </a:schemeClr>
              </a:solidFill>
            </p:grpSpPr>
            <p:sp>
              <p:nvSpPr>
                <p:cNvPr id="250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0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023" name="Group 746"/>
              <p:cNvGrpSpPr/>
              <p:nvPr/>
            </p:nvGrpSpPr>
            <p:grpSpPr>
              <a:xfrm>
                <a:off x="10201505" y="5093639"/>
                <a:ext cx="348521" cy="470651"/>
                <a:chOff x="7011958" y="-48945"/>
                <a:chExt cx="557213" cy="752475"/>
              </a:xfrm>
              <a:solidFill>
                <a:schemeClr val="tx1">
                  <a:alpha val="7000"/>
                </a:schemeClr>
              </a:solidFill>
            </p:grpSpPr>
            <p:sp>
              <p:nvSpPr>
                <p:cNvPr id="250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0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024"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25"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26"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27"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028" name="Group 740"/>
              <p:cNvGrpSpPr/>
              <p:nvPr/>
            </p:nvGrpSpPr>
            <p:grpSpPr>
              <a:xfrm>
                <a:off x="11574318" y="5093639"/>
                <a:ext cx="348521" cy="470651"/>
                <a:chOff x="7011958" y="-48945"/>
                <a:chExt cx="557213" cy="752475"/>
              </a:xfrm>
              <a:solidFill>
                <a:schemeClr val="tx1">
                  <a:alpha val="12000"/>
                </a:schemeClr>
              </a:solidFill>
            </p:grpSpPr>
            <p:sp>
              <p:nvSpPr>
                <p:cNvPr id="250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0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029" name="Group 781"/>
              <p:cNvGrpSpPr/>
              <p:nvPr/>
            </p:nvGrpSpPr>
            <p:grpSpPr>
              <a:xfrm>
                <a:off x="6103830" y="4470631"/>
                <a:ext cx="612096" cy="486108"/>
                <a:chOff x="9258271" y="-45770"/>
                <a:chExt cx="925513" cy="735013"/>
              </a:xfrm>
              <a:solidFill>
                <a:schemeClr val="bg2">
                  <a:alpha val="38000"/>
                </a:schemeClr>
              </a:solidFill>
            </p:grpSpPr>
            <p:sp>
              <p:nvSpPr>
                <p:cNvPr id="249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0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0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0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0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030"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24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031"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32"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33"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034" name="Group 746"/>
              <p:cNvGrpSpPr/>
              <p:nvPr/>
            </p:nvGrpSpPr>
            <p:grpSpPr>
              <a:xfrm>
                <a:off x="8463850" y="4486088"/>
                <a:ext cx="348521" cy="470651"/>
                <a:chOff x="7011958" y="-48945"/>
                <a:chExt cx="557213" cy="752475"/>
              </a:xfrm>
              <a:solidFill>
                <a:schemeClr val="tx1">
                  <a:alpha val="7000"/>
                </a:schemeClr>
              </a:solidFill>
            </p:grpSpPr>
            <p:sp>
              <p:nvSpPr>
                <p:cNvPr id="24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035"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36"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37"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038"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247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039"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40"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41"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42"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043" name="Group 740"/>
              <p:cNvGrpSpPr/>
              <p:nvPr/>
            </p:nvGrpSpPr>
            <p:grpSpPr>
              <a:xfrm>
                <a:off x="10109728" y="4486088"/>
                <a:ext cx="348521" cy="470651"/>
                <a:chOff x="7011958" y="-48945"/>
                <a:chExt cx="557213" cy="752475"/>
              </a:xfrm>
              <a:solidFill>
                <a:schemeClr val="tx1">
                  <a:alpha val="12000"/>
                </a:schemeClr>
              </a:solidFill>
            </p:grpSpPr>
            <p:sp>
              <p:nvSpPr>
                <p:cNvPr id="24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044"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45"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46"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47"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48"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49"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50"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51"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52"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53"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54"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055" name="Group 746"/>
              <p:cNvGrpSpPr/>
              <p:nvPr/>
            </p:nvGrpSpPr>
            <p:grpSpPr>
              <a:xfrm>
                <a:off x="4493807" y="5093639"/>
                <a:ext cx="348521" cy="470651"/>
                <a:chOff x="7011958" y="-48945"/>
                <a:chExt cx="557213" cy="752475"/>
              </a:xfrm>
              <a:solidFill>
                <a:schemeClr val="tx1">
                  <a:alpha val="7000"/>
                </a:schemeClr>
              </a:solidFill>
            </p:grpSpPr>
            <p:sp>
              <p:nvSpPr>
                <p:cNvPr id="2468" name="Freeform 2467"/>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69" name="Freeform 2468"/>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056"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57"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58"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059"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60"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61"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62"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63"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64"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65"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66"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67"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068" name="Group 740"/>
              <p:cNvGrpSpPr/>
              <p:nvPr/>
            </p:nvGrpSpPr>
            <p:grpSpPr>
              <a:xfrm>
                <a:off x="5035590" y="4486088"/>
                <a:ext cx="348521" cy="470651"/>
                <a:chOff x="7011958" y="-48945"/>
                <a:chExt cx="557213" cy="752475"/>
              </a:xfrm>
              <a:solidFill>
                <a:schemeClr val="tx1">
                  <a:alpha val="12000"/>
                </a:schemeClr>
              </a:solidFill>
            </p:grpSpPr>
            <p:sp>
              <p:nvSpPr>
                <p:cNvPr id="246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6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069"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70"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71"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72"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73"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74"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75"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76"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77"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78"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79"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80"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81"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82"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83"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84"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85"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86"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87"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88"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89"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90"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091" name="Group 740"/>
              <p:cNvGrpSpPr/>
              <p:nvPr/>
            </p:nvGrpSpPr>
            <p:grpSpPr>
              <a:xfrm>
                <a:off x="2168525" y="3806074"/>
                <a:ext cx="348521" cy="470651"/>
                <a:chOff x="7011958" y="-48945"/>
                <a:chExt cx="557213" cy="752475"/>
              </a:xfrm>
              <a:solidFill>
                <a:schemeClr val="tx1">
                  <a:alpha val="12000"/>
                </a:schemeClr>
              </a:solidFill>
            </p:grpSpPr>
            <p:sp>
              <p:nvSpPr>
                <p:cNvPr id="246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6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092" name="Group 746"/>
              <p:cNvGrpSpPr/>
              <p:nvPr/>
            </p:nvGrpSpPr>
            <p:grpSpPr>
              <a:xfrm>
                <a:off x="4585172" y="3806074"/>
                <a:ext cx="348521" cy="470651"/>
                <a:chOff x="7011958" y="-48945"/>
                <a:chExt cx="557213" cy="752475"/>
              </a:xfrm>
              <a:solidFill>
                <a:schemeClr val="tx1">
                  <a:alpha val="7000"/>
                </a:schemeClr>
              </a:solidFill>
            </p:grpSpPr>
            <p:sp>
              <p:nvSpPr>
                <p:cNvPr id="246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6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093"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94"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95"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96"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97"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98"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99"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00"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101" name="Group 740"/>
              <p:cNvGrpSpPr/>
              <p:nvPr/>
            </p:nvGrpSpPr>
            <p:grpSpPr>
              <a:xfrm>
                <a:off x="5956029" y="3806074"/>
                <a:ext cx="348521" cy="470651"/>
                <a:chOff x="7011958" y="-48945"/>
                <a:chExt cx="557213" cy="752475"/>
              </a:xfrm>
              <a:solidFill>
                <a:schemeClr val="tx1">
                  <a:alpha val="12000"/>
                </a:schemeClr>
              </a:solidFill>
            </p:grpSpPr>
            <p:sp>
              <p:nvSpPr>
                <p:cNvPr id="246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6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102"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03"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04"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05"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106" name="Group 746"/>
              <p:cNvGrpSpPr/>
              <p:nvPr/>
            </p:nvGrpSpPr>
            <p:grpSpPr>
              <a:xfrm>
                <a:off x="10770305" y="3806074"/>
                <a:ext cx="348521" cy="470651"/>
                <a:chOff x="7011958" y="-48945"/>
                <a:chExt cx="557213" cy="752475"/>
              </a:xfrm>
              <a:solidFill>
                <a:schemeClr val="tx1">
                  <a:alpha val="7000"/>
                </a:schemeClr>
              </a:solidFill>
            </p:grpSpPr>
            <p:sp>
              <p:nvSpPr>
                <p:cNvPr id="24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107"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08"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109" name="Group 781"/>
              <p:cNvGrpSpPr/>
              <p:nvPr/>
            </p:nvGrpSpPr>
            <p:grpSpPr>
              <a:xfrm>
                <a:off x="520986" y="3124431"/>
                <a:ext cx="612096" cy="486108"/>
                <a:chOff x="9258271" y="-45770"/>
                <a:chExt cx="925513" cy="735013"/>
              </a:xfrm>
              <a:solidFill>
                <a:schemeClr val="bg2">
                  <a:alpha val="38000"/>
                </a:schemeClr>
              </a:solidFill>
            </p:grpSpPr>
            <p:sp>
              <p:nvSpPr>
                <p:cNvPr id="24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110"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111"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243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3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112"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13"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14"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15"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16"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17"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18"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19"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20"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121" name="Group 740"/>
              <p:cNvGrpSpPr/>
              <p:nvPr/>
            </p:nvGrpSpPr>
            <p:grpSpPr>
              <a:xfrm>
                <a:off x="11335165" y="3139888"/>
                <a:ext cx="348521" cy="470651"/>
                <a:chOff x="7011958" y="-48945"/>
                <a:chExt cx="557213" cy="752475"/>
              </a:xfrm>
              <a:solidFill>
                <a:schemeClr val="tx1">
                  <a:alpha val="12000"/>
                </a:schemeClr>
              </a:solidFill>
            </p:grpSpPr>
            <p:sp>
              <p:nvSpPr>
                <p:cNvPr id="24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122"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23"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24"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25"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26"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27"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28"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29"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30"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31"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132" name="Group 746"/>
              <p:cNvGrpSpPr/>
              <p:nvPr/>
            </p:nvGrpSpPr>
            <p:grpSpPr>
              <a:xfrm>
                <a:off x="2877886" y="3139888"/>
                <a:ext cx="348521" cy="470651"/>
                <a:chOff x="7011958" y="-48945"/>
                <a:chExt cx="557213" cy="752475"/>
              </a:xfrm>
              <a:solidFill>
                <a:schemeClr val="tx1">
                  <a:alpha val="7000"/>
                </a:schemeClr>
              </a:solidFill>
            </p:grpSpPr>
            <p:sp>
              <p:nvSpPr>
                <p:cNvPr id="24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133"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34"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35"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136"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242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2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2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2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2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2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3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3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3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3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137"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38"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39"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40"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141" name="Group 740"/>
              <p:cNvGrpSpPr/>
              <p:nvPr/>
            </p:nvGrpSpPr>
            <p:grpSpPr>
              <a:xfrm>
                <a:off x="4520644" y="3139888"/>
                <a:ext cx="348521" cy="470651"/>
                <a:chOff x="7011958" y="-48945"/>
                <a:chExt cx="557213" cy="752475"/>
              </a:xfrm>
              <a:solidFill>
                <a:schemeClr val="tx1">
                  <a:alpha val="12000"/>
                </a:schemeClr>
              </a:solidFill>
            </p:grpSpPr>
            <p:sp>
              <p:nvSpPr>
                <p:cNvPr id="24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142"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43"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44"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45"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46"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47"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48"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49"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50"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51"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52"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53"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54"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55"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156" name="Group 740"/>
              <p:cNvGrpSpPr/>
              <p:nvPr/>
            </p:nvGrpSpPr>
            <p:grpSpPr>
              <a:xfrm>
                <a:off x="7807324" y="2515539"/>
                <a:ext cx="348521" cy="470651"/>
                <a:chOff x="7011958" y="-48945"/>
                <a:chExt cx="557213" cy="752475"/>
              </a:xfrm>
              <a:solidFill>
                <a:schemeClr val="tx1">
                  <a:alpha val="12000"/>
                </a:schemeClr>
              </a:solidFill>
            </p:grpSpPr>
            <p:sp>
              <p:nvSpPr>
                <p:cNvPr id="242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2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157" name="Group 746"/>
              <p:cNvGrpSpPr/>
              <p:nvPr/>
            </p:nvGrpSpPr>
            <p:grpSpPr>
              <a:xfrm>
                <a:off x="10226905" y="2515539"/>
                <a:ext cx="348521" cy="470651"/>
                <a:chOff x="7011958" y="-48945"/>
                <a:chExt cx="557213" cy="752475"/>
              </a:xfrm>
              <a:solidFill>
                <a:schemeClr val="tx1">
                  <a:alpha val="7000"/>
                </a:schemeClr>
              </a:solidFill>
            </p:grpSpPr>
            <p:sp>
              <p:nvSpPr>
                <p:cNvPr id="241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158"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59"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60"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61"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162" name="Group 740"/>
              <p:cNvGrpSpPr/>
              <p:nvPr/>
            </p:nvGrpSpPr>
            <p:grpSpPr>
              <a:xfrm>
                <a:off x="11599718" y="2515539"/>
                <a:ext cx="348521" cy="470651"/>
                <a:chOff x="7011958" y="-48945"/>
                <a:chExt cx="557213" cy="752475"/>
              </a:xfrm>
              <a:solidFill>
                <a:schemeClr val="tx1">
                  <a:alpha val="12000"/>
                </a:schemeClr>
              </a:solidFill>
            </p:grpSpPr>
            <p:sp>
              <p:nvSpPr>
                <p:cNvPr id="24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163" name="Group 781"/>
              <p:cNvGrpSpPr/>
              <p:nvPr/>
            </p:nvGrpSpPr>
            <p:grpSpPr>
              <a:xfrm>
                <a:off x="6129230" y="1892531"/>
                <a:ext cx="612096" cy="486108"/>
                <a:chOff x="9258271" y="-45770"/>
                <a:chExt cx="925513" cy="735013"/>
              </a:xfrm>
              <a:solidFill>
                <a:schemeClr val="bg2">
                  <a:alpha val="38000"/>
                </a:schemeClr>
              </a:solidFill>
            </p:grpSpPr>
            <p:sp>
              <p:nvSpPr>
                <p:cNvPr id="240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164"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239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165"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66"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67"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168" name="Group 746"/>
              <p:cNvGrpSpPr/>
              <p:nvPr/>
            </p:nvGrpSpPr>
            <p:grpSpPr>
              <a:xfrm>
                <a:off x="8489250" y="1907988"/>
                <a:ext cx="348521" cy="470651"/>
                <a:chOff x="7011958" y="-48945"/>
                <a:chExt cx="557213" cy="752475"/>
              </a:xfrm>
              <a:solidFill>
                <a:schemeClr val="tx1">
                  <a:alpha val="7000"/>
                </a:schemeClr>
              </a:solidFill>
            </p:grpSpPr>
            <p:sp>
              <p:nvSpPr>
                <p:cNvPr id="23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169"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70"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71"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172"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23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173"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74"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75"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76"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177" name="Group 740"/>
              <p:cNvGrpSpPr/>
              <p:nvPr/>
            </p:nvGrpSpPr>
            <p:grpSpPr>
              <a:xfrm>
                <a:off x="10135128" y="1907988"/>
                <a:ext cx="348521" cy="470651"/>
                <a:chOff x="7011958" y="-48945"/>
                <a:chExt cx="557213" cy="752475"/>
              </a:xfrm>
              <a:solidFill>
                <a:schemeClr val="tx1">
                  <a:alpha val="12000"/>
                </a:schemeClr>
              </a:solidFill>
            </p:grpSpPr>
            <p:sp>
              <p:nvSpPr>
                <p:cNvPr id="23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178"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79"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80"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81"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82"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83"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84"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85"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86"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87"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88"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189" name="Group 746"/>
              <p:cNvGrpSpPr/>
              <p:nvPr/>
            </p:nvGrpSpPr>
            <p:grpSpPr>
              <a:xfrm>
                <a:off x="4519207" y="2515539"/>
                <a:ext cx="348521" cy="470651"/>
                <a:chOff x="7011958" y="-48945"/>
                <a:chExt cx="557213" cy="752475"/>
              </a:xfrm>
              <a:solidFill>
                <a:schemeClr val="tx1">
                  <a:alpha val="7000"/>
                </a:schemeClr>
              </a:solidFill>
            </p:grpSpPr>
            <p:sp>
              <p:nvSpPr>
                <p:cNvPr id="23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190"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91"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92"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193"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94"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95"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96"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97"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98"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99"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00"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01"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202" name="Group 740"/>
              <p:cNvGrpSpPr/>
              <p:nvPr/>
            </p:nvGrpSpPr>
            <p:grpSpPr>
              <a:xfrm>
                <a:off x="5060990" y="1907988"/>
                <a:ext cx="348521" cy="470651"/>
                <a:chOff x="7011958" y="-48945"/>
                <a:chExt cx="557213" cy="752475"/>
              </a:xfrm>
              <a:solidFill>
                <a:schemeClr val="tx1">
                  <a:alpha val="12000"/>
                </a:schemeClr>
              </a:solidFill>
            </p:grpSpPr>
            <p:sp>
              <p:nvSpPr>
                <p:cNvPr id="237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203"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04"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05"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06"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07"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08"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09"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10"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11"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12"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13"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14"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15"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16"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17"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18"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19"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20"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21"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22"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23"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24"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225" name="Group 740"/>
              <p:cNvGrpSpPr/>
              <p:nvPr/>
            </p:nvGrpSpPr>
            <p:grpSpPr>
              <a:xfrm>
                <a:off x="7820024" y="1334439"/>
                <a:ext cx="348521" cy="470651"/>
                <a:chOff x="7011958" y="-48945"/>
                <a:chExt cx="557213" cy="752475"/>
              </a:xfrm>
              <a:solidFill>
                <a:schemeClr val="tx1">
                  <a:alpha val="12000"/>
                </a:schemeClr>
              </a:solidFill>
            </p:grpSpPr>
            <p:sp>
              <p:nvSpPr>
                <p:cNvPr id="237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226" name="Group 746"/>
              <p:cNvGrpSpPr/>
              <p:nvPr/>
            </p:nvGrpSpPr>
            <p:grpSpPr>
              <a:xfrm>
                <a:off x="10239605" y="1334439"/>
                <a:ext cx="348521" cy="470651"/>
                <a:chOff x="7011958" y="-48945"/>
                <a:chExt cx="557213" cy="752475"/>
              </a:xfrm>
              <a:solidFill>
                <a:schemeClr val="tx1">
                  <a:alpha val="7000"/>
                </a:schemeClr>
              </a:solidFill>
            </p:grpSpPr>
            <p:sp>
              <p:nvSpPr>
                <p:cNvPr id="23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227"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28"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29"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30"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231" name="Group 740"/>
              <p:cNvGrpSpPr/>
              <p:nvPr/>
            </p:nvGrpSpPr>
            <p:grpSpPr>
              <a:xfrm>
                <a:off x="11612418" y="1334439"/>
                <a:ext cx="348521" cy="470651"/>
                <a:chOff x="7011958" y="-48945"/>
                <a:chExt cx="557213" cy="752475"/>
              </a:xfrm>
              <a:solidFill>
                <a:schemeClr val="tx1">
                  <a:alpha val="12000"/>
                </a:schemeClr>
              </a:solidFill>
            </p:grpSpPr>
            <p:sp>
              <p:nvSpPr>
                <p:cNvPr id="23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232" name="Group 781"/>
              <p:cNvGrpSpPr/>
              <p:nvPr/>
            </p:nvGrpSpPr>
            <p:grpSpPr>
              <a:xfrm>
                <a:off x="6141930" y="711431"/>
                <a:ext cx="612096" cy="486108"/>
                <a:chOff x="9258271" y="-45770"/>
                <a:chExt cx="925513" cy="735013"/>
              </a:xfrm>
              <a:solidFill>
                <a:schemeClr val="bg2">
                  <a:alpha val="38000"/>
                </a:schemeClr>
              </a:solidFill>
            </p:grpSpPr>
            <p:sp>
              <p:nvSpPr>
                <p:cNvPr id="236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233"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235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234"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35"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36"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237" name="Group 746"/>
              <p:cNvGrpSpPr/>
              <p:nvPr/>
            </p:nvGrpSpPr>
            <p:grpSpPr>
              <a:xfrm>
                <a:off x="8501950" y="726888"/>
                <a:ext cx="348521" cy="470651"/>
                <a:chOff x="7011958" y="-48945"/>
                <a:chExt cx="557213" cy="752475"/>
              </a:xfrm>
              <a:solidFill>
                <a:schemeClr val="tx1">
                  <a:alpha val="7000"/>
                </a:schemeClr>
              </a:solidFill>
            </p:grpSpPr>
            <p:sp>
              <p:nvSpPr>
                <p:cNvPr id="23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238"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39"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40"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241"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234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242"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43"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44"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45"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246" name="Group 740"/>
              <p:cNvGrpSpPr/>
              <p:nvPr/>
            </p:nvGrpSpPr>
            <p:grpSpPr>
              <a:xfrm>
                <a:off x="10147828" y="726888"/>
                <a:ext cx="348521" cy="470651"/>
                <a:chOff x="7011958" y="-48945"/>
                <a:chExt cx="557213" cy="752475"/>
              </a:xfrm>
              <a:solidFill>
                <a:schemeClr val="tx1">
                  <a:alpha val="12000"/>
                </a:schemeClr>
              </a:solidFill>
            </p:grpSpPr>
            <p:sp>
              <p:nvSpPr>
                <p:cNvPr id="23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247"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48"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49"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50"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51"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52"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53"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54"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55"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56"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57"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258" name="Group 746"/>
              <p:cNvGrpSpPr/>
              <p:nvPr/>
            </p:nvGrpSpPr>
            <p:grpSpPr>
              <a:xfrm>
                <a:off x="4531907" y="1334439"/>
                <a:ext cx="348521" cy="470651"/>
                <a:chOff x="7011958" y="-48945"/>
                <a:chExt cx="557213" cy="752475"/>
              </a:xfrm>
              <a:solidFill>
                <a:schemeClr val="tx1">
                  <a:alpha val="7000"/>
                </a:schemeClr>
              </a:solidFill>
            </p:grpSpPr>
            <p:sp>
              <p:nvSpPr>
                <p:cNvPr id="23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259"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60"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61"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262"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63"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64"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65"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66"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67"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68"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69"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70"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271" name="Group 740"/>
              <p:cNvGrpSpPr/>
              <p:nvPr/>
            </p:nvGrpSpPr>
            <p:grpSpPr>
              <a:xfrm>
                <a:off x="5073690" y="726888"/>
                <a:ext cx="348521" cy="470651"/>
                <a:chOff x="7011958" y="-48945"/>
                <a:chExt cx="557213" cy="752475"/>
              </a:xfrm>
              <a:solidFill>
                <a:schemeClr val="tx1">
                  <a:alpha val="12000"/>
                </a:schemeClr>
              </a:solidFill>
            </p:grpSpPr>
            <p:sp>
              <p:nvSpPr>
                <p:cNvPr id="23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272"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73"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74"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75"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76"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77"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78"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79"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80"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81"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82"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83"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84"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85"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86"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87"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88"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89"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90"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91"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292" name="Group 740"/>
              <p:cNvGrpSpPr/>
              <p:nvPr/>
            </p:nvGrpSpPr>
            <p:grpSpPr>
              <a:xfrm>
                <a:off x="2206625" y="46874"/>
                <a:ext cx="348521" cy="470651"/>
                <a:chOff x="7011958" y="-48945"/>
                <a:chExt cx="557213" cy="752475"/>
              </a:xfrm>
              <a:solidFill>
                <a:schemeClr val="tx1">
                  <a:alpha val="12000"/>
                </a:schemeClr>
              </a:solidFill>
            </p:grpSpPr>
            <p:sp>
              <p:nvSpPr>
                <p:cNvPr id="23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293" name="Group 746"/>
              <p:cNvGrpSpPr/>
              <p:nvPr/>
            </p:nvGrpSpPr>
            <p:grpSpPr>
              <a:xfrm>
                <a:off x="4623272" y="46874"/>
                <a:ext cx="348521" cy="470651"/>
                <a:chOff x="7011958" y="-48945"/>
                <a:chExt cx="557213" cy="752475"/>
              </a:xfrm>
              <a:solidFill>
                <a:schemeClr val="tx1">
                  <a:alpha val="7000"/>
                </a:schemeClr>
              </a:solidFill>
            </p:grpSpPr>
            <p:sp>
              <p:nvSpPr>
                <p:cNvPr id="23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294"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95"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96"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97"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98"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99"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00"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01"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302" name="Group 740"/>
              <p:cNvGrpSpPr/>
              <p:nvPr/>
            </p:nvGrpSpPr>
            <p:grpSpPr>
              <a:xfrm>
                <a:off x="5994129" y="46874"/>
                <a:ext cx="348521" cy="470651"/>
                <a:chOff x="7011958" y="-48945"/>
                <a:chExt cx="557213" cy="752475"/>
              </a:xfrm>
              <a:solidFill>
                <a:schemeClr val="tx1">
                  <a:alpha val="12000"/>
                </a:schemeClr>
              </a:solidFill>
            </p:grpSpPr>
            <p:sp>
              <p:nvSpPr>
                <p:cNvPr id="23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303"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04"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05"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06"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307" name="Group 746"/>
              <p:cNvGrpSpPr/>
              <p:nvPr/>
            </p:nvGrpSpPr>
            <p:grpSpPr>
              <a:xfrm>
                <a:off x="10808405" y="46874"/>
                <a:ext cx="348521" cy="470651"/>
                <a:chOff x="7011958" y="-48945"/>
                <a:chExt cx="557213" cy="752475"/>
              </a:xfrm>
              <a:solidFill>
                <a:schemeClr val="tx1">
                  <a:alpha val="7000"/>
                </a:schemeClr>
              </a:solidFill>
            </p:grpSpPr>
            <p:sp>
              <p:nvSpPr>
                <p:cNvPr id="23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308"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09"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10"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311"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23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312"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13"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14"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15"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1281" name="Group 1364"/>
            <p:cNvGrpSpPr>
              <a:grpSpLocks noChangeAspect="1"/>
            </p:cNvGrpSpPr>
            <p:nvPr/>
          </p:nvGrpSpPr>
          <p:grpSpPr>
            <a:xfrm>
              <a:off x="6225545" y="63500"/>
              <a:ext cx="6198188" cy="3428988"/>
              <a:chOff x="88900" y="16253"/>
              <a:chExt cx="12361342" cy="6838572"/>
            </a:xfrm>
          </p:grpSpPr>
          <p:sp>
            <p:nvSpPr>
              <p:cNvPr id="1282"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83"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84"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85"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86"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87"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88"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89"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90"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91"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92"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93"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94"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95"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96"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97"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98"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99"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00"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01"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02"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03"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04"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05"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06"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07"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08"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09"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10"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11"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12"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13"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14"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15"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16"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17"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18"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19"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20"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321" name="Group 740"/>
              <p:cNvGrpSpPr/>
              <p:nvPr/>
            </p:nvGrpSpPr>
            <p:grpSpPr>
              <a:xfrm>
                <a:off x="2143125" y="6384174"/>
                <a:ext cx="348521" cy="470651"/>
                <a:chOff x="7011958" y="-48945"/>
                <a:chExt cx="557213" cy="752475"/>
              </a:xfrm>
              <a:solidFill>
                <a:schemeClr val="tx1">
                  <a:alpha val="12000"/>
                </a:schemeClr>
              </a:solidFill>
            </p:grpSpPr>
            <p:sp>
              <p:nvSpPr>
                <p:cNvPr id="19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322" name="Group 746"/>
              <p:cNvGrpSpPr/>
              <p:nvPr/>
            </p:nvGrpSpPr>
            <p:grpSpPr>
              <a:xfrm>
                <a:off x="4559772" y="6384174"/>
                <a:ext cx="348521" cy="470651"/>
                <a:chOff x="7011958" y="-48945"/>
                <a:chExt cx="557213" cy="752475"/>
              </a:xfrm>
              <a:solidFill>
                <a:schemeClr val="tx1">
                  <a:alpha val="7000"/>
                </a:schemeClr>
              </a:solidFill>
            </p:grpSpPr>
            <p:sp>
              <p:nvSpPr>
                <p:cNvPr id="19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323"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24"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25"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26"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27"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28"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29"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30"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331" name="Group 740"/>
              <p:cNvGrpSpPr/>
              <p:nvPr/>
            </p:nvGrpSpPr>
            <p:grpSpPr>
              <a:xfrm>
                <a:off x="5930629" y="6384174"/>
                <a:ext cx="348521" cy="470651"/>
                <a:chOff x="7011958" y="-48945"/>
                <a:chExt cx="557213" cy="752475"/>
              </a:xfrm>
              <a:solidFill>
                <a:schemeClr val="tx1">
                  <a:alpha val="12000"/>
                </a:schemeClr>
              </a:solidFill>
            </p:grpSpPr>
            <p:sp>
              <p:nvSpPr>
                <p:cNvPr id="191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332"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33"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34"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35"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336" name="Group 746"/>
              <p:cNvGrpSpPr/>
              <p:nvPr/>
            </p:nvGrpSpPr>
            <p:grpSpPr>
              <a:xfrm>
                <a:off x="10744905" y="6384174"/>
                <a:ext cx="348521" cy="470651"/>
                <a:chOff x="7011958" y="-48945"/>
                <a:chExt cx="557213" cy="752475"/>
              </a:xfrm>
              <a:solidFill>
                <a:schemeClr val="tx1">
                  <a:alpha val="7000"/>
                </a:schemeClr>
              </a:solidFill>
            </p:grpSpPr>
            <p:sp>
              <p:nvSpPr>
                <p:cNvPr id="19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337"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38"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339" name="Group 781"/>
              <p:cNvGrpSpPr/>
              <p:nvPr/>
            </p:nvGrpSpPr>
            <p:grpSpPr>
              <a:xfrm>
                <a:off x="520986" y="5766031"/>
                <a:ext cx="612096" cy="486108"/>
                <a:chOff x="9258271" y="-45770"/>
                <a:chExt cx="925513" cy="735013"/>
              </a:xfrm>
              <a:solidFill>
                <a:schemeClr val="bg2">
                  <a:alpha val="38000"/>
                </a:schemeClr>
              </a:solidFill>
            </p:grpSpPr>
            <p:sp>
              <p:nvSpPr>
                <p:cNvPr id="190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340"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341"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89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342"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43"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44"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45"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46"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47"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48"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49"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50"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351" name="Group 740"/>
              <p:cNvGrpSpPr/>
              <p:nvPr/>
            </p:nvGrpSpPr>
            <p:grpSpPr>
              <a:xfrm>
                <a:off x="11309765" y="5781488"/>
                <a:ext cx="348521" cy="470651"/>
                <a:chOff x="7011958" y="-48945"/>
                <a:chExt cx="557213" cy="752475"/>
              </a:xfrm>
              <a:solidFill>
                <a:schemeClr val="tx1">
                  <a:alpha val="12000"/>
                </a:schemeClr>
              </a:solidFill>
            </p:grpSpPr>
            <p:sp>
              <p:nvSpPr>
                <p:cNvPr id="188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352"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53"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54"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55"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56"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57"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58"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59"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60"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61"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362" name="Group 746"/>
              <p:cNvGrpSpPr/>
              <p:nvPr/>
            </p:nvGrpSpPr>
            <p:grpSpPr>
              <a:xfrm>
                <a:off x="2852486" y="5781488"/>
                <a:ext cx="348521" cy="470651"/>
                <a:chOff x="7011958" y="-48945"/>
                <a:chExt cx="557213" cy="752475"/>
              </a:xfrm>
              <a:solidFill>
                <a:schemeClr val="tx1">
                  <a:alpha val="7000"/>
                </a:schemeClr>
              </a:solidFill>
            </p:grpSpPr>
            <p:sp>
              <p:nvSpPr>
                <p:cNvPr id="18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363"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64"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65"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366"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87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367"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68"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69"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70"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371" name="Group 740"/>
              <p:cNvGrpSpPr/>
              <p:nvPr/>
            </p:nvGrpSpPr>
            <p:grpSpPr>
              <a:xfrm>
                <a:off x="4495244" y="5781488"/>
                <a:ext cx="348521" cy="470651"/>
                <a:chOff x="7011958" y="-48945"/>
                <a:chExt cx="557213" cy="752475"/>
              </a:xfrm>
              <a:solidFill>
                <a:schemeClr val="tx1">
                  <a:alpha val="12000"/>
                </a:schemeClr>
              </a:solidFill>
            </p:grpSpPr>
            <p:sp>
              <p:nvSpPr>
                <p:cNvPr id="18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372"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73"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74"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75"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76"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77"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78"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79"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80"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81"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82"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83"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84"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85"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386" name="Group 740"/>
              <p:cNvGrpSpPr/>
              <p:nvPr/>
            </p:nvGrpSpPr>
            <p:grpSpPr>
              <a:xfrm>
                <a:off x="7781924" y="5093639"/>
                <a:ext cx="348521" cy="470651"/>
                <a:chOff x="7011958" y="-48945"/>
                <a:chExt cx="557213" cy="752475"/>
              </a:xfrm>
              <a:solidFill>
                <a:schemeClr val="tx1">
                  <a:alpha val="12000"/>
                </a:schemeClr>
              </a:solidFill>
            </p:grpSpPr>
            <p:sp>
              <p:nvSpPr>
                <p:cNvPr id="18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387" name="Group 746"/>
              <p:cNvGrpSpPr/>
              <p:nvPr/>
            </p:nvGrpSpPr>
            <p:grpSpPr>
              <a:xfrm>
                <a:off x="10201505" y="5093639"/>
                <a:ext cx="348521" cy="470651"/>
                <a:chOff x="7011958" y="-48945"/>
                <a:chExt cx="557213" cy="752475"/>
              </a:xfrm>
              <a:solidFill>
                <a:schemeClr val="tx1">
                  <a:alpha val="7000"/>
                </a:schemeClr>
              </a:solidFill>
            </p:grpSpPr>
            <p:sp>
              <p:nvSpPr>
                <p:cNvPr id="18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388"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89"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90"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91"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392" name="Group 740"/>
              <p:cNvGrpSpPr/>
              <p:nvPr/>
            </p:nvGrpSpPr>
            <p:grpSpPr>
              <a:xfrm>
                <a:off x="11574318" y="5093639"/>
                <a:ext cx="348521" cy="470651"/>
                <a:chOff x="7011958" y="-48945"/>
                <a:chExt cx="557213" cy="752475"/>
              </a:xfrm>
              <a:solidFill>
                <a:schemeClr val="tx1">
                  <a:alpha val="12000"/>
                </a:schemeClr>
              </a:solidFill>
            </p:grpSpPr>
            <p:sp>
              <p:nvSpPr>
                <p:cNvPr id="186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393" name="Group 781"/>
              <p:cNvGrpSpPr/>
              <p:nvPr/>
            </p:nvGrpSpPr>
            <p:grpSpPr>
              <a:xfrm>
                <a:off x="6103830" y="4470631"/>
                <a:ext cx="612096" cy="486108"/>
                <a:chOff x="9258271" y="-45770"/>
                <a:chExt cx="925513" cy="735013"/>
              </a:xfrm>
              <a:solidFill>
                <a:schemeClr val="bg2">
                  <a:alpha val="38000"/>
                </a:schemeClr>
              </a:solidFill>
            </p:grpSpPr>
            <p:sp>
              <p:nvSpPr>
                <p:cNvPr id="185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394"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8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395"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96"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97"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398" name="Group 746"/>
              <p:cNvGrpSpPr/>
              <p:nvPr/>
            </p:nvGrpSpPr>
            <p:grpSpPr>
              <a:xfrm>
                <a:off x="8463850" y="4486088"/>
                <a:ext cx="348521" cy="470651"/>
                <a:chOff x="7011958" y="-48945"/>
                <a:chExt cx="557213" cy="752475"/>
              </a:xfrm>
              <a:solidFill>
                <a:schemeClr val="tx1">
                  <a:alpha val="7000"/>
                </a:schemeClr>
              </a:solidFill>
            </p:grpSpPr>
            <p:sp>
              <p:nvSpPr>
                <p:cNvPr id="18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399"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00"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01"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402"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8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03"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04"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05"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06"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407" name="Group 740"/>
              <p:cNvGrpSpPr/>
              <p:nvPr/>
            </p:nvGrpSpPr>
            <p:grpSpPr>
              <a:xfrm>
                <a:off x="10109728" y="4486088"/>
                <a:ext cx="348521" cy="470651"/>
                <a:chOff x="7011958" y="-48945"/>
                <a:chExt cx="557213" cy="752475"/>
              </a:xfrm>
              <a:solidFill>
                <a:schemeClr val="tx1">
                  <a:alpha val="12000"/>
                </a:schemeClr>
              </a:solidFill>
            </p:grpSpPr>
            <p:sp>
              <p:nvSpPr>
                <p:cNvPr id="18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08"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09"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10"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11"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12"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13"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14"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15"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16"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17"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18"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419" name="Group 746"/>
              <p:cNvGrpSpPr/>
              <p:nvPr/>
            </p:nvGrpSpPr>
            <p:grpSpPr>
              <a:xfrm>
                <a:off x="4493807" y="5093639"/>
                <a:ext cx="348521" cy="470651"/>
                <a:chOff x="7011958" y="-48945"/>
                <a:chExt cx="557213" cy="752475"/>
              </a:xfrm>
              <a:solidFill>
                <a:schemeClr val="tx1">
                  <a:alpha val="7000"/>
                </a:schemeClr>
              </a:solidFill>
            </p:grpSpPr>
            <p:sp>
              <p:nvSpPr>
                <p:cNvPr id="18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20"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21"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22"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423"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24"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25"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26"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27"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28"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29"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30"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31"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432" name="Group 740"/>
              <p:cNvGrpSpPr/>
              <p:nvPr/>
            </p:nvGrpSpPr>
            <p:grpSpPr>
              <a:xfrm>
                <a:off x="5035590" y="4486088"/>
                <a:ext cx="348521" cy="470651"/>
                <a:chOff x="7011958" y="-48945"/>
                <a:chExt cx="557213" cy="752475"/>
              </a:xfrm>
              <a:solidFill>
                <a:schemeClr val="tx1">
                  <a:alpha val="12000"/>
                </a:schemeClr>
              </a:solidFill>
            </p:grpSpPr>
            <p:sp>
              <p:nvSpPr>
                <p:cNvPr id="18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33"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34"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35"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36"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37"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38"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39"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40"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41"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42"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43"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44"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45"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46"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47"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48"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49"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50"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51"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52"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53"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54"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455" name="Group 740"/>
              <p:cNvGrpSpPr/>
              <p:nvPr/>
            </p:nvGrpSpPr>
            <p:grpSpPr>
              <a:xfrm>
                <a:off x="2168525" y="3806074"/>
                <a:ext cx="348521" cy="470651"/>
                <a:chOff x="7011958" y="-48945"/>
                <a:chExt cx="557213" cy="752475"/>
              </a:xfrm>
              <a:solidFill>
                <a:schemeClr val="tx1">
                  <a:alpha val="12000"/>
                </a:schemeClr>
              </a:solidFill>
            </p:grpSpPr>
            <p:sp>
              <p:nvSpPr>
                <p:cNvPr id="18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456" name="Group 746"/>
              <p:cNvGrpSpPr/>
              <p:nvPr/>
            </p:nvGrpSpPr>
            <p:grpSpPr>
              <a:xfrm>
                <a:off x="4585172" y="3806074"/>
                <a:ext cx="348521" cy="470651"/>
                <a:chOff x="7011958" y="-48945"/>
                <a:chExt cx="557213" cy="752475"/>
              </a:xfrm>
              <a:solidFill>
                <a:schemeClr val="tx1">
                  <a:alpha val="7000"/>
                </a:schemeClr>
              </a:solidFill>
            </p:grpSpPr>
            <p:sp>
              <p:nvSpPr>
                <p:cNvPr id="18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57"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58"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59"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60"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61"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62"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63"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64"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465" name="Group 740"/>
              <p:cNvGrpSpPr/>
              <p:nvPr/>
            </p:nvGrpSpPr>
            <p:grpSpPr>
              <a:xfrm>
                <a:off x="5956029" y="3806074"/>
                <a:ext cx="348521" cy="470651"/>
                <a:chOff x="7011958" y="-48945"/>
                <a:chExt cx="557213" cy="752475"/>
              </a:xfrm>
              <a:solidFill>
                <a:schemeClr val="tx1">
                  <a:alpha val="12000"/>
                </a:schemeClr>
              </a:solidFill>
            </p:grpSpPr>
            <p:sp>
              <p:nvSpPr>
                <p:cNvPr id="18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66"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67"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68"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69"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470" name="Group 746"/>
              <p:cNvGrpSpPr/>
              <p:nvPr/>
            </p:nvGrpSpPr>
            <p:grpSpPr>
              <a:xfrm>
                <a:off x="10770305" y="3806074"/>
                <a:ext cx="348521" cy="470651"/>
                <a:chOff x="7011958" y="-48945"/>
                <a:chExt cx="557213" cy="752475"/>
              </a:xfrm>
              <a:solidFill>
                <a:schemeClr val="tx1">
                  <a:alpha val="7000"/>
                </a:schemeClr>
              </a:solidFill>
            </p:grpSpPr>
            <p:sp>
              <p:nvSpPr>
                <p:cNvPr id="18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71"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72"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473" name="Group 781"/>
              <p:cNvGrpSpPr/>
              <p:nvPr/>
            </p:nvGrpSpPr>
            <p:grpSpPr>
              <a:xfrm>
                <a:off x="520986" y="3124431"/>
                <a:ext cx="612096" cy="486108"/>
                <a:chOff x="9258271" y="-45770"/>
                <a:chExt cx="925513" cy="735013"/>
              </a:xfrm>
              <a:solidFill>
                <a:schemeClr val="bg2">
                  <a:alpha val="38000"/>
                </a:schemeClr>
              </a:solidFill>
            </p:grpSpPr>
            <p:sp>
              <p:nvSpPr>
                <p:cNvPr id="18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74"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475"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80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76"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77"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78"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79"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80"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81"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82"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83"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84"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485" name="Group 740"/>
              <p:cNvGrpSpPr/>
              <p:nvPr/>
            </p:nvGrpSpPr>
            <p:grpSpPr>
              <a:xfrm>
                <a:off x="11335165" y="3139888"/>
                <a:ext cx="348521" cy="470651"/>
                <a:chOff x="7011958" y="-48945"/>
                <a:chExt cx="557213" cy="752475"/>
              </a:xfrm>
              <a:solidFill>
                <a:schemeClr val="tx1">
                  <a:alpha val="12000"/>
                </a:schemeClr>
              </a:solidFill>
            </p:grpSpPr>
            <p:sp>
              <p:nvSpPr>
                <p:cNvPr id="18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86"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87"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88"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89"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90"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91"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92"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93"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94"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95"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496" name="Group 746"/>
              <p:cNvGrpSpPr/>
              <p:nvPr/>
            </p:nvGrpSpPr>
            <p:grpSpPr>
              <a:xfrm>
                <a:off x="2877886" y="3139888"/>
                <a:ext cx="348521" cy="470651"/>
                <a:chOff x="7011958" y="-48945"/>
                <a:chExt cx="557213" cy="752475"/>
              </a:xfrm>
              <a:solidFill>
                <a:schemeClr val="tx1">
                  <a:alpha val="7000"/>
                </a:schemeClr>
              </a:solidFill>
            </p:grpSpPr>
            <p:sp>
              <p:nvSpPr>
                <p:cNvPr id="17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97"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98"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99"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500"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78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01"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02"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03"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04"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505" name="Group 740"/>
              <p:cNvGrpSpPr/>
              <p:nvPr/>
            </p:nvGrpSpPr>
            <p:grpSpPr>
              <a:xfrm>
                <a:off x="4520644" y="3139888"/>
                <a:ext cx="348521" cy="470651"/>
                <a:chOff x="7011958" y="-48945"/>
                <a:chExt cx="557213" cy="752475"/>
              </a:xfrm>
              <a:solidFill>
                <a:schemeClr val="tx1">
                  <a:alpha val="12000"/>
                </a:schemeClr>
              </a:solidFill>
            </p:grpSpPr>
            <p:sp>
              <p:nvSpPr>
                <p:cNvPr id="17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06"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07"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08"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09"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10"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11"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12"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13"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14"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15"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16"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17"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18"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19"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520" name="Group 740"/>
              <p:cNvGrpSpPr/>
              <p:nvPr/>
            </p:nvGrpSpPr>
            <p:grpSpPr>
              <a:xfrm>
                <a:off x="7807324" y="2515539"/>
                <a:ext cx="348521" cy="470651"/>
                <a:chOff x="7011958" y="-48945"/>
                <a:chExt cx="557213" cy="752475"/>
              </a:xfrm>
              <a:solidFill>
                <a:schemeClr val="tx1">
                  <a:alpha val="12000"/>
                </a:schemeClr>
              </a:solidFill>
            </p:grpSpPr>
            <p:sp>
              <p:nvSpPr>
                <p:cNvPr id="178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521" name="Group 746"/>
              <p:cNvGrpSpPr/>
              <p:nvPr/>
            </p:nvGrpSpPr>
            <p:grpSpPr>
              <a:xfrm>
                <a:off x="10226905" y="2515539"/>
                <a:ext cx="348521" cy="470651"/>
                <a:chOff x="7011958" y="-48945"/>
                <a:chExt cx="557213" cy="752475"/>
              </a:xfrm>
              <a:solidFill>
                <a:schemeClr val="tx1">
                  <a:alpha val="7000"/>
                </a:schemeClr>
              </a:solidFill>
            </p:grpSpPr>
            <p:sp>
              <p:nvSpPr>
                <p:cNvPr id="17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22"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23"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24"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25"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526" name="Group 740"/>
              <p:cNvGrpSpPr/>
              <p:nvPr/>
            </p:nvGrpSpPr>
            <p:grpSpPr>
              <a:xfrm>
                <a:off x="11599718" y="2515539"/>
                <a:ext cx="348521" cy="470651"/>
                <a:chOff x="7011958" y="-48945"/>
                <a:chExt cx="557213" cy="752475"/>
              </a:xfrm>
              <a:solidFill>
                <a:schemeClr val="tx1">
                  <a:alpha val="12000"/>
                </a:schemeClr>
              </a:solidFill>
            </p:grpSpPr>
            <p:sp>
              <p:nvSpPr>
                <p:cNvPr id="17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527" name="Group 781"/>
              <p:cNvGrpSpPr/>
              <p:nvPr/>
            </p:nvGrpSpPr>
            <p:grpSpPr>
              <a:xfrm>
                <a:off x="6129230" y="1892531"/>
                <a:ext cx="612096" cy="486108"/>
                <a:chOff x="9258271" y="-45770"/>
                <a:chExt cx="925513" cy="735013"/>
              </a:xfrm>
              <a:solidFill>
                <a:schemeClr val="bg2">
                  <a:alpha val="38000"/>
                </a:schemeClr>
              </a:solidFill>
            </p:grpSpPr>
            <p:sp>
              <p:nvSpPr>
                <p:cNvPr id="177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528"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76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29"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30"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31"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532" name="Group 746"/>
              <p:cNvGrpSpPr/>
              <p:nvPr/>
            </p:nvGrpSpPr>
            <p:grpSpPr>
              <a:xfrm>
                <a:off x="8489250" y="1907988"/>
                <a:ext cx="348521" cy="470651"/>
                <a:chOff x="7011958" y="-48945"/>
                <a:chExt cx="557213" cy="752475"/>
              </a:xfrm>
              <a:solidFill>
                <a:schemeClr val="tx1">
                  <a:alpha val="7000"/>
                </a:schemeClr>
              </a:solidFill>
            </p:grpSpPr>
            <p:sp>
              <p:nvSpPr>
                <p:cNvPr id="17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33"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34"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35"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536"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7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37"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38"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39"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40"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541" name="Group 740"/>
              <p:cNvGrpSpPr/>
              <p:nvPr/>
            </p:nvGrpSpPr>
            <p:grpSpPr>
              <a:xfrm>
                <a:off x="10135128" y="1907988"/>
                <a:ext cx="348521" cy="470651"/>
                <a:chOff x="7011958" y="-48945"/>
                <a:chExt cx="557213" cy="752475"/>
              </a:xfrm>
              <a:solidFill>
                <a:schemeClr val="tx1">
                  <a:alpha val="12000"/>
                </a:schemeClr>
              </a:solidFill>
            </p:grpSpPr>
            <p:sp>
              <p:nvSpPr>
                <p:cNvPr id="17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42"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43"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44"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45"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46"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47"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48"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49"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50"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51"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52"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553" name="Group 746"/>
              <p:cNvGrpSpPr/>
              <p:nvPr/>
            </p:nvGrpSpPr>
            <p:grpSpPr>
              <a:xfrm>
                <a:off x="4519207" y="2515539"/>
                <a:ext cx="348521" cy="470651"/>
                <a:chOff x="7011958" y="-48945"/>
                <a:chExt cx="557213" cy="752475"/>
              </a:xfrm>
              <a:solidFill>
                <a:schemeClr val="tx1">
                  <a:alpha val="7000"/>
                </a:schemeClr>
              </a:solidFill>
            </p:grpSpPr>
            <p:sp>
              <p:nvSpPr>
                <p:cNvPr id="174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54"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55"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56"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557"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58"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59"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60"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61"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62"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63"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64"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65"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566" name="Group 740"/>
              <p:cNvGrpSpPr/>
              <p:nvPr/>
            </p:nvGrpSpPr>
            <p:grpSpPr>
              <a:xfrm>
                <a:off x="5060990" y="1907988"/>
                <a:ext cx="348521" cy="470651"/>
                <a:chOff x="7011958" y="-48945"/>
                <a:chExt cx="557213" cy="752475"/>
              </a:xfrm>
              <a:solidFill>
                <a:schemeClr val="tx1">
                  <a:alpha val="12000"/>
                </a:schemeClr>
              </a:solidFill>
            </p:grpSpPr>
            <p:sp>
              <p:nvSpPr>
                <p:cNvPr id="174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67"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68"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69"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70"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71"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72"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73"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74"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75"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76"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77"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78"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79"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80"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81"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82"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83"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84"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85"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86"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87"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88"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589" name="Group 740"/>
              <p:cNvGrpSpPr/>
              <p:nvPr/>
            </p:nvGrpSpPr>
            <p:grpSpPr>
              <a:xfrm>
                <a:off x="7820024" y="1334439"/>
                <a:ext cx="348521" cy="470651"/>
                <a:chOff x="7011958" y="-48945"/>
                <a:chExt cx="557213" cy="752475"/>
              </a:xfrm>
              <a:solidFill>
                <a:schemeClr val="tx1">
                  <a:alpha val="12000"/>
                </a:schemeClr>
              </a:solidFill>
            </p:grpSpPr>
            <p:sp>
              <p:nvSpPr>
                <p:cNvPr id="174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590" name="Group 746"/>
              <p:cNvGrpSpPr/>
              <p:nvPr/>
            </p:nvGrpSpPr>
            <p:grpSpPr>
              <a:xfrm>
                <a:off x="10239605" y="1334439"/>
                <a:ext cx="348521" cy="470651"/>
                <a:chOff x="7011958" y="-48945"/>
                <a:chExt cx="557213" cy="752475"/>
              </a:xfrm>
              <a:solidFill>
                <a:schemeClr val="tx1">
                  <a:alpha val="7000"/>
                </a:schemeClr>
              </a:solidFill>
            </p:grpSpPr>
            <p:sp>
              <p:nvSpPr>
                <p:cNvPr id="17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91"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92"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93"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94"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595" name="Group 740"/>
              <p:cNvGrpSpPr/>
              <p:nvPr/>
            </p:nvGrpSpPr>
            <p:grpSpPr>
              <a:xfrm>
                <a:off x="11612418" y="1334439"/>
                <a:ext cx="348521" cy="470651"/>
                <a:chOff x="7011958" y="-48945"/>
                <a:chExt cx="557213" cy="752475"/>
              </a:xfrm>
              <a:solidFill>
                <a:schemeClr val="tx1">
                  <a:alpha val="12000"/>
                </a:schemeClr>
              </a:solidFill>
            </p:grpSpPr>
            <p:sp>
              <p:nvSpPr>
                <p:cNvPr id="17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596" name="Group 781"/>
              <p:cNvGrpSpPr/>
              <p:nvPr/>
            </p:nvGrpSpPr>
            <p:grpSpPr>
              <a:xfrm>
                <a:off x="6141930" y="711431"/>
                <a:ext cx="612096" cy="486108"/>
                <a:chOff x="9258271" y="-45770"/>
                <a:chExt cx="925513" cy="735013"/>
              </a:xfrm>
              <a:solidFill>
                <a:schemeClr val="bg2">
                  <a:alpha val="38000"/>
                </a:schemeClr>
              </a:solidFill>
            </p:grpSpPr>
            <p:sp>
              <p:nvSpPr>
                <p:cNvPr id="17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597"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7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98"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99"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00"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601" name="Group 746"/>
              <p:cNvGrpSpPr/>
              <p:nvPr/>
            </p:nvGrpSpPr>
            <p:grpSpPr>
              <a:xfrm>
                <a:off x="8501950" y="726888"/>
                <a:ext cx="348521" cy="470651"/>
                <a:chOff x="7011958" y="-48945"/>
                <a:chExt cx="557213" cy="752475"/>
              </a:xfrm>
              <a:solidFill>
                <a:schemeClr val="tx1">
                  <a:alpha val="7000"/>
                </a:schemeClr>
              </a:solidFill>
            </p:grpSpPr>
            <p:sp>
              <p:nvSpPr>
                <p:cNvPr id="17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602"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03"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04"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605"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70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606"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07"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08"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09"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610" name="Group 740"/>
              <p:cNvGrpSpPr/>
              <p:nvPr/>
            </p:nvGrpSpPr>
            <p:grpSpPr>
              <a:xfrm>
                <a:off x="10147828" y="726888"/>
                <a:ext cx="348521" cy="470651"/>
                <a:chOff x="7011958" y="-48945"/>
                <a:chExt cx="557213" cy="752475"/>
              </a:xfrm>
              <a:solidFill>
                <a:schemeClr val="tx1">
                  <a:alpha val="12000"/>
                </a:schemeClr>
              </a:solidFill>
            </p:grpSpPr>
            <p:sp>
              <p:nvSpPr>
                <p:cNvPr id="170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611"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12"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13"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14"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15"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16"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17"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18"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19"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20"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21"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622" name="Group 746"/>
              <p:cNvGrpSpPr/>
              <p:nvPr/>
            </p:nvGrpSpPr>
            <p:grpSpPr>
              <a:xfrm>
                <a:off x="4531907" y="1334439"/>
                <a:ext cx="348521" cy="470651"/>
                <a:chOff x="7011958" y="-48945"/>
                <a:chExt cx="557213" cy="752475"/>
              </a:xfrm>
              <a:solidFill>
                <a:schemeClr val="tx1">
                  <a:alpha val="7000"/>
                </a:schemeClr>
              </a:solidFill>
            </p:grpSpPr>
            <p:sp>
              <p:nvSpPr>
                <p:cNvPr id="17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623"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24"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25"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626"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27"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28"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29"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30"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31"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32"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33"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34"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635" name="Group 740"/>
              <p:cNvGrpSpPr/>
              <p:nvPr/>
            </p:nvGrpSpPr>
            <p:grpSpPr>
              <a:xfrm>
                <a:off x="5073690" y="726888"/>
                <a:ext cx="348521" cy="470651"/>
                <a:chOff x="7011958" y="-48945"/>
                <a:chExt cx="557213" cy="752475"/>
              </a:xfrm>
              <a:solidFill>
                <a:schemeClr val="tx1">
                  <a:alpha val="12000"/>
                </a:schemeClr>
              </a:solidFill>
            </p:grpSpPr>
            <p:sp>
              <p:nvSpPr>
                <p:cNvPr id="16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636"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37"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38"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39"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40"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41"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42"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43"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44"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45"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46"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47"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48"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49"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50"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51"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52"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53"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54"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55"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656" name="Group 740"/>
              <p:cNvGrpSpPr/>
              <p:nvPr/>
            </p:nvGrpSpPr>
            <p:grpSpPr>
              <a:xfrm>
                <a:off x="2206625" y="46874"/>
                <a:ext cx="348521" cy="470651"/>
                <a:chOff x="7011958" y="-48945"/>
                <a:chExt cx="557213" cy="752475"/>
              </a:xfrm>
              <a:solidFill>
                <a:schemeClr val="tx1">
                  <a:alpha val="12000"/>
                </a:schemeClr>
              </a:solidFill>
            </p:grpSpPr>
            <p:sp>
              <p:nvSpPr>
                <p:cNvPr id="169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657" name="Group 746"/>
              <p:cNvGrpSpPr/>
              <p:nvPr/>
            </p:nvGrpSpPr>
            <p:grpSpPr>
              <a:xfrm>
                <a:off x="4623272" y="46874"/>
                <a:ext cx="348521" cy="470651"/>
                <a:chOff x="7011958" y="-48945"/>
                <a:chExt cx="557213" cy="752475"/>
              </a:xfrm>
              <a:solidFill>
                <a:schemeClr val="tx1">
                  <a:alpha val="7000"/>
                </a:schemeClr>
              </a:solidFill>
            </p:grpSpPr>
            <p:sp>
              <p:nvSpPr>
                <p:cNvPr id="16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658"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59"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60"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61"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62"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63"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64"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65"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666" name="Group 740"/>
              <p:cNvGrpSpPr/>
              <p:nvPr/>
            </p:nvGrpSpPr>
            <p:grpSpPr>
              <a:xfrm>
                <a:off x="5994129" y="46874"/>
                <a:ext cx="348521" cy="470651"/>
                <a:chOff x="7011958" y="-48945"/>
                <a:chExt cx="557213" cy="752475"/>
              </a:xfrm>
              <a:solidFill>
                <a:schemeClr val="tx1">
                  <a:alpha val="12000"/>
                </a:schemeClr>
              </a:solidFill>
            </p:grpSpPr>
            <p:sp>
              <p:nvSpPr>
                <p:cNvPr id="169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667"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68"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69"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70"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671" name="Group 746"/>
              <p:cNvGrpSpPr/>
              <p:nvPr/>
            </p:nvGrpSpPr>
            <p:grpSpPr>
              <a:xfrm>
                <a:off x="10808405" y="46874"/>
                <a:ext cx="348521" cy="470651"/>
                <a:chOff x="7011958" y="-48945"/>
                <a:chExt cx="557213" cy="752475"/>
              </a:xfrm>
              <a:solidFill>
                <a:schemeClr val="tx1">
                  <a:alpha val="7000"/>
                </a:schemeClr>
              </a:solidFill>
            </p:grpSpPr>
            <p:sp>
              <p:nvSpPr>
                <p:cNvPr id="169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672"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73"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74"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675"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68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676"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77"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78"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79"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sp>
        <p:nvSpPr>
          <p:cNvPr id="2554" name="Rectangle 2553"/>
          <p:cNvSpPr/>
          <p:nvPr userDrawn="1"/>
        </p:nvSpPr>
        <p:spPr bwMode="auto">
          <a:xfrm>
            <a:off x="0" y="0"/>
            <a:ext cx="12436475" cy="6994525"/>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2" name="Footer Placeholder 1"/>
          <p:cNvSpPr>
            <a:spLocks noGrp="1"/>
          </p:cNvSpPr>
          <p:nvPr>
            <p:ph type="ftr" sz="quarter" idx="10"/>
          </p:nvPr>
        </p:nvSpPr>
        <p:spPr>
          <a:xfrm>
            <a:off x="457200" y="6565900"/>
            <a:ext cx="3937000" cy="136525"/>
          </a:xfrm>
          <a:prstGeom prst="rect">
            <a:avLst/>
          </a:prstGeom>
        </p:spPr>
        <p:txBody>
          <a:bodyPr/>
          <a:lstStyle>
            <a:lvl1pPr fontAlgn="base">
              <a:spcBef>
                <a:spcPct val="0"/>
              </a:spcBef>
              <a:spcAft>
                <a:spcPct val="0"/>
              </a:spcAft>
              <a:defRPr dirty="0" smtClean="0">
                <a:solidFill>
                  <a:srgbClr val="000000"/>
                </a:solidFill>
              </a:defRPr>
            </a:lvl1pPr>
          </a:lstStyle>
          <a:p>
            <a:pPr>
              <a:defRPr/>
            </a:pPr>
            <a:r>
              <a:t>Microsoft Confidential</a:t>
            </a:r>
            <a:endParaRPr/>
          </a:p>
        </p:txBody>
      </p:sp>
      <p:sp>
        <p:nvSpPr>
          <p:cNvPr id="3" name="Slide Number Placeholder 2"/>
          <p:cNvSpPr>
            <a:spLocks noGrp="1"/>
          </p:cNvSpPr>
          <p:nvPr>
            <p:ph type="sldNum" sz="quarter" idx="11"/>
          </p:nvPr>
        </p:nvSpPr>
        <p:spPr>
          <a:xfrm>
            <a:off x="11595100" y="6565900"/>
            <a:ext cx="566738" cy="136525"/>
          </a:xfrm>
          <a:prstGeom prst="rect">
            <a:avLst/>
          </a:prstGeom>
        </p:spPr>
        <p:txBody>
          <a:bodyPr/>
          <a:lstStyle>
            <a:lvl1pPr defTabSz="931863"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1354819784"/>
      </p:ext>
    </p:extLst>
  </p:cSld>
  <p:clrMapOvr>
    <a:overrideClrMapping bg1="lt1" tx1="dk1" bg2="lt2" tx2="dk2" accent1="accent1" accent2="accent2" accent3="accent3" accent4="accent4" accent5="accent5" accent6="accent6" hlink="hlink" folHlink="folHlink"/>
  </p:clrMapOvr>
  <p:transition spd="med">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52pt Title">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57200" y="6565901"/>
            <a:ext cx="3937000" cy="136525"/>
          </a:xfrm>
          <a:prstGeom prst="rect">
            <a:avLst/>
          </a:prstGeom>
        </p:spPr>
        <p:txBody>
          <a:bodyPr/>
          <a:lstStyle>
            <a:lvl1pPr fontAlgn="base">
              <a:spcBef>
                <a:spcPct val="0"/>
              </a:spcBef>
              <a:spcAft>
                <a:spcPct val="0"/>
              </a:spcAft>
              <a:defRPr>
                <a:solidFill>
                  <a:srgbClr val="002050"/>
                </a:solidFill>
              </a:defRPr>
            </a:lvl1pPr>
          </a:lstStyle>
          <a:p>
            <a:pPr>
              <a:defRPr/>
            </a:pPr>
            <a:r>
              <a:t>Microsoft Confidential</a:t>
            </a:r>
          </a:p>
        </p:txBody>
      </p:sp>
      <p:sp>
        <p:nvSpPr>
          <p:cNvPr id="4" name="Slide Number Placeholder 3"/>
          <p:cNvSpPr>
            <a:spLocks noGrp="1"/>
          </p:cNvSpPr>
          <p:nvPr>
            <p:ph type="sldNum" sz="quarter" idx="11"/>
          </p:nvPr>
        </p:nvSpPr>
        <p:spPr>
          <a:xfrm>
            <a:off x="11595101" y="6565901"/>
            <a:ext cx="566738" cy="136525"/>
          </a:xfrm>
          <a:prstGeom prst="rect">
            <a:avLst/>
          </a:prstGeom>
        </p:spPr>
        <p:txBody>
          <a:bodyPr/>
          <a:lstStyle>
            <a:lvl1pPr defTabSz="931684" fontAlgn="base">
              <a:spcBef>
                <a:spcPct val="0"/>
              </a:spcBef>
              <a:spcAft>
                <a:spcPct val="0"/>
              </a:spcAft>
              <a:defRPr>
                <a:solidFill>
                  <a:srgbClr val="002050"/>
                </a:solidFill>
              </a:defRPr>
            </a:lvl1pPr>
          </a:lstStyle>
          <a:p>
            <a:pPr>
              <a:defRPr/>
            </a:pPr>
            <a:fld id="{EC136591-509A-F246-B30E-5ECE4A4A5F5E}" type="slidenum">
              <a:rPr/>
              <a:pPr>
                <a:defRPr/>
              </a:pPr>
              <a:t>‹#›</a:t>
            </a:fld>
            <a:endParaRPr/>
          </a:p>
        </p:txBody>
      </p:sp>
      <p:sp>
        <p:nvSpPr>
          <p:cNvPr id="2" name="Title 1"/>
          <p:cNvSpPr>
            <a:spLocks noGrp="1"/>
          </p:cNvSpPr>
          <p:nvPr>
            <p:ph type="title"/>
          </p:nvPr>
        </p:nvSpPr>
        <p:spPr/>
        <p:txBody>
          <a:bodyPr/>
          <a:lstStyle/>
          <a:p>
            <a:r>
              <a:rPr lang="en-US" smtClean="0"/>
              <a:t>Click to edit Master title style</a:t>
            </a:r>
            <a:endParaRPr lang="en-IN"/>
          </a:p>
        </p:txBody>
      </p:sp>
    </p:spTree>
    <p:extLst>
      <p:ext uri="{BB962C8B-B14F-4D97-AF65-F5344CB8AC3E}">
        <p14:creationId xmlns:p14="http://schemas.microsoft.com/office/powerpoint/2010/main" val="3547335438"/>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re - Sous Titre - Bullet poi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95274"/>
            <a:ext cx="11889564" cy="593860"/>
          </a:xfrm>
        </p:spPr>
        <p:txBody>
          <a:bodyPr lIns="324000" rIns="144000"/>
          <a:lstStyle>
            <a:lvl1pPr>
              <a:defRPr sz="4800"/>
            </a:lvl1pPr>
          </a:lstStyle>
          <a:p>
            <a:r>
              <a:rPr lang="en-US" dirty="0" err="1" smtClean="0"/>
              <a:t>Titre</a:t>
            </a:r>
            <a:endParaRPr lang="en-US" dirty="0"/>
          </a:p>
        </p:txBody>
      </p:sp>
      <p:sp>
        <p:nvSpPr>
          <p:cNvPr id="4" name="Rectangle 3"/>
          <p:cNvSpPr/>
          <p:nvPr userDrawn="1"/>
        </p:nvSpPr>
        <p:spPr>
          <a:xfrm>
            <a:off x="0" y="535453"/>
            <a:ext cx="353681" cy="353681"/>
          </a:xfrm>
          <a:prstGeom prst="rect">
            <a:avLst/>
          </a:prstGeom>
          <a:solidFill>
            <a:srgbClr val="F472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12" name="Group 11"/>
          <p:cNvGrpSpPr/>
          <p:nvPr userDrawn="1"/>
        </p:nvGrpSpPr>
        <p:grpSpPr>
          <a:xfrm>
            <a:off x="6152588" y="6634306"/>
            <a:ext cx="6283887" cy="360219"/>
            <a:chOff x="6152588" y="6634306"/>
            <a:chExt cx="6283887" cy="360219"/>
          </a:xfrm>
        </p:grpSpPr>
        <p:sp>
          <p:nvSpPr>
            <p:cNvPr id="7" name="Rectangle 6"/>
            <p:cNvSpPr/>
            <p:nvPr userDrawn="1"/>
          </p:nvSpPr>
          <p:spPr>
            <a:xfrm>
              <a:off x="6589127" y="6634306"/>
              <a:ext cx="5847348" cy="360219"/>
            </a:xfrm>
            <a:prstGeom prst="rect">
              <a:avLst/>
            </a:prstGeom>
            <a:solidFill>
              <a:srgbClr val="EC00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Rectangle 7"/>
            <p:cNvSpPr/>
            <p:nvPr userDrawn="1"/>
          </p:nvSpPr>
          <p:spPr>
            <a:xfrm>
              <a:off x="6152588" y="6640844"/>
              <a:ext cx="353681" cy="353681"/>
            </a:xfrm>
            <a:prstGeom prst="rect">
              <a:avLst/>
            </a:prstGeom>
            <a:solidFill>
              <a:srgbClr val="F472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 name="ZoneTexte 10"/>
            <p:cNvSpPr txBox="1"/>
            <p:nvPr userDrawn="1"/>
          </p:nvSpPr>
          <p:spPr>
            <a:xfrm>
              <a:off x="10829178" y="6652969"/>
              <a:ext cx="1253869" cy="307777"/>
            </a:xfrm>
            <a:prstGeom prst="rect">
              <a:avLst/>
            </a:prstGeom>
            <a:noFill/>
          </p:spPr>
          <p:txBody>
            <a:bodyPr wrap="none" rtlCol="0">
              <a:spAutoFit/>
            </a:bodyPr>
            <a:lstStyle/>
            <a:p>
              <a:r>
                <a:rPr lang="fr-FR" sz="1400" dirty="0" err="1" smtClean="0">
                  <a:solidFill>
                    <a:schemeClr val="bg1"/>
                  </a:solidFill>
                  <a:latin typeface="Segoe Pro Display Light" panose="020B0302040504020203" pitchFamily="34" charset="0"/>
                </a:rPr>
                <a:t>tech.days</a:t>
              </a:r>
              <a:r>
                <a:rPr lang="fr-FR" sz="1400" dirty="0" smtClean="0">
                  <a:solidFill>
                    <a:schemeClr val="bg1"/>
                  </a:solidFill>
                  <a:latin typeface="Segoe Pro Display Light" panose="020B0302040504020203" pitchFamily="34" charset="0"/>
                </a:rPr>
                <a:t> 2015</a:t>
              </a:r>
              <a:endParaRPr lang="fr-FR" sz="1400" dirty="0">
                <a:solidFill>
                  <a:schemeClr val="bg1"/>
                </a:solidFill>
                <a:latin typeface="Segoe Pro Display Light" panose="020B0302040504020203" pitchFamily="34" charset="0"/>
              </a:endParaRPr>
            </a:p>
          </p:txBody>
        </p:sp>
        <p:sp>
          <p:nvSpPr>
            <p:cNvPr id="10" name="ZoneTexte 11"/>
            <p:cNvSpPr txBox="1"/>
            <p:nvPr userDrawn="1"/>
          </p:nvSpPr>
          <p:spPr>
            <a:xfrm>
              <a:off x="6650285" y="6652969"/>
              <a:ext cx="1159292" cy="307777"/>
            </a:xfrm>
            <a:prstGeom prst="rect">
              <a:avLst/>
            </a:prstGeom>
            <a:noFill/>
          </p:spPr>
          <p:txBody>
            <a:bodyPr wrap="none" rtlCol="0">
              <a:spAutoFit/>
            </a:bodyPr>
            <a:lstStyle/>
            <a:p>
              <a:r>
                <a:rPr lang="fr-FR" sz="1400" dirty="0" smtClean="0">
                  <a:solidFill>
                    <a:schemeClr val="bg1"/>
                  </a:solidFill>
                  <a:latin typeface="Segoe Pro Display Light" panose="020B0302040504020203" pitchFamily="34" charset="0"/>
                </a:rPr>
                <a:t>#</a:t>
              </a:r>
              <a:r>
                <a:rPr lang="fr-FR" sz="1400" dirty="0" err="1" smtClean="0">
                  <a:solidFill>
                    <a:schemeClr val="bg1"/>
                  </a:solidFill>
                  <a:latin typeface="Segoe Pro Display Light" panose="020B0302040504020203" pitchFamily="34" charset="0"/>
                </a:rPr>
                <a:t>mstechdays</a:t>
              </a:r>
              <a:endParaRPr lang="fr-FR" sz="1400" dirty="0">
                <a:solidFill>
                  <a:schemeClr val="bg1"/>
                </a:solidFill>
                <a:latin typeface="Segoe Pro Display Light" panose="020B0302040504020203" pitchFamily="34" charset="0"/>
              </a:endParaRPr>
            </a:p>
          </p:txBody>
        </p:sp>
      </p:grpSp>
      <p:sp>
        <p:nvSpPr>
          <p:cNvPr id="13" name="Text Placeholder 24"/>
          <p:cNvSpPr>
            <a:spLocks noGrp="1"/>
          </p:cNvSpPr>
          <p:nvPr>
            <p:ph type="body" sz="quarter" idx="13"/>
          </p:nvPr>
        </p:nvSpPr>
        <p:spPr>
          <a:xfrm>
            <a:off x="274638" y="1554261"/>
            <a:ext cx="11807825" cy="4895329"/>
          </a:xfrm>
          <a:prstGeom prst="rect">
            <a:avLst/>
          </a:prstGeom>
        </p:spPr>
        <p:txBody>
          <a:bodyPr lIns="0"/>
          <a:lstStyle>
            <a:lvl1pPr marL="571500" indent="-504000">
              <a:buFont typeface="Wingdings" panose="05000000000000000000" pitchFamily="2" charset="2"/>
              <a:buChar char="§"/>
              <a:defRPr>
                <a:solidFill>
                  <a:schemeClr val="bg2">
                    <a:lumMod val="50000"/>
                  </a:schemeClr>
                </a:solidFill>
              </a:defRPr>
            </a:lvl1pPr>
            <a:lvl2pPr marL="576000" indent="-504000">
              <a:buFont typeface="Wingdings" panose="05000000000000000000" pitchFamily="2" charset="2"/>
              <a:buChar char="§"/>
              <a:defRPr sz="2800"/>
            </a:lvl2pPr>
            <a:lvl3pPr marL="576000" indent="-504000">
              <a:buFont typeface="Wingdings" panose="05000000000000000000" pitchFamily="2" charset="2"/>
              <a:buChar char="§"/>
              <a:defRPr sz="2400"/>
            </a:lvl3pPr>
            <a:lvl4pPr marL="576000" indent="-504000">
              <a:buFont typeface="Wingdings" panose="05000000000000000000" pitchFamily="2" charset="2"/>
              <a:buChar char="§"/>
              <a:defRPr sz="2000"/>
            </a:lvl4pPr>
            <a:lvl5pPr marL="576000" indent="-504000">
              <a:buFont typeface="Wingdings" panose="05000000000000000000" pitchFamily="2" charset="2"/>
              <a:buChar cha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FR" dirty="0"/>
          </a:p>
        </p:txBody>
      </p:sp>
      <p:sp>
        <p:nvSpPr>
          <p:cNvPr id="11" name="Text Placeholder 15"/>
          <p:cNvSpPr>
            <a:spLocks noGrp="1"/>
          </p:cNvSpPr>
          <p:nvPr>
            <p:ph type="body" sz="quarter" idx="14" hasCustomPrompt="1"/>
          </p:nvPr>
        </p:nvSpPr>
        <p:spPr>
          <a:xfrm>
            <a:off x="274638" y="904974"/>
            <a:ext cx="11888787" cy="443365"/>
          </a:xfrm>
          <a:prstGeom prst="rect">
            <a:avLst/>
          </a:prstGeom>
        </p:spPr>
        <p:txBody>
          <a:bodyPr lIns="324000"/>
          <a:lstStyle>
            <a:lvl1pPr marL="0" indent="0">
              <a:buNone/>
              <a:defRPr sz="3200" baseline="0">
                <a:solidFill>
                  <a:schemeClr val="bg2">
                    <a:lumMod val="50000"/>
                  </a:schemeClr>
                </a:solidFill>
              </a:defRPr>
            </a:lvl1pPr>
          </a:lstStyle>
          <a:p>
            <a:pPr lvl="0"/>
            <a:r>
              <a:rPr lang="fr-FR" dirty="0" smtClean="0"/>
              <a:t>Sous titre</a:t>
            </a:r>
            <a:endParaRPr lang="fr-FR" dirty="0"/>
          </a:p>
        </p:txBody>
      </p:sp>
      <p:sp>
        <p:nvSpPr>
          <p:cNvPr id="20" name="Text Placeholder 19"/>
          <p:cNvSpPr>
            <a:spLocks noGrp="1"/>
          </p:cNvSpPr>
          <p:nvPr>
            <p:ph type="body" sz="quarter" idx="15" hasCustomPrompt="1"/>
          </p:nvPr>
        </p:nvSpPr>
        <p:spPr>
          <a:xfrm>
            <a:off x="601613" y="6652968"/>
            <a:ext cx="5472113" cy="308219"/>
          </a:xfrm>
          <a:prstGeom prst="rect">
            <a:avLst/>
          </a:prstGeom>
        </p:spPr>
        <p:txBody>
          <a:bodyPr/>
          <a:lstStyle>
            <a:lvl1pPr marL="0" indent="0" algn="r">
              <a:buFontTx/>
              <a:buNone/>
              <a:defRPr lang="fr-FR" sz="1400" kern="1200" dirty="0">
                <a:solidFill>
                  <a:srgbClr val="EC008C"/>
                </a:solidFill>
                <a:latin typeface="Segoe Pro Display Light" panose="020B0302040504020203" pitchFamily="34" charset="0"/>
                <a:ea typeface="+mn-ea"/>
                <a:cs typeface="+mn-cs"/>
              </a:defRPr>
            </a:lvl1pPr>
          </a:lstStyle>
          <a:p>
            <a:r>
              <a:rPr lang="fr-FR" dirty="0" smtClean="0"/>
              <a:t>Titre session pied de page</a:t>
            </a:r>
            <a:endParaRPr lang="fr-FR" dirty="0"/>
          </a:p>
        </p:txBody>
      </p:sp>
    </p:spTree>
    <p:extLst>
      <p:ext uri="{BB962C8B-B14F-4D97-AF65-F5344CB8AC3E}">
        <p14:creationId xmlns:p14="http://schemas.microsoft.com/office/powerpoint/2010/main" val="3424709143"/>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re- Sous Titre - Tex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95274"/>
            <a:ext cx="11889564" cy="593860"/>
          </a:xfrm>
        </p:spPr>
        <p:txBody>
          <a:bodyPr lIns="324000" rIns="144000"/>
          <a:lstStyle>
            <a:lvl1pPr>
              <a:defRPr sz="4800"/>
            </a:lvl1pPr>
          </a:lstStyle>
          <a:p>
            <a:r>
              <a:rPr lang="en-US" dirty="0" err="1" smtClean="0"/>
              <a:t>Titre</a:t>
            </a:r>
            <a:endParaRPr lang="en-US" dirty="0"/>
          </a:p>
        </p:txBody>
      </p:sp>
      <p:sp>
        <p:nvSpPr>
          <p:cNvPr id="4" name="Rectangle 3"/>
          <p:cNvSpPr/>
          <p:nvPr userDrawn="1"/>
        </p:nvSpPr>
        <p:spPr>
          <a:xfrm>
            <a:off x="0" y="535453"/>
            <a:ext cx="353681" cy="353681"/>
          </a:xfrm>
          <a:prstGeom prst="rect">
            <a:avLst/>
          </a:prstGeom>
          <a:solidFill>
            <a:srgbClr val="F472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12" name="Group 11"/>
          <p:cNvGrpSpPr/>
          <p:nvPr userDrawn="1"/>
        </p:nvGrpSpPr>
        <p:grpSpPr>
          <a:xfrm>
            <a:off x="6152588" y="6634306"/>
            <a:ext cx="6283887" cy="360219"/>
            <a:chOff x="6152588" y="6634306"/>
            <a:chExt cx="6283887" cy="360219"/>
          </a:xfrm>
        </p:grpSpPr>
        <p:sp>
          <p:nvSpPr>
            <p:cNvPr id="7" name="Rectangle 6"/>
            <p:cNvSpPr/>
            <p:nvPr userDrawn="1"/>
          </p:nvSpPr>
          <p:spPr>
            <a:xfrm>
              <a:off x="6589127" y="6634306"/>
              <a:ext cx="5847348" cy="360219"/>
            </a:xfrm>
            <a:prstGeom prst="rect">
              <a:avLst/>
            </a:prstGeom>
            <a:solidFill>
              <a:srgbClr val="EC00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Rectangle 7"/>
            <p:cNvSpPr/>
            <p:nvPr userDrawn="1"/>
          </p:nvSpPr>
          <p:spPr>
            <a:xfrm>
              <a:off x="6152588" y="6640844"/>
              <a:ext cx="353681" cy="353681"/>
            </a:xfrm>
            <a:prstGeom prst="rect">
              <a:avLst/>
            </a:prstGeom>
            <a:solidFill>
              <a:srgbClr val="F472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 name="ZoneTexte 10"/>
            <p:cNvSpPr txBox="1"/>
            <p:nvPr userDrawn="1"/>
          </p:nvSpPr>
          <p:spPr>
            <a:xfrm>
              <a:off x="10829178" y="6652969"/>
              <a:ext cx="1253869" cy="307777"/>
            </a:xfrm>
            <a:prstGeom prst="rect">
              <a:avLst/>
            </a:prstGeom>
            <a:noFill/>
          </p:spPr>
          <p:txBody>
            <a:bodyPr wrap="none" rtlCol="0">
              <a:spAutoFit/>
            </a:bodyPr>
            <a:lstStyle/>
            <a:p>
              <a:r>
                <a:rPr lang="fr-FR" sz="1400" dirty="0" err="1" smtClean="0">
                  <a:solidFill>
                    <a:schemeClr val="bg1"/>
                  </a:solidFill>
                  <a:latin typeface="Segoe Pro Display Light" panose="020B0302040504020203" pitchFamily="34" charset="0"/>
                </a:rPr>
                <a:t>tech.days</a:t>
              </a:r>
              <a:r>
                <a:rPr lang="fr-FR" sz="1400" dirty="0" smtClean="0">
                  <a:solidFill>
                    <a:schemeClr val="bg1"/>
                  </a:solidFill>
                  <a:latin typeface="Segoe Pro Display Light" panose="020B0302040504020203" pitchFamily="34" charset="0"/>
                </a:rPr>
                <a:t> 2015</a:t>
              </a:r>
              <a:endParaRPr lang="fr-FR" sz="1400" dirty="0">
                <a:solidFill>
                  <a:schemeClr val="bg1"/>
                </a:solidFill>
                <a:latin typeface="Segoe Pro Display Light" panose="020B0302040504020203" pitchFamily="34" charset="0"/>
              </a:endParaRPr>
            </a:p>
          </p:txBody>
        </p:sp>
        <p:sp>
          <p:nvSpPr>
            <p:cNvPr id="10" name="ZoneTexte 11"/>
            <p:cNvSpPr txBox="1"/>
            <p:nvPr userDrawn="1"/>
          </p:nvSpPr>
          <p:spPr>
            <a:xfrm>
              <a:off x="6650285" y="6652969"/>
              <a:ext cx="1159292" cy="307777"/>
            </a:xfrm>
            <a:prstGeom prst="rect">
              <a:avLst/>
            </a:prstGeom>
            <a:noFill/>
          </p:spPr>
          <p:txBody>
            <a:bodyPr wrap="none" rtlCol="0">
              <a:spAutoFit/>
            </a:bodyPr>
            <a:lstStyle/>
            <a:p>
              <a:r>
                <a:rPr lang="fr-FR" sz="1400" dirty="0" smtClean="0">
                  <a:solidFill>
                    <a:schemeClr val="bg1"/>
                  </a:solidFill>
                  <a:latin typeface="Segoe Pro Display Light" panose="020B0302040504020203" pitchFamily="34" charset="0"/>
                </a:rPr>
                <a:t>#</a:t>
              </a:r>
              <a:r>
                <a:rPr lang="fr-FR" sz="1400" dirty="0" err="1" smtClean="0">
                  <a:solidFill>
                    <a:schemeClr val="bg1"/>
                  </a:solidFill>
                  <a:latin typeface="Segoe Pro Display Light" panose="020B0302040504020203" pitchFamily="34" charset="0"/>
                </a:rPr>
                <a:t>mstechdays</a:t>
              </a:r>
              <a:endParaRPr lang="fr-FR" sz="1400" dirty="0">
                <a:solidFill>
                  <a:schemeClr val="bg1"/>
                </a:solidFill>
                <a:latin typeface="Segoe Pro Display Light" panose="020B0302040504020203" pitchFamily="34" charset="0"/>
              </a:endParaRPr>
            </a:p>
          </p:txBody>
        </p:sp>
      </p:grpSp>
      <p:sp>
        <p:nvSpPr>
          <p:cNvPr id="13" name="Text Placeholder 24"/>
          <p:cNvSpPr>
            <a:spLocks noGrp="1"/>
          </p:cNvSpPr>
          <p:nvPr>
            <p:ph type="body" sz="quarter" idx="13"/>
          </p:nvPr>
        </p:nvSpPr>
        <p:spPr>
          <a:xfrm>
            <a:off x="274638" y="1554261"/>
            <a:ext cx="11807825" cy="4895329"/>
          </a:xfrm>
          <a:prstGeom prst="rect">
            <a:avLst/>
          </a:prstGeom>
        </p:spPr>
        <p:txBody>
          <a:bodyPr lIns="0"/>
          <a:lstStyle>
            <a:lvl1pPr marL="342900" indent="-342900">
              <a:buFontTx/>
              <a:buChar char="‪"/>
              <a:defRPr>
                <a:solidFill>
                  <a:schemeClr val="bg2">
                    <a:lumMod val="50000"/>
                  </a:schemeClr>
                </a:solidFill>
              </a:defRPr>
            </a:lvl1pPr>
            <a:lvl2pPr marL="342000" indent="-241300">
              <a:buFontTx/>
              <a:buChar char="‪"/>
              <a:defRPr sz="2800"/>
            </a:lvl2pPr>
            <a:lvl3pPr marL="342000" indent="-228600">
              <a:buFontTx/>
              <a:buChar char="‪"/>
              <a:defRPr sz="2400"/>
            </a:lvl3pPr>
            <a:lvl4pPr marL="342000" indent="-228600">
              <a:buFontTx/>
              <a:buChar char="‪"/>
              <a:defRPr sz="2000"/>
            </a:lvl4pPr>
            <a:lvl5pPr marL="342000" indent="-228600">
              <a:buFontTx/>
              <a:buChar cha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FR" dirty="0"/>
          </a:p>
        </p:txBody>
      </p:sp>
      <p:sp>
        <p:nvSpPr>
          <p:cNvPr id="11" name="Text Placeholder 15"/>
          <p:cNvSpPr>
            <a:spLocks noGrp="1"/>
          </p:cNvSpPr>
          <p:nvPr>
            <p:ph type="body" sz="quarter" idx="14" hasCustomPrompt="1"/>
          </p:nvPr>
        </p:nvSpPr>
        <p:spPr>
          <a:xfrm>
            <a:off x="274638" y="904974"/>
            <a:ext cx="11888787" cy="443365"/>
          </a:xfrm>
          <a:prstGeom prst="rect">
            <a:avLst/>
          </a:prstGeom>
        </p:spPr>
        <p:txBody>
          <a:bodyPr lIns="324000"/>
          <a:lstStyle>
            <a:lvl1pPr marL="0" indent="0">
              <a:buNone/>
              <a:defRPr sz="3200" baseline="0">
                <a:solidFill>
                  <a:schemeClr val="bg2">
                    <a:lumMod val="50000"/>
                  </a:schemeClr>
                </a:solidFill>
              </a:defRPr>
            </a:lvl1pPr>
          </a:lstStyle>
          <a:p>
            <a:pPr lvl="0"/>
            <a:r>
              <a:rPr lang="fr-FR" dirty="0" smtClean="0"/>
              <a:t>Sous titre</a:t>
            </a:r>
            <a:endParaRPr lang="fr-FR" dirty="0"/>
          </a:p>
        </p:txBody>
      </p:sp>
      <p:sp>
        <p:nvSpPr>
          <p:cNvPr id="18" name="Text Placeholder 19"/>
          <p:cNvSpPr>
            <a:spLocks noGrp="1"/>
          </p:cNvSpPr>
          <p:nvPr>
            <p:ph type="body" sz="quarter" idx="15" hasCustomPrompt="1"/>
          </p:nvPr>
        </p:nvSpPr>
        <p:spPr>
          <a:xfrm>
            <a:off x="601613" y="6652968"/>
            <a:ext cx="5472113" cy="308219"/>
          </a:xfrm>
          <a:prstGeom prst="rect">
            <a:avLst/>
          </a:prstGeom>
        </p:spPr>
        <p:txBody>
          <a:bodyPr/>
          <a:lstStyle>
            <a:lvl1pPr marL="0" indent="0" algn="r">
              <a:buFontTx/>
              <a:buNone/>
              <a:defRPr lang="fr-FR" sz="1400" kern="1200" dirty="0">
                <a:solidFill>
                  <a:srgbClr val="EC008C"/>
                </a:solidFill>
                <a:latin typeface="Segoe Pro Display Light" panose="020B0302040504020203" pitchFamily="34" charset="0"/>
                <a:ea typeface="+mn-ea"/>
                <a:cs typeface="+mn-cs"/>
              </a:defRPr>
            </a:lvl1pPr>
          </a:lstStyle>
          <a:p>
            <a:r>
              <a:rPr lang="fr-FR" dirty="0" smtClean="0"/>
              <a:t>Titre session pied de page</a:t>
            </a:r>
            <a:endParaRPr lang="fr-FR" dirty="0"/>
          </a:p>
        </p:txBody>
      </p:sp>
    </p:spTree>
    <p:extLst>
      <p:ext uri="{BB962C8B-B14F-4D97-AF65-F5344CB8AC3E}">
        <p14:creationId xmlns:p14="http://schemas.microsoft.com/office/powerpoint/2010/main" val="908295395"/>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re &amp; sous titre &amp; 2 listes couleur">
    <p:spTree>
      <p:nvGrpSpPr>
        <p:cNvPr id="1" name=""/>
        <p:cNvGrpSpPr/>
        <p:nvPr/>
      </p:nvGrpSpPr>
      <p:grpSpPr>
        <a:xfrm>
          <a:off x="0" y="0"/>
          <a:ext cx="0" cy="0"/>
          <a:chOff x="0" y="0"/>
          <a:chExt cx="0" cy="0"/>
        </a:xfrm>
      </p:grpSpPr>
      <p:sp>
        <p:nvSpPr>
          <p:cNvPr id="4" name="Rectangle 3"/>
          <p:cNvSpPr/>
          <p:nvPr userDrawn="1"/>
        </p:nvSpPr>
        <p:spPr>
          <a:xfrm>
            <a:off x="0" y="535453"/>
            <a:ext cx="353681" cy="353681"/>
          </a:xfrm>
          <a:prstGeom prst="rect">
            <a:avLst/>
          </a:prstGeom>
          <a:solidFill>
            <a:srgbClr val="F472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12" name="Group 11"/>
          <p:cNvGrpSpPr/>
          <p:nvPr userDrawn="1"/>
        </p:nvGrpSpPr>
        <p:grpSpPr>
          <a:xfrm>
            <a:off x="6152588" y="6634306"/>
            <a:ext cx="6283887" cy="360219"/>
            <a:chOff x="6152588" y="6634306"/>
            <a:chExt cx="6283887" cy="360219"/>
          </a:xfrm>
        </p:grpSpPr>
        <p:sp>
          <p:nvSpPr>
            <p:cNvPr id="7" name="Rectangle 6"/>
            <p:cNvSpPr/>
            <p:nvPr userDrawn="1"/>
          </p:nvSpPr>
          <p:spPr>
            <a:xfrm>
              <a:off x="6589127" y="6634306"/>
              <a:ext cx="5847348" cy="360219"/>
            </a:xfrm>
            <a:prstGeom prst="rect">
              <a:avLst/>
            </a:prstGeom>
            <a:solidFill>
              <a:srgbClr val="EC00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Rectangle 7"/>
            <p:cNvSpPr/>
            <p:nvPr userDrawn="1"/>
          </p:nvSpPr>
          <p:spPr>
            <a:xfrm>
              <a:off x="6152588" y="6640844"/>
              <a:ext cx="353681" cy="353681"/>
            </a:xfrm>
            <a:prstGeom prst="rect">
              <a:avLst/>
            </a:prstGeom>
            <a:solidFill>
              <a:srgbClr val="F472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 name="ZoneTexte 10"/>
            <p:cNvSpPr txBox="1"/>
            <p:nvPr userDrawn="1"/>
          </p:nvSpPr>
          <p:spPr>
            <a:xfrm>
              <a:off x="10829178" y="6652969"/>
              <a:ext cx="1253869" cy="307777"/>
            </a:xfrm>
            <a:prstGeom prst="rect">
              <a:avLst/>
            </a:prstGeom>
            <a:noFill/>
          </p:spPr>
          <p:txBody>
            <a:bodyPr wrap="none" rtlCol="0">
              <a:spAutoFit/>
            </a:bodyPr>
            <a:lstStyle/>
            <a:p>
              <a:r>
                <a:rPr lang="fr-FR" sz="1400" dirty="0" err="1" smtClean="0">
                  <a:solidFill>
                    <a:schemeClr val="bg1"/>
                  </a:solidFill>
                  <a:latin typeface="Segoe Pro Display Light" panose="020B0302040504020203" pitchFamily="34" charset="0"/>
                </a:rPr>
                <a:t>tech.days</a:t>
              </a:r>
              <a:r>
                <a:rPr lang="fr-FR" sz="1400" dirty="0" smtClean="0">
                  <a:solidFill>
                    <a:schemeClr val="bg1"/>
                  </a:solidFill>
                  <a:latin typeface="Segoe Pro Display Light" panose="020B0302040504020203" pitchFamily="34" charset="0"/>
                </a:rPr>
                <a:t> 2015</a:t>
              </a:r>
              <a:endParaRPr lang="fr-FR" sz="1400" dirty="0">
                <a:solidFill>
                  <a:schemeClr val="bg1"/>
                </a:solidFill>
                <a:latin typeface="Segoe Pro Display Light" panose="020B0302040504020203" pitchFamily="34" charset="0"/>
              </a:endParaRPr>
            </a:p>
          </p:txBody>
        </p:sp>
        <p:sp>
          <p:nvSpPr>
            <p:cNvPr id="10" name="ZoneTexte 11"/>
            <p:cNvSpPr txBox="1"/>
            <p:nvPr userDrawn="1"/>
          </p:nvSpPr>
          <p:spPr>
            <a:xfrm>
              <a:off x="6650285" y="6652969"/>
              <a:ext cx="1159292" cy="307777"/>
            </a:xfrm>
            <a:prstGeom prst="rect">
              <a:avLst/>
            </a:prstGeom>
            <a:noFill/>
          </p:spPr>
          <p:txBody>
            <a:bodyPr wrap="none" rtlCol="0">
              <a:spAutoFit/>
            </a:bodyPr>
            <a:lstStyle/>
            <a:p>
              <a:r>
                <a:rPr lang="fr-FR" sz="1400" dirty="0" smtClean="0">
                  <a:solidFill>
                    <a:schemeClr val="bg1"/>
                  </a:solidFill>
                  <a:latin typeface="Segoe Pro Display Light" panose="020B0302040504020203" pitchFamily="34" charset="0"/>
                </a:rPr>
                <a:t>#</a:t>
              </a:r>
              <a:r>
                <a:rPr lang="fr-FR" sz="1400" dirty="0" err="1" smtClean="0">
                  <a:solidFill>
                    <a:schemeClr val="bg1"/>
                  </a:solidFill>
                  <a:latin typeface="Segoe Pro Display Light" panose="020B0302040504020203" pitchFamily="34" charset="0"/>
                </a:rPr>
                <a:t>mstechdays</a:t>
              </a:r>
              <a:endParaRPr lang="fr-FR" sz="1400" dirty="0">
                <a:solidFill>
                  <a:schemeClr val="bg1"/>
                </a:solidFill>
                <a:latin typeface="Segoe Pro Display Light" panose="020B0302040504020203" pitchFamily="34" charset="0"/>
              </a:endParaRPr>
            </a:p>
          </p:txBody>
        </p:sp>
      </p:grpSp>
      <p:sp>
        <p:nvSpPr>
          <p:cNvPr id="5" name="Content Placeholder 4"/>
          <p:cNvSpPr>
            <a:spLocks noGrp="1"/>
          </p:cNvSpPr>
          <p:nvPr>
            <p:ph sz="quarter" idx="15" hasCustomPrompt="1"/>
          </p:nvPr>
        </p:nvSpPr>
        <p:spPr>
          <a:xfrm>
            <a:off x="274638" y="1552575"/>
            <a:ext cx="5727700" cy="4968875"/>
          </a:xfrm>
          <a:prstGeom prst="rect">
            <a:avLst/>
          </a:prstGeom>
        </p:spPr>
        <p:txBody>
          <a:bodyPr lIns="0"/>
          <a:lstStyle>
            <a:lvl1pPr marL="324000" indent="-324000">
              <a:buFont typeface="Segoe UI Light" panose="020B0502040204020203" pitchFamily="34" charset="0"/>
              <a:buChar char=" "/>
              <a:defRPr>
                <a:solidFill>
                  <a:schemeClr val="bg2">
                    <a:lumMod val="50000"/>
                  </a:schemeClr>
                </a:solidFill>
              </a:defRPr>
            </a:lvl1pPr>
            <a:lvl2pPr marL="324000" indent="-241300">
              <a:buFont typeface="Segoe UI" panose="020B0502040204020203" pitchFamily="34" charset="0"/>
              <a:buChar char=" "/>
              <a:defRPr/>
            </a:lvl2pPr>
            <a:lvl3pPr marL="324000" indent="-228600">
              <a:buFont typeface="Segoe UI" panose="020B0502040204020203" pitchFamily="34" charset="0"/>
              <a:buChar char=" "/>
              <a:defRPr/>
            </a:lvl3pPr>
            <a:lvl4pPr marL="324000" indent="-228600">
              <a:buFont typeface="Segoe UI" panose="020B0502040204020203" pitchFamily="34" charset="0"/>
              <a:buChar char=" "/>
              <a:defRPr/>
            </a:lvl4pPr>
            <a:lvl5pPr marL="324000" indent="-228600">
              <a:buFont typeface="Segoe UI" panose="020B0502040204020203" pitchFamily="34" charset="0"/>
              <a:buChar char=" "/>
              <a:defRPr/>
            </a:lvl5pPr>
          </a:lstStyle>
          <a:p>
            <a:pPr lvl="0"/>
            <a:r>
              <a:rPr lang="en-US" dirty="0" err="1" smtClean="0"/>
              <a:t>Paragraphe</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fr-FR" dirty="0"/>
          </a:p>
        </p:txBody>
      </p:sp>
      <p:sp>
        <p:nvSpPr>
          <p:cNvPr id="17" name="Title 1"/>
          <p:cNvSpPr>
            <a:spLocks noGrp="1"/>
          </p:cNvSpPr>
          <p:nvPr>
            <p:ph type="title" hasCustomPrompt="1"/>
          </p:nvPr>
        </p:nvSpPr>
        <p:spPr>
          <a:xfrm>
            <a:off x="274639" y="295274"/>
            <a:ext cx="11889564" cy="593860"/>
          </a:xfrm>
        </p:spPr>
        <p:txBody>
          <a:bodyPr lIns="324000" rIns="144000"/>
          <a:lstStyle>
            <a:lvl1pPr>
              <a:defRPr sz="4800"/>
            </a:lvl1pPr>
          </a:lstStyle>
          <a:p>
            <a:r>
              <a:rPr lang="en-US" dirty="0" err="1" smtClean="0"/>
              <a:t>Titre</a:t>
            </a:r>
            <a:endParaRPr lang="en-US" dirty="0"/>
          </a:p>
        </p:txBody>
      </p:sp>
      <p:sp>
        <p:nvSpPr>
          <p:cNvPr id="18" name="Text Placeholder 15"/>
          <p:cNvSpPr>
            <a:spLocks noGrp="1"/>
          </p:cNvSpPr>
          <p:nvPr>
            <p:ph type="body" sz="quarter" idx="14" hasCustomPrompt="1"/>
          </p:nvPr>
        </p:nvSpPr>
        <p:spPr>
          <a:xfrm>
            <a:off x="274638" y="904974"/>
            <a:ext cx="11888787" cy="443365"/>
          </a:xfrm>
          <a:prstGeom prst="rect">
            <a:avLst/>
          </a:prstGeom>
        </p:spPr>
        <p:txBody>
          <a:bodyPr lIns="324000"/>
          <a:lstStyle>
            <a:lvl1pPr marL="0" indent="0">
              <a:buNone/>
              <a:defRPr sz="3200" baseline="0">
                <a:solidFill>
                  <a:schemeClr val="bg2">
                    <a:lumMod val="50000"/>
                  </a:schemeClr>
                </a:solidFill>
              </a:defRPr>
            </a:lvl1pPr>
          </a:lstStyle>
          <a:p>
            <a:pPr lvl="0"/>
            <a:r>
              <a:rPr lang="fr-FR" dirty="0" smtClean="0"/>
              <a:t>Sous titre</a:t>
            </a:r>
            <a:endParaRPr lang="fr-FR" dirty="0"/>
          </a:p>
        </p:txBody>
      </p:sp>
      <p:sp>
        <p:nvSpPr>
          <p:cNvPr id="19" name="Content Placeholder 4"/>
          <p:cNvSpPr>
            <a:spLocks noGrp="1"/>
          </p:cNvSpPr>
          <p:nvPr>
            <p:ph sz="quarter" idx="16" hasCustomPrompt="1"/>
          </p:nvPr>
        </p:nvSpPr>
        <p:spPr>
          <a:xfrm>
            <a:off x="6400553" y="1552575"/>
            <a:ext cx="5727700" cy="4968875"/>
          </a:xfrm>
          <a:prstGeom prst="rect">
            <a:avLst/>
          </a:prstGeom>
          <a:solidFill>
            <a:srgbClr val="9B4F96"/>
          </a:solidFill>
        </p:spPr>
        <p:txBody>
          <a:bodyPr lIns="0"/>
          <a:lstStyle>
            <a:lvl1pPr marL="324000" indent="-324000">
              <a:buFont typeface="Segoe UI Light" panose="020B0502040204020203" pitchFamily="34" charset="0"/>
              <a:buChar char=" "/>
              <a:defRPr>
                <a:solidFill>
                  <a:schemeClr val="bg1"/>
                </a:solidFill>
              </a:defRPr>
            </a:lvl1pPr>
            <a:lvl2pPr marL="324000" indent="-241300">
              <a:buFont typeface="Segoe UI" panose="020B0502040204020203" pitchFamily="34" charset="0"/>
              <a:buChar char=" "/>
              <a:defRPr>
                <a:solidFill>
                  <a:schemeClr val="bg1"/>
                </a:solidFill>
              </a:defRPr>
            </a:lvl2pPr>
            <a:lvl3pPr marL="324000" indent="-228600">
              <a:buFont typeface="Segoe UI" panose="020B0502040204020203" pitchFamily="34" charset="0"/>
              <a:buChar char=" "/>
              <a:defRPr>
                <a:solidFill>
                  <a:schemeClr val="bg1"/>
                </a:solidFill>
              </a:defRPr>
            </a:lvl3pPr>
            <a:lvl4pPr marL="324000" indent="-228600">
              <a:buFont typeface="Segoe UI" panose="020B0502040204020203" pitchFamily="34" charset="0"/>
              <a:buChar char=" "/>
              <a:defRPr>
                <a:solidFill>
                  <a:schemeClr val="bg1"/>
                </a:solidFill>
              </a:defRPr>
            </a:lvl4pPr>
            <a:lvl5pPr marL="324000" indent="-228600">
              <a:buFont typeface="Segoe UI" panose="020B0502040204020203" pitchFamily="34" charset="0"/>
              <a:buChar char=" "/>
              <a:defRPr>
                <a:solidFill>
                  <a:schemeClr val="bg1"/>
                </a:solidFill>
              </a:defRPr>
            </a:lvl5pPr>
          </a:lstStyle>
          <a:p>
            <a:pPr lvl="0"/>
            <a:r>
              <a:rPr lang="en-US" dirty="0" err="1" smtClean="0"/>
              <a:t>Paragraphe</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fr-FR" dirty="0"/>
          </a:p>
        </p:txBody>
      </p:sp>
      <p:sp>
        <p:nvSpPr>
          <p:cNvPr id="15" name="Text Placeholder 19"/>
          <p:cNvSpPr>
            <a:spLocks noGrp="1"/>
          </p:cNvSpPr>
          <p:nvPr>
            <p:ph type="body" sz="quarter" idx="17" hasCustomPrompt="1"/>
          </p:nvPr>
        </p:nvSpPr>
        <p:spPr>
          <a:xfrm>
            <a:off x="601613" y="6652968"/>
            <a:ext cx="5472113" cy="308219"/>
          </a:xfrm>
          <a:prstGeom prst="rect">
            <a:avLst/>
          </a:prstGeom>
        </p:spPr>
        <p:txBody>
          <a:bodyPr/>
          <a:lstStyle>
            <a:lvl1pPr marL="0" indent="0" algn="r">
              <a:buFontTx/>
              <a:buNone/>
              <a:defRPr lang="fr-FR" sz="1400" kern="1200" dirty="0">
                <a:solidFill>
                  <a:srgbClr val="EC008C"/>
                </a:solidFill>
                <a:latin typeface="Segoe Pro Display Light" panose="020B0302040504020203" pitchFamily="34" charset="0"/>
                <a:ea typeface="+mn-ea"/>
                <a:cs typeface="+mn-cs"/>
              </a:defRPr>
            </a:lvl1pPr>
          </a:lstStyle>
          <a:p>
            <a:r>
              <a:rPr lang="fr-FR" dirty="0" smtClean="0"/>
              <a:t>Titre session pied de page</a:t>
            </a:r>
            <a:endParaRPr lang="fr-FR" dirty="0"/>
          </a:p>
        </p:txBody>
      </p:sp>
    </p:spTree>
    <p:extLst>
      <p:ext uri="{BB962C8B-B14F-4D97-AF65-F5344CB8AC3E}">
        <p14:creationId xmlns:p14="http://schemas.microsoft.com/office/powerpoint/2010/main" val="4259481248"/>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Vidéo">
    <p:spTree>
      <p:nvGrpSpPr>
        <p:cNvPr id="1" name=""/>
        <p:cNvGrpSpPr/>
        <p:nvPr/>
      </p:nvGrpSpPr>
      <p:grpSpPr>
        <a:xfrm>
          <a:off x="0" y="0"/>
          <a:ext cx="0" cy="0"/>
          <a:chOff x="0" y="0"/>
          <a:chExt cx="0" cy="0"/>
        </a:xfrm>
      </p:grpSpPr>
      <p:sp>
        <p:nvSpPr>
          <p:cNvPr id="4" name="Rectangle 3"/>
          <p:cNvSpPr/>
          <p:nvPr userDrawn="1"/>
        </p:nvSpPr>
        <p:spPr>
          <a:xfrm>
            <a:off x="0" y="535453"/>
            <a:ext cx="353681" cy="353681"/>
          </a:xfrm>
          <a:prstGeom prst="rect">
            <a:avLst/>
          </a:prstGeom>
          <a:solidFill>
            <a:srgbClr val="F472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12" name="Group 11"/>
          <p:cNvGrpSpPr/>
          <p:nvPr userDrawn="1"/>
        </p:nvGrpSpPr>
        <p:grpSpPr>
          <a:xfrm>
            <a:off x="6152588" y="6634306"/>
            <a:ext cx="6283887" cy="360219"/>
            <a:chOff x="6152588" y="6634306"/>
            <a:chExt cx="6283887" cy="360219"/>
          </a:xfrm>
        </p:grpSpPr>
        <p:sp>
          <p:nvSpPr>
            <p:cNvPr id="7" name="Rectangle 6"/>
            <p:cNvSpPr/>
            <p:nvPr userDrawn="1"/>
          </p:nvSpPr>
          <p:spPr>
            <a:xfrm>
              <a:off x="6589127" y="6634306"/>
              <a:ext cx="5847348" cy="360219"/>
            </a:xfrm>
            <a:prstGeom prst="rect">
              <a:avLst/>
            </a:prstGeom>
            <a:solidFill>
              <a:srgbClr val="EC00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Rectangle 7"/>
            <p:cNvSpPr/>
            <p:nvPr userDrawn="1"/>
          </p:nvSpPr>
          <p:spPr>
            <a:xfrm>
              <a:off x="6152588" y="6640844"/>
              <a:ext cx="353681" cy="353681"/>
            </a:xfrm>
            <a:prstGeom prst="rect">
              <a:avLst/>
            </a:prstGeom>
            <a:solidFill>
              <a:srgbClr val="F472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 name="ZoneTexte 10"/>
            <p:cNvSpPr txBox="1"/>
            <p:nvPr userDrawn="1"/>
          </p:nvSpPr>
          <p:spPr>
            <a:xfrm>
              <a:off x="10829178" y="6652969"/>
              <a:ext cx="1253869" cy="307777"/>
            </a:xfrm>
            <a:prstGeom prst="rect">
              <a:avLst/>
            </a:prstGeom>
            <a:noFill/>
          </p:spPr>
          <p:txBody>
            <a:bodyPr wrap="none" rtlCol="0">
              <a:spAutoFit/>
            </a:bodyPr>
            <a:lstStyle/>
            <a:p>
              <a:r>
                <a:rPr lang="fr-FR" sz="1400" dirty="0" err="1" smtClean="0">
                  <a:solidFill>
                    <a:schemeClr val="bg1"/>
                  </a:solidFill>
                  <a:latin typeface="Segoe Pro Display Light" panose="020B0302040504020203" pitchFamily="34" charset="0"/>
                </a:rPr>
                <a:t>tech.days</a:t>
              </a:r>
              <a:r>
                <a:rPr lang="fr-FR" sz="1400" dirty="0" smtClean="0">
                  <a:solidFill>
                    <a:schemeClr val="bg1"/>
                  </a:solidFill>
                  <a:latin typeface="Segoe Pro Display Light" panose="020B0302040504020203" pitchFamily="34" charset="0"/>
                </a:rPr>
                <a:t> 2015</a:t>
              </a:r>
              <a:endParaRPr lang="fr-FR" sz="1400" dirty="0">
                <a:solidFill>
                  <a:schemeClr val="bg1"/>
                </a:solidFill>
                <a:latin typeface="Segoe Pro Display Light" panose="020B0302040504020203" pitchFamily="34" charset="0"/>
              </a:endParaRPr>
            </a:p>
          </p:txBody>
        </p:sp>
        <p:sp>
          <p:nvSpPr>
            <p:cNvPr id="10" name="ZoneTexte 11"/>
            <p:cNvSpPr txBox="1"/>
            <p:nvPr userDrawn="1"/>
          </p:nvSpPr>
          <p:spPr>
            <a:xfrm>
              <a:off x="6650285" y="6652969"/>
              <a:ext cx="1159292" cy="307777"/>
            </a:xfrm>
            <a:prstGeom prst="rect">
              <a:avLst/>
            </a:prstGeom>
            <a:noFill/>
          </p:spPr>
          <p:txBody>
            <a:bodyPr wrap="none" rtlCol="0">
              <a:spAutoFit/>
            </a:bodyPr>
            <a:lstStyle/>
            <a:p>
              <a:r>
                <a:rPr lang="fr-FR" sz="1400" dirty="0" smtClean="0">
                  <a:solidFill>
                    <a:schemeClr val="bg1"/>
                  </a:solidFill>
                  <a:latin typeface="Segoe Pro Display Light" panose="020B0302040504020203" pitchFamily="34" charset="0"/>
                </a:rPr>
                <a:t>#</a:t>
              </a:r>
              <a:r>
                <a:rPr lang="fr-FR" sz="1400" dirty="0" err="1" smtClean="0">
                  <a:solidFill>
                    <a:schemeClr val="bg1"/>
                  </a:solidFill>
                  <a:latin typeface="Segoe Pro Display Light" panose="020B0302040504020203" pitchFamily="34" charset="0"/>
                </a:rPr>
                <a:t>mstechdays</a:t>
              </a:r>
              <a:endParaRPr lang="fr-FR" sz="1400" dirty="0">
                <a:solidFill>
                  <a:schemeClr val="bg1"/>
                </a:solidFill>
                <a:latin typeface="Segoe Pro Display Light" panose="020B0302040504020203" pitchFamily="34" charset="0"/>
              </a:endParaRPr>
            </a:p>
          </p:txBody>
        </p:sp>
      </p:grpSp>
      <p:pic>
        <p:nvPicPr>
          <p:cNvPr id="15" name="Imag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46" y="1913084"/>
            <a:ext cx="5001322" cy="2810267"/>
          </a:xfrm>
          <a:prstGeom prst="rect">
            <a:avLst/>
          </a:prstGeom>
          <a:noFill/>
          <a:ln>
            <a:noFill/>
          </a:ln>
        </p:spPr>
      </p:pic>
      <p:sp>
        <p:nvSpPr>
          <p:cNvPr id="16" name="Rectangle 15"/>
          <p:cNvSpPr/>
          <p:nvPr userDrawn="1"/>
        </p:nvSpPr>
        <p:spPr bwMode="auto">
          <a:xfrm>
            <a:off x="4994101" y="1913084"/>
            <a:ext cx="1595026" cy="280831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fr-FR"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7" name="Freeform 25"/>
          <p:cNvSpPr>
            <a:spLocks noEditPoints="1"/>
          </p:cNvSpPr>
          <p:nvPr userDrawn="1"/>
        </p:nvSpPr>
        <p:spPr bwMode="black">
          <a:xfrm rot="10800000">
            <a:off x="5453340" y="3092405"/>
            <a:ext cx="692889" cy="692889"/>
          </a:xfrm>
          <a:custGeom>
            <a:avLst/>
            <a:gdLst>
              <a:gd name="T0" fmla="*/ 50 w 150"/>
              <a:gd name="T1" fmla="*/ 75 h 150"/>
              <a:gd name="T2" fmla="*/ 90 w 150"/>
              <a:gd name="T3" fmla="*/ 45 h 150"/>
              <a:gd name="T4" fmla="*/ 90 w 150"/>
              <a:gd name="T5" fmla="*/ 105 h 150"/>
              <a:gd name="T6" fmla="*/ 50 w 150"/>
              <a:gd name="T7" fmla="*/ 75 h 150"/>
              <a:gd name="T8" fmla="*/ 75 w 150"/>
              <a:gd name="T9" fmla="*/ 140 h 150"/>
              <a:gd name="T10" fmla="*/ 10 w 150"/>
              <a:gd name="T11" fmla="*/ 75 h 150"/>
              <a:gd name="T12" fmla="*/ 75 w 150"/>
              <a:gd name="T13" fmla="*/ 10 h 150"/>
              <a:gd name="T14" fmla="*/ 140 w 150"/>
              <a:gd name="T15" fmla="*/ 75 h 150"/>
              <a:gd name="T16" fmla="*/ 75 w 150"/>
              <a:gd name="T17" fmla="*/ 140 h 150"/>
              <a:gd name="T18" fmla="*/ 75 w 150"/>
              <a:gd name="T19" fmla="*/ 150 h 150"/>
              <a:gd name="T20" fmla="*/ 150 w 150"/>
              <a:gd name="T21" fmla="*/ 75 h 150"/>
              <a:gd name="T22" fmla="*/ 75 w 150"/>
              <a:gd name="T23" fmla="*/ 0 h 150"/>
              <a:gd name="T24" fmla="*/ 0 w 150"/>
              <a:gd name="T25" fmla="*/ 75 h 150"/>
              <a:gd name="T26" fmla="*/ 75 w 150"/>
              <a:gd name="T27"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0" h="150">
                <a:moveTo>
                  <a:pt x="50" y="75"/>
                </a:moveTo>
                <a:cubicBezTo>
                  <a:pt x="90" y="45"/>
                  <a:pt x="90" y="45"/>
                  <a:pt x="90" y="45"/>
                </a:cubicBezTo>
                <a:cubicBezTo>
                  <a:pt x="90" y="105"/>
                  <a:pt x="90" y="105"/>
                  <a:pt x="90" y="105"/>
                </a:cubicBezTo>
                <a:lnTo>
                  <a:pt x="50" y="75"/>
                </a:lnTo>
                <a:close/>
                <a:moveTo>
                  <a:pt x="75" y="140"/>
                </a:moveTo>
                <a:cubicBezTo>
                  <a:pt x="39" y="140"/>
                  <a:pt x="10" y="111"/>
                  <a:pt x="10" y="75"/>
                </a:cubicBezTo>
                <a:cubicBezTo>
                  <a:pt x="10" y="39"/>
                  <a:pt x="39" y="10"/>
                  <a:pt x="75" y="10"/>
                </a:cubicBezTo>
                <a:cubicBezTo>
                  <a:pt x="111" y="10"/>
                  <a:pt x="140" y="39"/>
                  <a:pt x="140" y="75"/>
                </a:cubicBezTo>
                <a:cubicBezTo>
                  <a:pt x="140" y="111"/>
                  <a:pt x="111" y="140"/>
                  <a:pt x="75" y="140"/>
                </a:cubicBezTo>
                <a:moveTo>
                  <a:pt x="75" y="150"/>
                </a:moveTo>
                <a:cubicBezTo>
                  <a:pt x="116" y="150"/>
                  <a:pt x="150" y="116"/>
                  <a:pt x="150" y="75"/>
                </a:cubicBezTo>
                <a:cubicBezTo>
                  <a:pt x="150" y="34"/>
                  <a:pt x="116" y="0"/>
                  <a:pt x="75" y="0"/>
                </a:cubicBezTo>
                <a:cubicBezTo>
                  <a:pt x="34" y="0"/>
                  <a:pt x="0" y="34"/>
                  <a:pt x="0" y="75"/>
                </a:cubicBezTo>
                <a:cubicBezTo>
                  <a:pt x="0" y="116"/>
                  <a:pt x="34" y="150"/>
                  <a:pt x="75" y="15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8" name="Rectangle 17"/>
          <p:cNvSpPr/>
          <p:nvPr userDrawn="1"/>
        </p:nvSpPr>
        <p:spPr>
          <a:xfrm>
            <a:off x="6589127" y="1913085"/>
            <a:ext cx="5847348" cy="2808313"/>
          </a:xfrm>
          <a:prstGeom prst="rect">
            <a:avLst/>
          </a:prstGeom>
          <a:solidFill>
            <a:srgbClr val="9B4F96"/>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smtClean="0">
              <a:ln>
                <a:noFill/>
              </a:ln>
              <a:solidFill>
                <a:prstClr val="white"/>
              </a:solidFill>
              <a:effectLst/>
              <a:uLnTx/>
              <a:uFillTx/>
              <a:latin typeface="Calibri" panose="020F0502020204030204"/>
              <a:ea typeface="+mn-ea"/>
              <a:cs typeface="+mn-cs"/>
            </a:endParaRPr>
          </a:p>
        </p:txBody>
      </p:sp>
      <p:sp>
        <p:nvSpPr>
          <p:cNvPr id="19" name="Text Placeholder 7"/>
          <p:cNvSpPr>
            <a:spLocks noGrp="1"/>
          </p:cNvSpPr>
          <p:nvPr>
            <p:ph type="body" sz="quarter" idx="10" hasCustomPrompt="1"/>
          </p:nvPr>
        </p:nvSpPr>
        <p:spPr>
          <a:xfrm>
            <a:off x="7154863" y="2417763"/>
            <a:ext cx="4679950" cy="1551194"/>
          </a:xfrm>
          <a:prstGeom prst="rect">
            <a:avLst/>
          </a:prstGeom>
        </p:spPr>
        <p:txBody>
          <a:bodyPr/>
          <a:lstStyle>
            <a:lvl1pPr marL="0" indent="0">
              <a:buFontTx/>
              <a:buNone/>
              <a:defRPr>
                <a:solidFill>
                  <a:schemeClr val="bg1"/>
                </a:solidFill>
              </a:defRPr>
            </a:lvl1pPr>
            <a:lvl2pPr marL="342900" indent="0">
              <a:buFontTx/>
              <a:buNone/>
              <a:defRPr>
                <a:solidFill>
                  <a:schemeClr val="bg1"/>
                </a:solidFill>
              </a:defRPr>
            </a:lvl2pPr>
          </a:lstStyle>
          <a:p>
            <a:pPr lvl="0"/>
            <a:r>
              <a:rPr lang="en-US" dirty="0" smtClean="0"/>
              <a:t>Main Video Title</a:t>
            </a:r>
          </a:p>
          <a:p>
            <a:pPr lvl="1"/>
            <a:r>
              <a:rPr lang="en-US" dirty="0" err="1" smtClean="0"/>
              <a:t>SubTitle</a:t>
            </a:r>
            <a:endParaRPr lang="en-US" dirty="0" smtClean="0"/>
          </a:p>
        </p:txBody>
      </p:sp>
      <p:sp>
        <p:nvSpPr>
          <p:cNvPr id="21" name="Text Placeholder 19"/>
          <p:cNvSpPr>
            <a:spLocks noGrp="1"/>
          </p:cNvSpPr>
          <p:nvPr>
            <p:ph type="body" sz="quarter" idx="15" hasCustomPrompt="1"/>
          </p:nvPr>
        </p:nvSpPr>
        <p:spPr>
          <a:xfrm>
            <a:off x="601613" y="6652968"/>
            <a:ext cx="5472113" cy="308219"/>
          </a:xfrm>
          <a:prstGeom prst="rect">
            <a:avLst/>
          </a:prstGeom>
        </p:spPr>
        <p:txBody>
          <a:bodyPr/>
          <a:lstStyle>
            <a:lvl1pPr marL="0" indent="0" algn="r">
              <a:buFontTx/>
              <a:buNone/>
              <a:defRPr lang="fr-FR" sz="1400" kern="1200" dirty="0">
                <a:solidFill>
                  <a:srgbClr val="EC008C"/>
                </a:solidFill>
                <a:latin typeface="Segoe Pro Display Light" panose="020B0302040504020203" pitchFamily="34" charset="0"/>
                <a:ea typeface="+mn-ea"/>
                <a:cs typeface="+mn-cs"/>
              </a:defRPr>
            </a:lvl1pPr>
          </a:lstStyle>
          <a:p>
            <a:r>
              <a:rPr lang="fr-FR" dirty="0" smtClean="0"/>
              <a:t>Titre session pied de page</a:t>
            </a:r>
            <a:endParaRPr lang="fr-FR" dirty="0"/>
          </a:p>
        </p:txBody>
      </p:sp>
      <p:sp>
        <p:nvSpPr>
          <p:cNvPr id="20" name="Title 1"/>
          <p:cNvSpPr>
            <a:spLocks noGrp="1"/>
          </p:cNvSpPr>
          <p:nvPr>
            <p:ph type="title" hasCustomPrompt="1"/>
          </p:nvPr>
        </p:nvSpPr>
        <p:spPr>
          <a:xfrm>
            <a:off x="274639" y="295274"/>
            <a:ext cx="11889564" cy="593860"/>
          </a:xfrm>
        </p:spPr>
        <p:txBody>
          <a:bodyPr lIns="324000" rIns="144000"/>
          <a:lstStyle>
            <a:lvl1pPr>
              <a:defRPr sz="4800"/>
            </a:lvl1pPr>
          </a:lstStyle>
          <a:p>
            <a:r>
              <a:rPr lang="en-US" dirty="0" err="1" smtClean="0"/>
              <a:t>Vidéo</a:t>
            </a:r>
            <a:endParaRPr lang="en-US" dirty="0"/>
          </a:p>
        </p:txBody>
      </p:sp>
    </p:spTree>
    <p:extLst>
      <p:ext uri="{BB962C8B-B14F-4D97-AF65-F5344CB8AC3E}">
        <p14:creationId xmlns:p14="http://schemas.microsoft.com/office/powerpoint/2010/main" val="3416298673"/>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Code">
    <p:bg>
      <p:bgPr>
        <a:blipFill dpi="0" rotWithShape="1">
          <a:blip r:embed="rId3">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a:xfrm>
            <a:off x="0" y="535453"/>
            <a:ext cx="353681" cy="353681"/>
          </a:xfrm>
          <a:prstGeom prst="rect">
            <a:avLst/>
          </a:prstGeom>
          <a:solidFill>
            <a:srgbClr val="F472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FFFFFF"/>
              </a:solidFill>
            </a:endParaRPr>
          </a:p>
        </p:txBody>
      </p:sp>
      <p:sp>
        <p:nvSpPr>
          <p:cNvPr id="7" name="Text Placeholder 6"/>
          <p:cNvSpPr>
            <a:spLocks noGrp="1"/>
          </p:cNvSpPr>
          <p:nvPr>
            <p:ph type="body" sz="quarter" idx="10"/>
          </p:nvPr>
        </p:nvSpPr>
        <p:spPr>
          <a:xfrm>
            <a:off x="354013" y="1625601"/>
            <a:ext cx="11696700" cy="4895998"/>
          </a:xfrm>
          <a:prstGeom prst="rect">
            <a:avLst/>
          </a:prstGeom>
          <a:solidFill>
            <a:schemeClr val="tx1"/>
          </a:solidFill>
        </p:spPr>
        <p:txBody>
          <a:bodyPr/>
          <a:lstStyle>
            <a:lvl1pPr marL="0" indent="0">
              <a:buNone/>
              <a:defRPr sz="4000">
                <a:noFill/>
              </a:defRPr>
            </a:lvl1pPr>
            <a:lvl2pPr marL="342900" indent="0">
              <a:buNone/>
              <a:defRPr/>
            </a:lvl2pPr>
            <a:lvl3pPr marL="571500" indent="0">
              <a:buNone/>
              <a:defRPr/>
            </a:lvl3pPr>
            <a:lvl4pPr marL="800100" indent="0">
              <a:buNone/>
              <a:defRPr/>
            </a:lvl4pPr>
            <a:lvl5pPr marL="1028700" indent="0">
              <a:buNone/>
              <a:defRPr/>
            </a:lvl5pPr>
          </a:lstStyle>
          <a:p>
            <a:endParaRPr lang="en-US" sz="2800" dirty="0" smtClean="0">
              <a:solidFill>
                <a:srgbClr val="0000FF"/>
              </a:solidFill>
              <a:highlight>
                <a:srgbClr val="FFFFFF"/>
              </a:highlight>
            </a:endParaRPr>
          </a:p>
        </p:txBody>
      </p:sp>
      <p:sp>
        <p:nvSpPr>
          <p:cNvPr id="5" name="Title 1"/>
          <p:cNvSpPr>
            <a:spLocks noGrp="1"/>
          </p:cNvSpPr>
          <p:nvPr>
            <p:ph type="title" hasCustomPrompt="1"/>
          </p:nvPr>
        </p:nvSpPr>
        <p:spPr>
          <a:xfrm>
            <a:off x="274639" y="295274"/>
            <a:ext cx="11889564" cy="593860"/>
          </a:xfrm>
        </p:spPr>
        <p:txBody>
          <a:bodyPr lIns="324000" rIns="144000"/>
          <a:lstStyle>
            <a:lvl1pPr>
              <a:defRPr sz="4800">
                <a:solidFill>
                  <a:schemeClr val="bg1"/>
                </a:solidFill>
              </a:defRPr>
            </a:lvl1pPr>
          </a:lstStyle>
          <a:p>
            <a:r>
              <a:rPr lang="en-US" dirty="0" smtClean="0"/>
              <a:t>Code</a:t>
            </a:r>
            <a:endParaRPr lang="en-US" dirty="0"/>
          </a:p>
        </p:txBody>
      </p:sp>
      <p:sp>
        <p:nvSpPr>
          <p:cNvPr id="6" name="Text Placeholder 19"/>
          <p:cNvSpPr>
            <a:spLocks noGrp="1"/>
          </p:cNvSpPr>
          <p:nvPr>
            <p:ph type="body" sz="quarter" idx="15" hasCustomPrompt="1"/>
          </p:nvPr>
        </p:nvSpPr>
        <p:spPr>
          <a:xfrm>
            <a:off x="601613" y="6652968"/>
            <a:ext cx="5472113" cy="308219"/>
          </a:xfrm>
          <a:prstGeom prst="rect">
            <a:avLst/>
          </a:prstGeom>
        </p:spPr>
        <p:txBody>
          <a:bodyPr/>
          <a:lstStyle>
            <a:lvl1pPr marL="0" indent="0" algn="r">
              <a:buFontTx/>
              <a:buNone/>
              <a:defRPr lang="fr-FR" sz="1400" kern="1200" dirty="0">
                <a:solidFill>
                  <a:srgbClr val="EC008C"/>
                </a:solidFill>
                <a:latin typeface="Segoe Pro Display Light" panose="020B0302040504020203" pitchFamily="34" charset="0"/>
                <a:ea typeface="+mn-ea"/>
                <a:cs typeface="+mn-cs"/>
              </a:defRPr>
            </a:lvl1pPr>
          </a:lstStyle>
          <a:p>
            <a:r>
              <a:rPr lang="fr-FR" dirty="0" smtClean="0"/>
              <a:t>Titre session pied de page</a:t>
            </a:r>
            <a:endParaRPr lang="fr-FR" dirty="0"/>
          </a:p>
        </p:txBody>
      </p:sp>
      <p:grpSp>
        <p:nvGrpSpPr>
          <p:cNvPr id="13" name="Group 12"/>
          <p:cNvGrpSpPr/>
          <p:nvPr userDrawn="1"/>
        </p:nvGrpSpPr>
        <p:grpSpPr>
          <a:xfrm>
            <a:off x="6152588" y="6634306"/>
            <a:ext cx="6283887" cy="360219"/>
            <a:chOff x="6152588" y="6634306"/>
            <a:chExt cx="6283887" cy="360219"/>
          </a:xfrm>
        </p:grpSpPr>
        <p:sp>
          <p:nvSpPr>
            <p:cNvPr id="14" name="Rectangle 13"/>
            <p:cNvSpPr/>
            <p:nvPr userDrawn="1"/>
          </p:nvSpPr>
          <p:spPr>
            <a:xfrm>
              <a:off x="6589127" y="6634306"/>
              <a:ext cx="5847348" cy="360219"/>
            </a:xfrm>
            <a:prstGeom prst="rect">
              <a:avLst/>
            </a:prstGeom>
            <a:solidFill>
              <a:srgbClr val="EC00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5" name="Rectangle 14"/>
            <p:cNvSpPr/>
            <p:nvPr userDrawn="1"/>
          </p:nvSpPr>
          <p:spPr>
            <a:xfrm>
              <a:off x="6152588" y="6640844"/>
              <a:ext cx="353681" cy="353681"/>
            </a:xfrm>
            <a:prstGeom prst="rect">
              <a:avLst/>
            </a:prstGeom>
            <a:solidFill>
              <a:srgbClr val="F472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6" name="ZoneTexte 10"/>
            <p:cNvSpPr txBox="1"/>
            <p:nvPr userDrawn="1"/>
          </p:nvSpPr>
          <p:spPr>
            <a:xfrm>
              <a:off x="10829178" y="6652969"/>
              <a:ext cx="1305357" cy="307777"/>
            </a:xfrm>
            <a:prstGeom prst="rect">
              <a:avLst/>
            </a:prstGeom>
            <a:noFill/>
          </p:spPr>
          <p:txBody>
            <a:bodyPr wrap="none" rtlCol="0">
              <a:spAutoFit/>
            </a:bodyPr>
            <a:lstStyle/>
            <a:p>
              <a:r>
                <a:rPr lang="fr-FR" sz="1400" dirty="0" err="1" smtClean="0">
                  <a:solidFill>
                    <a:schemeClr val="tx1"/>
                  </a:solidFill>
                  <a:latin typeface="Segoe Pro Display Light" panose="020B0302040504020203" pitchFamily="34" charset="0"/>
                </a:rPr>
                <a:t>tech.days</a:t>
              </a:r>
              <a:r>
                <a:rPr lang="fr-FR" sz="1400" dirty="0" smtClean="0">
                  <a:solidFill>
                    <a:schemeClr val="tx1"/>
                  </a:solidFill>
                  <a:latin typeface="Segoe Pro Display Light" panose="020B0302040504020203" pitchFamily="34" charset="0"/>
                </a:rPr>
                <a:t> 2015</a:t>
              </a:r>
              <a:endParaRPr lang="fr-FR" sz="1400" dirty="0">
                <a:solidFill>
                  <a:schemeClr val="tx1"/>
                </a:solidFill>
                <a:latin typeface="Segoe Pro Display Light" panose="020B0302040504020203" pitchFamily="34" charset="0"/>
              </a:endParaRPr>
            </a:p>
          </p:txBody>
        </p:sp>
        <p:sp>
          <p:nvSpPr>
            <p:cNvPr id="17" name="ZoneTexte 11"/>
            <p:cNvSpPr txBox="1"/>
            <p:nvPr userDrawn="1"/>
          </p:nvSpPr>
          <p:spPr>
            <a:xfrm>
              <a:off x="6650285" y="6652969"/>
              <a:ext cx="1196353" cy="307777"/>
            </a:xfrm>
            <a:prstGeom prst="rect">
              <a:avLst/>
            </a:prstGeom>
            <a:noFill/>
          </p:spPr>
          <p:txBody>
            <a:bodyPr wrap="none" rtlCol="0">
              <a:spAutoFit/>
            </a:bodyPr>
            <a:lstStyle/>
            <a:p>
              <a:r>
                <a:rPr lang="fr-FR" sz="1400" kern="1200" dirty="0" smtClean="0">
                  <a:solidFill>
                    <a:schemeClr val="tx1"/>
                  </a:solidFill>
                  <a:latin typeface="Segoe Pro Display Light" panose="020B0302040504020203" pitchFamily="34" charset="0"/>
                  <a:ea typeface="+mn-ea"/>
                  <a:cs typeface="+mn-cs"/>
                </a:rPr>
                <a:t>#</a:t>
              </a:r>
              <a:r>
                <a:rPr lang="fr-FR" sz="1400" kern="1200" dirty="0" err="1" smtClean="0">
                  <a:solidFill>
                    <a:schemeClr val="tx1"/>
                  </a:solidFill>
                  <a:latin typeface="Segoe Pro Display Light" panose="020B0302040504020203" pitchFamily="34" charset="0"/>
                  <a:ea typeface="+mn-ea"/>
                  <a:cs typeface="+mn-cs"/>
                </a:rPr>
                <a:t>mstechdays</a:t>
              </a:r>
              <a:endParaRPr lang="fr-FR" sz="1400" kern="1200" dirty="0">
                <a:solidFill>
                  <a:schemeClr val="tx1"/>
                </a:solidFill>
                <a:latin typeface="Segoe Pro Display Light" panose="020B0302040504020203" pitchFamily="34" charset="0"/>
                <a:ea typeface="+mn-ea"/>
                <a:cs typeface="+mn-cs"/>
              </a:endParaRPr>
            </a:p>
          </p:txBody>
        </p:sp>
      </p:grpSp>
    </p:spTree>
    <p:extLst>
      <p:ext uri="{BB962C8B-B14F-4D97-AF65-F5344CB8AC3E}">
        <p14:creationId xmlns:p14="http://schemas.microsoft.com/office/powerpoint/2010/main" val="383581261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re">
    <p:spTree>
      <p:nvGrpSpPr>
        <p:cNvPr id="1" name=""/>
        <p:cNvGrpSpPr/>
        <p:nvPr/>
      </p:nvGrpSpPr>
      <p:grpSpPr>
        <a:xfrm>
          <a:off x="0" y="0"/>
          <a:ext cx="0" cy="0"/>
          <a:chOff x="0" y="0"/>
          <a:chExt cx="0" cy="0"/>
        </a:xfrm>
      </p:grpSpPr>
      <p:sp>
        <p:nvSpPr>
          <p:cNvPr id="4" name="Rectangle 3"/>
          <p:cNvSpPr/>
          <p:nvPr userDrawn="1"/>
        </p:nvSpPr>
        <p:spPr>
          <a:xfrm>
            <a:off x="0" y="535453"/>
            <a:ext cx="353681" cy="353681"/>
          </a:xfrm>
          <a:prstGeom prst="rect">
            <a:avLst/>
          </a:prstGeom>
          <a:solidFill>
            <a:srgbClr val="F472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12" name="Group 11"/>
          <p:cNvGrpSpPr/>
          <p:nvPr userDrawn="1"/>
        </p:nvGrpSpPr>
        <p:grpSpPr>
          <a:xfrm>
            <a:off x="6152588" y="6634306"/>
            <a:ext cx="6283887" cy="360219"/>
            <a:chOff x="6152588" y="6634306"/>
            <a:chExt cx="6283887" cy="360219"/>
          </a:xfrm>
        </p:grpSpPr>
        <p:sp>
          <p:nvSpPr>
            <p:cNvPr id="7" name="Rectangle 6"/>
            <p:cNvSpPr/>
            <p:nvPr userDrawn="1"/>
          </p:nvSpPr>
          <p:spPr>
            <a:xfrm>
              <a:off x="6589127" y="6634306"/>
              <a:ext cx="5847348" cy="360219"/>
            </a:xfrm>
            <a:prstGeom prst="rect">
              <a:avLst/>
            </a:prstGeom>
            <a:solidFill>
              <a:srgbClr val="EC00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Rectangle 7"/>
            <p:cNvSpPr/>
            <p:nvPr userDrawn="1"/>
          </p:nvSpPr>
          <p:spPr>
            <a:xfrm>
              <a:off x="6152588" y="6640844"/>
              <a:ext cx="353681" cy="353681"/>
            </a:xfrm>
            <a:prstGeom prst="rect">
              <a:avLst/>
            </a:prstGeom>
            <a:solidFill>
              <a:srgbClr val="F472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 name="ZoneTexte 10"/>
            <p:cNvSpPr txBox="1"/>
            <p:nvPr userDrawn="1"/>
          </p:nvSpPr>
          <p:spPr>
            <a:xfrm>
              <a:off x="10829178" y="6652969"/>
              <a:ext cx="1253869" cy="307777"/>
            </a:xfrm>
            <a:prstGeom prst="rect">
              <a:avLst/>
            </a:prstGeom>
            <a:noFill/>
          </p:spPr>
          <p:txBody>
            <a:bodyPr wrap="none" rtlCol="0">
              <a:spAutoFit/>
            </a:bodyPr>
            <a:lstStyle/>
            <a:p>
              <a:r>
                <a:rPr lang="fr-FR" sz="1400" dirty="0" err="1" smtClean="0">
                  <a:solidFill>
                    <a:schemeClr val="bg1"/>
                  </a:solidFill>
                  <a:latin typeface="Segoe Pro Display Light" panose="020B0302040504020203" pitchFamily="34" charset="0"/>
                </a:rPr>
                <a:t>tech.days</a:t>
              </a:r>
              <a:r>
                <a:rPr lang="fr-FR" sz="1400" dirty="0" smtClean="0">
                  <a:solidFill>
                    <a:schemeClr val="bg1"/>
                  </a:solidFill>
                  <a:latin typeface="Segoe Pro Display Light" panose="020B0302040504020203" pitchFamily="34" charset="0"/>
                </a:rPr>
                <a:t> 2015</a:t>
              </a:r>
              <a:endParaRPr lang="fr-FR" sz="1400" dirty="0">
                <a:solidFill>
                  <a:schemeClr val="bg1"/>
                </a:solidFill>
                <a:latin typeface="Segoe Pro Display Light" panose="020B0302040504020203" pitchFamily="34" charset="0"/>
              </a:endParaRPr>
            </a:p>
          </p:txBody>
        </p:sp>
        <p:sp>
          <p:nvSpPr>
            <p:cNvPr id="10" name="ZoneTexte 11"/>
            <p:cNvSpPr txBox="1"/>
            <p:nvPr userDrawn="1"/>
          </p:nvSpPr>
          <p:spPr>
            <a:xfrm>
              <a:off x="6650285" y="6652969"/>
              <a:ext cx="1159292" cy="307777"/>
            </a:xfrm>
            <a:prstGeom prst="rect">
              <a:avLst/>
            </a:prstGeom>
            <a:noFill/>
          </p:spPr>
          <p:txBody>
            <a:bodyPr wrap="none" rtlCol="0">
              <a:spAutoFit/>
            </a:bodyPr>
            <a:lstStyle/>
            <a:p>
              <a:r>
                <a:rPr lang="fr-FR" sz="1400" dirty="0" smtClean="0">
                  <a:solidFill>
                    <a:schemeClr val="bg1"/>
                  </a:solidFill>
                  <a:latin typeface="Segoe Pro Display Light" panose="020B0302040504020203" pitchFamily="34" charset="0"/>
                </a:rPr>
                <a:t>#</a:t>
              </a:r>
              <a:r>
                <a:rPr lang="fr-FR" sz="1400" dirty="0" err="1" smtClean="0">
                  <a:solidFill>
                    <a:schemeClr val="bg1"/>
                  </a:solidFill>
                  <a:latin typeface="Segoe Pro Display Light" panose="020B0302040504020203" pitchFamily="34" charset="0"/>
                </a:rPr>
                <a:t>mstechdays</a:t>
              </a:r>
              <a:endParaRPr lang="fr-FR" sz="1400" dirty="0">
                <a:solidFill>
                  <a:schemeClr val="bg1"/>
                </a:solidFill>
                <a:latin typeface="Segoe Pro Display Light" panose="020B0302040504020203" pitchFamily="34" charset="0"/>
              </a:endParaRPr>
            </a:p>
          </p:txBody>
        </p:sp>
      </p:grpSp>
      <p:sp>
        <p:nvSpPr>
          <p:cNvPr id="13" name="Text Placeholder 19"/>
          <p:cNvSpPr>
            <a:spLocks noGrp="1"/>
          </p:cNvSpPr>
          <p:nvPr>
            <p:ph type="body" sz="quarter" idx="15" hasCustomPrompt="1"/>
          </p:nvPr>
        </p:nvSpPr>
        <p:spPr>
          <a:xfrm>
            <a:off x="601613" y="6652968"/>
            <a:ext cx="5472113" cy="308219"/>
          </a:xfrm>
          <a:prstGeom prst="rect">
            <a:avLst/>
          </a:prstGeom>
        </p:spPr>
        <p:txBody>
          <a:bodyPr/>
          <a:lstStyle>
            <a:lvl1pPr marL="0" indent="0" algn="r">
              <a:buFontTx/>
              <a:buNone/>
              <a:defRPr lang="fr-FR" sz="1400" kern="1200" dirty="0">
                <a:solidFill>
                  <a:srgbClr val="EC008C"/>
                </a:solidFill>
                <a:latin typeface="Segoe Pro Display Light" panose="020B0302040504020203" pitchFamily="34" charset="0"/>
                <a:ea typeface="+mn-ea"/>
                <a:cs typeface="+mn-cs"/>
              </a:defRPr>
            </a:lvl1pPr>
          </a:lstStyle>
          <a:p>
            <a:r>
              <a:rPr lang="fr-FR" dirty="0" smtClean="0"/>
              <a:t>Titre session pied de page</a:t>
            </a:r>
            <a:endParaRPr lang="fr-FR" dirty="0"/>
          </a:p>
        </p:txBody>
      </p:sp>
      <p:sp>
        <p:nvSpPr>
          <p:cNvPr id="11" name="Title 1"/>
          <p:cNvSpPr>
            <a:spLocks noGrp="1"/>
          </p:cNvSpPr>
          <p:nvPr>
            <p:ph type="title" hasCustomPrompt="1"/>
          </p:nvPr>
        </p:nvSpPr>
        <p:spPr>
          <a:xfrm>
            <a:off x="274639" y="295274"/>
            <a:ext cx="11889564" cy="593860"/>
          </a:xfrm>
        </p:spPr>
        <p:txBody>
          <a:bodyPr lIns="324000" rIns="144000"/>
          <a:lstStyle>
            <a:lvl1pPr>
              <a:defRPr sz="4800"/>
            </a:lvl1pPr>
          </a:lstStyle>
          <a:p>
            <a:r>
              <a:rPr lang="en-US" dirty="0" err="1" smtClean="0"/>
              <a:t>Titre</a:t>
            </a:r>
            <a:endParaRPr lang="en-US" dirty="0"/>
          </a:p>
        </p:txBody>
      </p:sp>
    </p:spTree>
    <p:extLst>
      <p:ext uri="{BB962C8B-B14F-4D97-AF65-F5344CB8AC3E}">
        <p14:creationId xmlns:p14="http://schemas.microsoft.com/office/powerpoint/2010/main" val="3888941582"/>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77931750"/>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756000"/>
          </a:xfrm>
          <a:prstGeom prst="rect">
            <a:avLst/>
          </a:prstGeom>
        </p:spPr>
        <p:txBody>
          <a:bodyPr vert="horz" wrap="square" lIns="146304" tIns="91440" rIns="146304" bIns="91440" rtlCol="0" anchor="t">
            <a:noAutofit/>
          </a:bodyPr>
          <a:lstStyle/>
          <a:p>
            <a:r>
              <a:rPr lang="fr-FR" dirty="0" smtClean="0"/>
              <a:t>Modifiez le style du titre</a:t>
            </a:r>
            <a:endParaRPr lang="en-US" dirty="0"/>
          </a:p>
        </p:txBody>
      </p:sp>
      <p:pic>
        <p:nvPicPr>
          <p:cNvPr id="7" name="Picture 6"/>
          <p:cNvPicPr>
            <a:picLocks noChangeAspect="1"/>
          </p:cNvPicPr>
          <p:nvPr userDrawn="1"/>
        </p:nvPicPr>
        <p:blipFill>
          <a:blip r:embed="rId23" cstate="email">
            <a:extLst>
              <a:ext uri="{28A0092B-C50C-407E-A947-70E740481C1C}">
                <a14:useLocalDpi xmlns:a14="http://schemas.microsoft.com/office/drawing/2010/main"/>
              </a:ext>
            </a:extLst>
          </a:blip>
          <a:stretch>
            <a:fillRect/>
          </a:stretch>
        </p:blipFill>
        <p:spPr>
          <a:xfrm rot="5400000">
            <a:off x="9461109" y="3177506"/>
            <a:ext cx="6995160" cy="894134"/>
          </a:xfrm>
          <a:prstGeom prst="rect">
            <a:avLst/>
          </a:prstGeom>
        </p:spPr>
      </p:pic>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76" r:id="rId1"/>
    <p:sldLayoutId id="2147484137" r:id="rId2"/>
    <p:sldLayoutId id="2147484154" r:id="rId3"/>
    <p:sldLayoutId id="2147484152" r:id="rId4"/>
    <p:sldLayoutId id="2147484147" r:id="rId5"/>
    <p:sldLayoutId id="2147484149" r:id="rId6"/>
    <p:sldLayoutId id="2147484172" r:id="rId7"/>
    <p:sldLayoutId id="2147484150" r:id="rId8"/>
    <p:sldLayoutId id="2147484132" r:id="rId9"/>
    <p:sldLayoutId id="2147484175" r:id="rId10"/>
    <p:sldLayoutId id="2147484177" r:id="rId11"/>
    <p:sldLayoutId id="2147484178" r:id="rId12"/>
    <p:sldLayoutId id="2147484179" r:id="rId13"/>
    <p:sldLayoutId id="2147484180" r:id="rId14"/>
    <p:sldLayoutId id="2147484181" r:id="rId15"/>
    <p:sldLayoutId id="2147484182" r:id="rId16"/>
    <p:sldLayoutId id="2147484183" r:id="rId17"/>
    <p:sldLayoutId id="2147484184" r:id="rId18"/>
    <p:sldLayoutId id="2147484185" r:id="rId19"/>
    <p:sldLayoutId id="2147484186" r:id="rId20"/>
    <p:sldLayoutId id="2147484187" r:id="rId21"/>
  </p:sldLayoutIdLst>
  <p:transition>
    <p:fade/>
  </p:transition>
  <p:timing>
    <p:tnLst>
      <p:par>
        <p:cTn id="1" dur="indefinite" restart="never" nodeType="tmRoot"/>
      </p:par>
    </p:tnLst>
  </p:timing>
  <p:hf sldNum="0" hdr="0" dt="0"/>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6.png"/><Relationship Id="rId7" Type="http://schemas.openxmlformats.org/officeDocument/2006/relationships/image" Target="../media/image20.png"/><Relationship Id="rId2" Type="http://schemas.openxmlformats.org/officeDocument/2006/relationships/notesSlide" Target="../notesSlides/notesSlide6.xml"/><Relationship Id="rId1" Type="http://schemas.openxmlformats.org/officeDocument/2006/relationships/slideLayout" Target="../slideLayouts/slideLayout3.xml"/><Relationship Id="rId6" Type="http://schemas.openxmlformats.org/officeDocument/2006/relationships/image" Target="../media/image19.png"/><Relationship Id="rId5" Type="http://schemas.openxmlformats.org/officeDocument/2006/relationships/image" Target="../media/image18.jpg"/><Relationship Id="rId4" Type="http://schemas.openxmlformats.org/officeDocument/2006/relationships/image" Target="../media/image17.jp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4.emf"/><Relationship Id="rId5" Type="http://schemas.openxmlformats.org/officeDocument/2006/relationships/oleObject" Target="../embeddings/oleObject1.bin"/><Relationship Id="rId4" Type="http://schemas.openxmlformats.org/officeDocument/2006/relationships/notesSlide" Target="../notesSlides/notesSlide13.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xml"/><Relationship Id="rId1" Type="http://schemas.openxmlformats.org/officeDocument/2006/relationships/tags" Target="../tags/tag2.xml"/><Relationship Id="rId4" Type="http://schemas.openxmlformats.org/officeDocument/2006/relationships/notesSlide" Target="../notesSlides/notesSlide14.xml"/></Relationships>
</file>

<file path=ppt/slides/_rels/slide2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image" Target="../media/image28.jpg"/><Relationship Id="rId2" Type="http://schemas.openxmlformats.org/officeDocument/2006/relationships/image" Target="../media/image27.jpg"/><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9.xml.rels><?xml version="1.0" encoding="UTF-8" standalone="yes"?>
<Relationships xmlns="http://schemas.openxmlformats.org/package/2006/relationships"><Relationship Id="rId8" Type="http://schemas.openxmlformats.org/officeDocument/2006/relationships/image" Target="../media/image35.png"/><Relationship Id="rId13" Type="http://schemas.openxmlformats.org/officeDocument/2006/relationships/image" Target="../media/image40.png"/><Relationship Id="rId3" Type="http://schemas.openxmlformats.org/officeDocument/2006/relationships/image" Target="../media/image30.png"/><Relationship Id="rId7" Type="http://schemas.openxmlformats.org/officeDocument/2006/relationships/image" Target="../media/image34.png"/><Relationship Id="rId12" Type="http://schemas.openxmlformats.org/officeDocument/2006/relationships/image" Target="../media/image39.png"/><Relationship Id="rId2" Type="http://schemas.openxmlformats.org/officeDocument/2006/relationships/image" Target="../media/image29.png"/><Relationship Id="rId1" Type="http://schemas.openxmlformats.org/officeDocument/2006/relationships/slideLayout" Target="../slideLayouts/slideLayout3.xml"/><Relationship Id="rId6" Type="http://schemas.openxmlformats.org/officeDocument/2006/relationships/image" Target="../media/image33.png"/><Relationship Id="rId11" Type="http://schemas.openxmlformats.org/officeDocument/2006/relationships/image" Target="../media/image38.png"/><Relationship Id="rId5" Type="http://schemas.openxmlformats.org/officeDocument/2006/relationships/image" Target="../media/image32.png"/><Relationship Id="rId15" Type="http://schemas.openxmlformats.org/officeDocument/2006/relationships/image" Target="../media/image42.png"/><Relationship Id="rId10" Type="http://schemas.openxmlformats.org/officeDocument/2006/relationships/image" Target="../media/image37.png"/><Relationship Id="rId4" Type="http://schemas.openxmlformats.org/officeDocument/2006/relationships/image" Target="../media/image31.png"/><Relationship Id="rId9" Type="http://schemas.openxmlformats.org/officeDocument/2006/relationships/image" Target="../media/image36.png"/><Relationship Id="rId14" Type="http://schemas.openxmlformats.org/officeDocument/2006/relationships/image" Target="../media/image41.jpe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24.emf"/><Relationship Id="rId5" Type="http://schemas.openxmlformats.org/officeDocument/2006/relationships/oleObject" Target="../embeddings/oleObject2.bin"/><Relationship Id="rId4" Type="http://schemas.openxmlformats.org/officeDocument/2006/relationships/notesSlide" Target="../notesSlides/notesSlide2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8.xml.rels><?xml version="1.0" encoding="UTF-8" standalone="yes"?>
<Relationships xmlns="http://schemas.openxmlformats.org/package/2006/relationships"><Relationship Id="rId8" Type="http://schemas.openxmlformats.org/officeDocument/2006/relationships/tags" Target="../tags/tag11.xml"/><Relationship Id="rId13" Type="http://schemas.openxmlformats.org/officeDocument/2006/relationships/tags" Target="../tags/tag16.xml"/><Relationship Id="rId18" Type="http://schemas.openxmlformats.org/officeDocument/2006/relationships/image" Target="../media/image24.emf"/><Relationship Id="rId3" Type="http://schemas.openxmlformats.org/officeDocument/2006/relationships/tags" Target="../tags/tag6.xml"/><Relationship Id="rId7" Type="http://schemas.openxmlformats.org/officeDocument/2006/relationships/tags" Target="../tags/tag10.xml"/><Relationship Id="rId12" Type="http://schemas.openxmlformats.org/officeDocument/2006/relationships/tags" Target="../tags/tag15.xml"/><Relationship Id="rId17" Type="http://schemas.openxmlformats.org/officeDocument/2006/relationships/oleObject" Target="../embeddings/oleObject3.bin"/><Relationship Id="rId2" Type="http://schemas.openxmlformats.org/officeDocument/2006/relationships/tags" Target="../tags/tag5.xml"/><Relationship Id="rId16" Type="http://schemas.openxmlformats.org/officeDocument/2006/relationships/notesSlide" Target="../notesSlides/notesSlide23.xml"/><Relationship Id="rId1" Type="http://schemas.openxmlformats.org/officeDocument/2006/relationships/vmlDrawing" Target="../drawings/vmlDrawing3.vml"/><Relationship Id="rId6" Type="http://schemas.openxmlformats.org/officeDocument/2006/relationships/tags" Target="../tags/tag9.xml"/><Relationship Id="rId11" Type="http://schemas.openxmlformats.org/officeDocument/2006/relationships/tags" Target="../tags/tag14.xml"/><Relationship Id="rId5" Type="http://schemas.openxmlformats.org/officeDocument/2006/relationships/tags" Target="../tags/tag8.xml"/><Relationship Id="rId15" Type="http://schemas.openxmlformats.org/officeDocument/2006/relationships/slideLayout" Target="../slideLayouts/slideLayout3.xml"/><Relationship Id="rId10" Type="http://schemas.openxmlformats.org/officeDocument/2006/relationships/tags" Target="../tags/tag13.xml"/><Relationship Id="rId4" Type="http://schemas.openxmlformats.org/officeDocument/2006/relationships/tags" Target="../tags/tag7.xml"/><Relationship Id="rId9" Type="http://schemas.openxmlformats.org/officeDocument/2006/relationships/tags" Target="../tags/tag12.xml"/><Relationship Id="rId14" Type="http://schemas.openxmlformats.org/officeDocument/2006/relationships/tags" Target="../tags/tag17.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8.xml"/><Relationship Id="rId1" Type="http://schemas.openxmlformats.org/officeDocument/2006/relationships/vmlDrawing" Target="../drawings/vmlDrawing4.vml"/><Relationship Id="rId6" Type="http://schemas.openxmlformats.org/officeDocument/2006/relationships/image" Target="../media/image24.emf"/><Relationship Id="rId5" Type="http://schemas.openxmlformats.org/officeDocument/2006/relationships/oleObject" Target="../embeddings/oleObject4.bin"/><Relationship Id="rId4" Type="http://schemas.openxmlformats.org/officeDocument/2006/relationships/notesSlide" Target="../notesSlides/notesSlide26.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3.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8.xml"/><Relationship Id="rId4" Type="http://schemas.openxmlformats.org/officeDocument/2006/relationships/image" Target="../media/image26.png"/></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image" Target="../media/image45.gif"/><Relationship Id="rId2" Type="http://schemas.openxmlformats.org/officeDocument/2006/relationships/notesSlide" Target="../notesSlides/notesSlide28.xml"/><Relationship Id="rId1" Type="http://schemas.openxmlformats.org/officeDocument/2006/relationships/slideLayout" Target="../slideLayouts/slideLayout4.xml"/><Relationship Id="rId6" Type="http://schemas.openxmlformats.org/officeDocument/2006/relationships/hyperlink" Target="https://msdn.microsoft.com/en-us/library/aa479086.aspx" TargetMode="External"/><Relationship Id="rId5" Type="http://schemas.openxmlformats.org/officeDocument/2006/relationships/image" Target="../media/image47.gif"/><Relationship Id="rId4" Type="http://schemas.openxmlformats.org/officeDocument/2006/relationships/image" Target="../media/image46.gif"/></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8.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8.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8.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8.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8.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8.xml"/></Relationships>
</file>

<file path=ppt/slides/_rels/slide5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8.xml"/><Relationship Id="rId4" Type="http://schemas.openxmlformats.org/officeDocument/2006/relationships/image" Target="../media/image51.png"/></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8.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8.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8.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3.xml"/></Relationships>
</file>

<file path=ppt/slides/_rels/slide63.xml.rels><?xml version="1.0" encoding="UTF-8" standalone="yes"?>
<Relationships xmlns="http://schemas.openxmlformats.org/package/2006/relationships"><Relationship Id="rId3" Type="http://schemas.openxmlformats.org/officeDocument/2006/relationships/image" Target="../media/image52.png"/><Relationship Id="rId7" Type="http://schemas.openxmlformats.org/officeDocument/2006/relationships/image" Target="../media/image54.png"/><Relationship Id="rId2" Type="http://schemas.openxmlformats.org/officeDocument/2006/relationships/notesSlide" Target="../notesSlides/notesSlide38.xml"/><Relationship Id="rId1" Type="http://schemas.openxmlformats.org/officeDocument/2006/relationships/slideLayout" Target="../slideLayouts/slideLayout8.xml"/><Relationship Id="rId6" Type="http://schemas.openxmlformats.org/officeDocument/2006/relationships/hyperlink" Target="http://aka.ms/azure/msdn" TargetMode="External"/><Relationship Id="rId5" Type="http://schemas.openxmlformats.org/officeDocument/2006/relationships/hyperlink" Target="http://aka.ms/azure/essai" TargetMode="External"/><Relationship Id="rId4" Type="http://schemas.openxmlformats.org/officeDocument/2006/relationships/image" Target="../media/image53.png"/></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3.xml"/><Relationship Id="rId4" Type="http://schemas.openxmlformats.org/officeDocument/2006/relationships/image" Target="../media/image10.emf"/></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5.xml"/><Relationship Id="rId1" Type="http://schemas.openxmlformats.org/officeDocument/2006/relationships/slideLayout" Target="../slideLayouts/slideLayout3.xml"/><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097456566"/>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fr-FR" dirty="0" smtClean="0"/>
              <a:t>Les familles de bases de données </a:t>
            </a:r>
            <a:r>
              <a:rPr lang="fr-FR" dirty="0" err="1" smtClean="0"/>
              <a:t>noSQL</a:t>
            </a:r>
            <a:endParaRPr lang="fr-FR" dirty="0"/>
          </a:p>
        </p:txBody>
      </p:sp>
      <p:sp>
        <p:nvSpPr>
          <p:cNvPr id="8" name="Text Placeholder 7"/>
          <p:cNvSpPr>
            <a:spLocks noGrp="1"/>
          </p:cNvSpPr>
          <p:nvPr>
            <p:ph type="body" sz="quarter" idx="14"/>
          </p:nvPr>
        </p:nvSpPr>
        <p:spPr/>
        <p:txBody>
          <a:bodyPr/>
          <a:lstStyle/>
          <a:p>
            <a:r>
              <a:rPr lang="fr-FR" dirty="0"/>
              <a:t>Graph </a:t>
            </a:r>
            <a:r>
              <a:rPr lang="fr-FR" dirty="0" err="1"/>
              <a:t>Databases</a:t>
            </a:r>
            <a:endParaRPr lang="fr-FR" dirty="0"/>
          </a:p>
          <a:p>
            <a:endParaRPr lang="fr-FR" dirty="0"/>
          </a:p>
        </p:txBody>
      </p:sp>
      <p:sp>
        <p:nvSpPr>
          <p:cNvPr id="9" name="Text Placeholder 8"/>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sp>
        <p:nvSpPr>
          <p:cNvPr id="19" name="Oval 18"/>
          <p:cNvSpPr/>
          <p:nvPr/>
        </p:nvSpPr>
        <p:spPr bwMode="auto">
          <a:xfrm>
            <a:off x="1393701" y="2864832"/>
            <a:ext cx="1646834" cy="1524000"/>
          </a:xfrm>
          <a:prstGeom prst="ellipse">
            <a:avLst/>
          </a:prstGeom>
          <a:noFill/>
          <a:ln w="25400" cap="flat" cmpd="sng" algn="ctr">
            <a:solidFill>
              <a:schemeClr val="tx1"/>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smtClean="0">
                <a:ln>
                  <a:noFill/>
                </a:ln>
                <a:solidFill>
                  <a:schemeClr val="tx1"/>
                </a:solidFill>
                <a:effectLst/>
                <a:uLnTx/>
                <a:uFillTx/>
                <a:latin typeface="Segoe UI"/>
                <a:ea typeface="+mn-ea"/>
                <a:cs typeface="+mn-cs"/>
              </a:rPr>
              <a:t>John</a:t>
            </a:r>
            <a:endParaRPr kumimoji="0" lang="en-US" sz="2000" b="0" i="0" u="none" strike="noStrike" kern="1200" cap="none" spc="0" normalizeH="0" baseline="0" noProof="0" dirty="0">
              <a:ln>
                <a:noFill/>
              </a:ln>
              <a:solidFill>
                <a:schemeClr val="tx1"/>
              </a:solidFill>
              <a:effectLst/>
              <a:uLnTx/>
              <a:uFillTx/>
              <a:latin typeface="Segoe UI"/>
              <a:ea typeface="+mn-ea"/>
              <a:cs typeface="+mn-cs"/>
            </a:endParaRPr>
          </a:p>
        </p:txBody>
      </p:sp>
      <p:sp>
        <p:nvSpPr>
          <p:cNvPr id="20" name="Oval 19"/>
          <p:cNvSpPr/>
          <p:nvPr/>
        </p:nvSpPr>
        <p:spPr bwMode="auto">
          <a:xfrm>
            <a:off x="1658813" y="5179802"/>
            <a:ext cx="1646834" cy="1524000"/>
          </a:xfrm>
          <a:prstGeom prst="ellipse">
            <a:avLst/>
          </a:prstGeom>
          <a:noFill/>
          <a:ln w="25400" cap="flat" cmpd="sng" algn="ctr">
            <a:solidFill>
              <a:schemeClr val="tx1"/>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smtClean="0">
                <a:ln>
                  <a:noFill/>
                </a:ln>
                <a:solidFill>
                  <a:schemeClr val="tx1"/>
                </a:solidFill>
                <a:effectLst/>
                <a:uLnTx/>
                <a:uFillTx/>
                <a:latin typeface="Segoe UI"/>
                <a:ea typeface="+mn-ea"/>
                <a:cs typeface="+mn-cs"/>
              </a:rPr>
              <a:t>Eddie</a:t>
            </a:r>
            <a:endParaRPr kumimoji="0" lang="en-US" sz="2000" b="0" i="0" u="none" strike="noStrike" kern="1200" cap="none" spc="0" normalizeH="0" baseline="0" noProof="0" dirty="0">
              <a:ln>
                <a:noFill/>
              </a:ln>
              <a:solidFill>
                <a:schemeClr val="tx1"/>
              </a:solidFill>
              <a:effectLst/>
              <a:uLnTx/>
              <a:uFillTx/>
              <a:latin typeface="Segoe UI"/>
              <a:ea typeface="+mn-ea"/>
              <a:cs typeface="+mn-cs"/>
            </a:endParaRPr>
          </a:p>
        </p:txBody>
      </p:sp>
      <p:sp>
        <p:nvSpPr>
          <p:cNvPr id="21" name="Oval 20"/>
          <p:cNvSpPr/>
          <p:nvPr/>
        </p:nvSpPr>
        <p:spPr bwMode="auto">
          <a:xfrm>
            <a:off x="3527301" y="1383083"/>
            <a:ext cx="1646834" cy="1524000"/>
          </a:xfrm>
          <a:prstGeom prst="ellipse">
            <a:avLst/>
          </a:prstGeom>
          <a:noFill/>
          <a:ln w="25400" cap="flat" cmpd="sng" algn="ctr">
            <a:solidFill>
              <a:schemeClr val="tx1"/>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smtClean="0">
                <a:ln>
                  <a:noFill/>
                </a:ln>
                <a:solidFill>
                  <a:schemeClr val="tx1"/>
                </a:solidFill>
                <a:effectLst/>
                <a:uLnTx/>
                <a:uFillTx/>
                <a:latin typeface="Segoe UI"/>
                <a:ea typeface="+mn-ea"/>
                <a:cs typeface="+mn-cs"/>
              </a:rPr>
              <a:t>Karl</a:t>
            </a:r>
            <a:endParaRPr kumimoji="0" lang="en-US" sz="2000" b="0" i="0" u="none" strike="noStrike" kern="1200" cap="none" spc="0" normalizeH="0" baseline="0" noProof="0" dirty="0">
              <a:ln>
                <a:noFill/>
              </a:ln>
              <a:solidFill>
                <a:schemeClr val="tx1"/>
              </a:solidFill>
              <a:effectLst/>
              <a:uLnTx/>
              <a:uFillTx/>
              <a:latin typeface="Segoe UI"/>
              <a:ea typeface="+mn-ea"/>
              <a:cs typeface="+mn-cs"/>
            </a:endParaRPr>
          </a:p>
        </p:txBody>
      </p:sp>
      <p:cxnSp>
        <p:nvCxnSpPr>
          <p:cNvPr id="22" name="Straight Arrow Connector 21"/>
          <p:cNvCxnSpPr>
            <a:stCxn id="19" idx="4"/>
            <a:endCxn id="20" idx="0"/>
          </p:cNvCxnSpPr>
          <p:nvPr/>
        </p:nvCxnSpPr>
        <p:spPr>
          <a:xfrm>
            <a:off x="2217118" y="4388832"/>
            <a:ext cx="265112" cy="790970"/>
          </a:xfrm>
          <a:prstGeom prst="straightConnector1">
            <a:avLst/>
          </a:prstGeom>
          <a:noFill/>
          <a:ln w="9525" cap="flat" cmpd="sng" algn="ctr">
            <a:solidFill>
              <a:schemeClr val="tx1"/>
            </a:solidFill>
            <a:prstDash val="solid"/>
            <a:headEnd type="none"/>
            <a:tailEnd type="triangle"/>
          </a:ln>
          <a:effectLst/>
        </p:spPr>
      </p:cxnSp>
      <p:cxnSp>
        <p:nvCxnSpPr>
          <p:cNvPr id="23" name="Straight Arrow Connector 22"/>
          <p:cNvCxnSpPr>
            <a:stCxn id="21" idx="2"/>
            <a:endCxn id="19" idx="0"/>
          </p:cNvCxnSpPr>
          <p:nvPr/>
        </p:nvCxnSpPr>
        <p:spPr>
          <a:xfrm flipH="1">
            <a:off x="2217118" y="2145083"/>
            <a:ext cx="1310183" cy="719749"/>
          </a:xfrm>
          <a:prstGeom prst="straightConnector1">
            <a:avLst/>
          </a:prstGeom>
          <a:noFill/>
          <a:ln w="9525" cap="flat" cmpd="sng" algn="ctr">
            <a:solidFill>
              <a:schemeClr val="tx1"/>
            </a:solidFill>
            <a:prstDash val="solid"/>
            <a:headEnd type="none"/>
            <a:tailEnd type="triangle"/>
          </a:ln>
          <a:effectLst/>
        </p:spPr>
      </p:cxnSp>
      <p:sp>
        <p:nvSpPr>
          <p:cNvPr id="24" name="TextBox 49"/>
          <p:cNvSpPr txBox="1"/>
          <p:nvPr/>
        </p:nvSpPr>
        <p:spPr>
          <a:xfrm>
            <a:off x="2064392" y="2086530"/>
            <a:ext cx="1084271" cy="489365"/>
          </a:xfrm>
          <a:prstGeom prst="rect">
            <a:avLst/>
          </a:prstGeom>
          <a:noFill/>
          <a:ln>
            <a:solidFill>
              <a:schemeClr val="tx1"/>
            </a:solidFill>
          </a:ln>
        </p:spPr>
        <p:txBody>
          <a:bodyPr wrap="none" lIns="182880" tIns="146304" rIns="182880" bIns="14630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effectLst/>
                <a:uLnTx/>
                <a:uFillTx/>
                <a:latin typeface="Segoe UI"/>
                <a:ea typeface="+mn-ea"/>
                <a:cs typeface="+mn-cs"/>
              </a:rPr>
              <a:t>m</a:t>
            </a:r>
            <a:r>
              <a:rPr kumimoji="0" lang="en-US" sz="1400" b="0" i="0" u="none" strike="noStrike" kern="1200" cap="none" spc="0" normalizeH="0" baseline="0" noProof="0" dirty="0" smtClean="0">
                <a:ln>
                  <a:noFill/>
                </a:ln>
                <a:effectLst/>
                <a:uLnTx/>
                <a:uFillTx/>
                <a:latin typeface="Segoe UI"/>
                <a:ea typeface="+mn-ea"/>
                <a:cs typeface="+mn-cs"/>
              </a:rPr>
              <a:t>anages</a:t>
            </a:r>
          </a:p>
        </p:txBody>
      </p:sp>
      <p:sp>
        <p:nvSpPr>
          <p:cNvPr id="25" name="TextBox 50"/>
          <p:cNvSpPr txBox="1"/>
          <p:nvPr/>
        </p:nvSpPr>
        <p:spPr>
          <a:xfrm>
            <a:off x="1298769" y="4539634"/>
            <a:ext cx="1084271" cy="489365"/>
          </a:xfrm>
          <a:prstGeom prst="rect">
            <a:avLst/>
          </a:prstGeom>
          <a:noFill/>
          <a:ln>
            <a:solidFill>
              <a:schemeClr val="tx1"/>
            </a:solidFill>
          </a:ln>
        </p:spPr>
        <p:txBody>
          <a:bodyPr wrap="none" lIns="182880" tIns="146304" rIns="182880" bIns="14630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effectLst/>
                <a:uLnTx/>
                <a:uFillTx/>
                <a:latin typeface="Segoe UI"/>
                <a:ea typeface="+mn-ea"/>
                <a:cs typeface="+mn-cs"/>
              </a:rPr>
              <a:t>m</a:t>
            </a:r>
            <a:r>
              <a:rPr kumimoji="0" lang="en-US" sz="1400" b="0" i="0" u="none" strike="noStrike" kern="1200" cap="none" spc="0" normalizeH="0" baseline="0" noProof="0" dirty="0" smtClean="0">
                <a:ln>
                  <a:noFill/>
                </a:ln>
                <a:effectLst/>
                <a:uLnTx/>
                <a:uFillTx/>
                <a:latin typeface="Segoe UI"/>
                <a:ea typeface="+mn-ea"/>
                <a:cs typeface="+mn-cs"/>
              </a:rPr>
              <a:t>anages</a:t>
            </a:r>
          </a:p>
        </p:txBody>
      </p:sp>
      <p:cxnSp>
        <p:nvCxnSpPr>
          <p:cNvPr id="26" name="Straight Arrow Connector 25"/>
          <p:cNvCxnSpPr>
            <a:stCxn id="20" idx="7"/>
            <a:endCxn id="21" idx="4"/>
          </p:cNvCxnSpPr>
          <p:nvPr/>
        </p:nvCxnSpPr>
        <p:spPr>
          <a:xfrm flipV="1">
            <a:off x="3064474" y="2907083"/>
            <a:ext cx="1286244" cy="2495904"/>
          </a:xfrm>
          <a:prstGeom prst="straightConnector1">
            <a:avLst/>
          </a:prstGeom>
          <a:noFill/>
          <a:ln w="9525" cap="flat" cmpd="sng" algn="ctr">
            <a:solidFill>
              <a:schemeClr val="tx1"/>
            </a:solidFill>
            <a:prstDash val="solid"/>
            <a:headEnd type="none"/>
            <a:tailEnd type="triangle"/>
          </a:ln>
          <a:effectLst/>
        </p:spPr>
      </p:cxnSp>
      <p:sp>
        <p:nvSpPr>
          <p:cNvPr id="27" name="TextBox 55"/>
          <p:cNvSpPr txBox="1"/>
          <p:nvPr/>
        </p:nvSpPr>
        <p:spPr>
          <a:xfrm>
            <a:off x="3527301" y="4095728"/>
            <a:ext cx="1940724" cy="489365"/>
          </a:xfrm>
          <a:prstGeom prst="rect">
            <a:avLst/>
          </a:prstGeom>
          <a:noFill/>
          <a:ln>
            <a:solidFill>
              <a:schemeClr val="tx1"/>
            </a:solidFill>
          </a:ln>
        </p:spPr>
        <p:txBody>
          <a:bodyPr wrap="none" lIns="182880" tIns="146304" rIns="182880" bIns="14630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smtClean="0">
                <a:ln>
                  <a:noFill/>
                </a:ln>
                <a:effectLst/>
                <a:uLnTx/>
                <a:uFillTx/>
                <a:latin typeface="Segoe UI"/>
                <a:ea typeface="+mn-ea"/>
                <a:cs typeface="+mn-cs"/>
              </a:rPr>
              <a:t>reports_for_project</a:t>
            </a:r>
          </a:p>
        </p:txBody>
      </p:sp>
      <p:sp>
        <p:nvSpPr>
          <p:cNvPr id="28" name="Rectangle 27"/>
          <p:cNvSpPr/>
          <p:nvPr/>
        </p:nvSpPr>
        <p:spPr bwMode="auto">
          <a:xfrm>
            <a:off x="10034661" y="3231851"/>
            <a:ext cx="1828800" cy="1206042"/>
          </a:xfrm>
          <a:prstGeom prst="rect">
            <a:avLst/>
          </a:prstGeom>
          <a:solidFill>
            <a:schemeClr val="tx2"/>
          </a:solidFill>
          <a:ln w="3175">
            <a:solidFill>
              <a:schemeClr val="tx1">
                <a:alpha val="2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r>
              <a:rPr lang="en-US" sz="2000" dirty="0" smtClean="0">
                <a:gradFill>
                  <a:gsLst>
                    <a:gs pos="0">
                      <a:srgbClr val="FFFFFF"/>
                    </a:gs>
                    <a:gs pos="100000">
                      <a:srgbClr val="FFFFFF"/>
                    </a:gs>
                  </a:gsLst>
                  <a:lin ang="5400000" scaled="0"/>
                </a:gradFill>
              </a:rPr>
              <a:t>neo4j</a:t>
            </a:r>
            <a:endParaRPr lang="en-US" sz="2000" dirty="0">
              <a:gradFill>
                <a:gsLst>
                  <a:gs pos="0">
                    <a:srgbClr val="FFFFFF"/>
                  </a:gs>
                  <a:gs pos="100000">
                    <a:srgbClr val="FFFFFF"/>
                  </a:gs>
                </a:gsLst>
                <a:lin ang="5400000" scaled="0"/>
              </a:gradFill>
            </a:endParaRPr>
          </a:p>
        </p:txBody>
      </p:sp>
      <p:pic>
        <p:nvPicPr>
          <p:cNvPr id="30" name="Picture 2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40462" y="3137222"/>
            <a:ext cx="3429000" cy="1524000"/>
          </a:xfrm>
          <a:prstGeom prst="rect">
            <a:avLst/>
          </a:prstGeom>
        </p:spPr>
      </p:pic>
    </p:spTree>
    <p:extLst>
      <p:ext uri="{BB962C8B-B14F-4D97-AF65-F5344CB8AC3E}">
        <p14:creationId xmlns:p14="http://schemas.microsoft.com/office/powerpoint/2010/main" val="8566012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fr-FR" dirty="0" smtClean="0"/>
              <a:t>Azure </a:t>
            </a:r>
            <a:r>
              <a:rPr lang="fr-FR" dirty="0" err="1" smtClean="0"/>
              <a:t>DocumentDB</a:t>
            </a:r>
            <a:endParaRPr lang="fr-FR" dirty="0"/>
          </a:p>
        </p:txBody>
      </p:sp>
      <p:sp>
        <p:nvSpPr>
          <p:cNvPr id="6" name="Text Placeholder 5"/>
          <p:cNvSpPr>
            <a:spLocks noGrp="1"/>
          </p:cNvSpPr>
          <p:nvPr>
            <p:ph type="body" sz="quarter" idx="10"/>
          </p:nvPr>
        </p:nvSpPr>
        <p:spPr/>
        <p:txBody>
          <a:bodyPr/>
          <a:lstStyle/>
          <a:p>
            <a:r>
              <a:rPr lang="fr-FR" dirty="0" smtClean="0"/>
              <a:t>Benjamin Talmard</a:t>
            </a:r>
            <a:endParaRPr lang="fr-FR" dirty="0"/>
          </a:p>
        </p:txBody>
      </p:sp>
      <p:sp>
        <p:nvSpPr>
          <p:cNvPr id="7" name="Text Placeholder 6"/>
          <p:cNvSpPr>
            <a:spLocks noGrp="1"/>
          </p:cNvSpPr>
          <p:nvPr>
            <p:ph type="body" sz="quarter" idx="11"/>
          </p:nvPr>
        </p:nvSpPr>
        <p:spPr/>
        <p:txBody>
          <a:bodyPr/>
          <a:lstStyle/>
          <a:p>
            <a:r>
              <a:rPr lang="fr-FR" dirty="0" smtClean="0"/>
              <a:t>@</a:t>
            </a:r>
            <a:r>
              <a:rPr lang="fr-FR" dirty="0" err="1" smtClean="0"/>
              <a:t>benjiiim</a:t>
            </a:r>
            <a:endParaRPr lang="fr-FR" dirty="0"/>
          </a:p>
        </p:txBody>
      </p:sp>
    </p:spTree>
    <p:extLst>
      <p:ext uri="{BB962C8B-B14F-4D97-AF65-F5344CB8AC3E}">
        <p14:creationId xmlns:p14="http://schemas.microsoft.com/office/powerpoint/2010/main" val="4093466251"/>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fr-FR" dirty="0" smtClean="0"/>
              <a:t>Azure </a:t>
            </a:r>
            <a:r>
              <a:rPr lang="fr-FR" dirty="0" err="1" smtClean="0"/>
              <a:t>DocumentDB</a:t>
            </a:r>
            <a:endParaRPr lang="fr-FR" dirty="0"/>
          </a:p>
        </p:txBody>
      </p:sp>
      <p:sp>
        <p:nvSpPr>
          <p:cNvPr id="6" name="Text Placeholder 5"/>
          <p:cNvSpPr>
            <a:spLocks noGrp="1"/>
          </p:cNvSpPr>
          <p:nvPr>
            <p:ph type="body" sz="quarter" idx="13"/>
          </p:nvPr>
        </p:nvSpPr>
        <p:spPr>
          <a:xfrm>
            <a:off x="274638" y="904975"/>
            <a:ext cx="11807825" cy="5544616"/>
          </a:xfrm>
        </p:spPr>
        <p:txBody>
          <a:bodyPr anchor="ctr"/>
          <a:lstStyle/>
          <a:p>
            <a:pPr marL="67500" indent="0" algn="ctr">
              <a:buNone/>
            </a:pPr>
            <a:r>
              <a:rPr lang="fr-FR" dirty="0" smtClean="0"/>
              <a:t>« Azure </a:t>
            </a:r>
            <a:r>
              <a:rPr lang="fr-FR" dirty="0" err="1" smtClean="0"/>
              <a:t>DocumentDB</a:t>
            </a:r>
            <a:r>
              <a:rPr lang="fr-FR" dirty="0" smtClean="0"/>
              <a:t> </a:t>
            </a:r>
            <a:r>
              <a:rPr lang="fr-FR" dirty="0" err="1" smtClean="0"/>
              <a:t>is</a:t>
            </a:r>
            <a:r>
              <a:rPr lang="fr-FR" dirty="0" smtClean="0"/>
              <a:t> a </a:t>
            </a:r>
            <a:r>
              <a:rPr lang="fr-FR" dirty="0" err="1" smtClean="0"/>
              <a:t>NoSQL</a:t>
            </a:r>
            <a:r>
              <a:rPr lang="fr-FR" dirty="0" smtClean="0"/>
              <a:t> </a:t>
            </a:r>
            <a:r>
              <a:rPr lang="fr-FR" b="1" dirty="0" smtClean="0"/>
              <a:t>document </a:t>
            </a:r>
            <a:r>
              <a:rPr lang="fr-FR" b="1" dirty="0" err="1" smtClean="0"/>
              <a:t>database</a:t>
            </a:r>
            <a:r>
              <a:rPr lang="fr-FR" dirty="0" smtClean="0"/>
              <a:t> </a:t>
            </a:r>
            <a:r>
              <a:rPr lang="fr-FR" b="1" dirty="0" err="1" smtClean="0"/>
              <a:t>managed</a:t>
            </a:r>
            <a:r>
              <a:rPr lang="fr-FR" b="1" dirty="0" smtClean="0"/>
              <a:t> service</a:t>
            </a:r>
            <a:r>
              <a:rPr lang="fr-FR" dirty="0" smtClean="0"/>
              <a:t> </a:t>
            </a:r>
            <a:r>
              <a:rPr lang="fr-FR" dirty="0" err="1" smtClean="0"/>
              <a:t>designed</a:t>
            </a:r>
            <a:r>
              <a:rPr lang="fr-FR" dirty="0"/>
              <a:t> </a:t>
            </a:r>
            <a:r>
              <a:rPr lang="fr-FR" dirty="0" smtClean="0"/>
              <a:t>for </a:t>
            </a:r>
            <a:r>
              <a:rPr lang="fr-FR" b="1" dirty="0" smtClean="0"/>
              <a:t>high performance</a:t>
            </a:r>
            <a:r>
              <a:rPr lang="fr-FR" dirty="0" smtClean="0"/>
              <a:t>, </a:t>
            </a:r>
            <a:r>
              <a:rPr lang="fr-FR" b="1" dirty="0" err="1" smtClean="0"/>
              <a:t>scalability</a:t>
            </a:r>
            <a:r>
              <a:rPr lang="fr-FR" dirty="0" smtClean="0"/>
              <a:t> and </a:t>
            </a:r>
            <a:r>
              <a:rPr lang="fr-FR" b="1" dirty="0" err="1" smtClean="0"/>
              <a:t>flexibility</a:t>
            </a:r>
            <a:r>
              <a:rPr lang="fr-FR" dirty="0" smtClean="0"/>
              <a:t>. »</a:t>
            </a:r>
            <a:endParaRPr lang="fr-FR" dirty="0"/>
          </a:p>
        </p:txBody>
      </p:sp>
      <p:sp>
        <p:nvSpPr>
          <p:cNvPr id="7" name="Text Placeholder 6"/>
          <p:cNvSpPr>
            <a:spLocks noGrp="1"/>
          </p:cNvSpPr>
          <p:nvPr>
            <p:ph type="body" sz="quarter" idx="14"/>
          </p:nvPr>
        </p:nvSpPr>
        <p:spPr/>
        <p:txBody>
          <a:bodyPr/>
          <a:lstStyle/>
          <a:p>
            <a:endParaRPr lang="fr-FR"/>
          </a:p>
        </p:txBody>
      </p:sp>
      <p:sp>
        <p:nvSpPr>
          <p:cNvPr id="8" name="Text Placeholder 7"/>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spTree>
    <p:extLst>
      <p:ext uri="{BB962C8B-B14F-4D97-AF65-F5344CB8AC3E}">
        <p14:creationId xmlns:p14="http://schemas.microsoft.com/office/powerpoint/2010/main" val="3280735245"/>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fr-FR" dirty="0" smtClean="0"/>
              <a:t>Azure </a:t>
            </a:r>
            <a:r>
              <a:rPr lang="fr-FR" dirty="0" err="1" smtClean="0"/>
              <a:t>DocumentDB</a:t>
            </a:r>
            <a:r>
              <a:rPr lang="fr-FR" dirty="0" smtClean="0"/>
              <a:t> </a:t>
            </a:r>
            <a:r>
              <a:rPr lang="fr-FR" dirty="0" err="1" smtClean="0"/>
              <a:t>customers</a:t>
            </a:r>
            <a:endParaRPr lang="fr-FR" dirty="0"/>
          </a:p>
        </p:txBody>
      </p:sp>
      <p:sp>
        <p:nvSpPr>
          <p:cNvPr id="7" name="Text Placeholder 6"/>
          <p:cNvSpPr>
            <a:spLocks noGrp="1"/>
          </p:cNvSpPr>
          <p:nvPr>
            <p:ph type="body" sz="quarter" idx="14"/>
          </p:nvPr>
        </p:nvSpPr>
        <p:spPr/>
        <p:txBody>
          <a:bodyPr/>
          <a:lstStyle/>
          <a:p>
            <a:endParaRPr lang="fr-FR"/>
          </a:p>
        </p:txBody>
      </p:sp>
      <p:sp>
        <p:nvSpPr>
          <p:cNvPr id="8" name="Text Placeholder 7"/>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pic>
        <p:nvPicPr>
          <p:cNvPr id="9" name="Picture 4" descr="http://logok.org/wp-content/uploads/2014/07/MSN-logo-2014-blue.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79442" y="3206412"/>
            <a:ext cx="3819699" cy="2864774"/>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570165" y="1740823"/>
            <a:ext cx="1769051" cy="2167982"/>
          </a:xfrm>
          <a:prstGeom prst="rect">
            <a:avLst/>
          </a:prstGeom>
        </p:spPr>
      </p:pic>
      <p:pic>
        <p:nvPicPr>
          <p:cNvPr id="12" name="Picture 1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530605" y="1625054"/>
            <a:ext cx="1597320" cy="2031770"/>
          </a:xfrm>
          <a:prstGeom prst="rect">
            <a:avLst/>
          </a:prstGeom>
        </p:spPr>
      </p:pic>
      <p:pic>
        <p:nvPicPr>
          <p:cNvPr id="13" name="Picture 1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34531" y="2156359"/>
            <a:ext cx="3063159" cy="746944"/>
          </a:xfrm>
          <a:prstGeom prst="rect">
            <a:avLst/>
          </a:prstGeom>
        </p:spPr>
      </p:pic>
      <p:pic>
        <p:nvPicPr>
          <p:cNvPr id="14" name="Picture 13"/>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702091" y="5195649"/>
            <a:ext cx="3637125" cy="1665803"/>
          </a:xfrm>
          <a:prstGeom prst="rect">
            <a:avLst/>
          </a:prstGeom>
        </p:spPr>
      </p:pic>
      <p:pic>
        <p:nvPicPr>
          <p:cNvPr id="15" name="Picture 14"/>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990058" y="4313136"/>
            <a:ext cx="5081093" cy="1059103"/>
          </a:xfrm>
          <a:prstGeom prst="rect">
            <a:avLst/>
          </a:prstGeom>
        </p:spPr>
      </p:pic>
    </p:spTree>
    <p:extLst>
      <p:ext uri="{BB962C8B-B14F-4D97-AF65-F5344CB8AC3E}">
        <p14:creationId xmlns:p14="http://schemas.microsoft.com/office/powerpoint/2010/main" val="3219760864"/>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fr-FR" dirty="0" smtClean="0"/>
              <a:t>Document </a:t>
            </a:r>
            <a:r>
              <a:rPr lang="fr-FR" dirty="0" err="1" smtClean="0"/>
              <a:t>database</a:t>
            </a:r>
            <a:endParaRPr lang="fr-FR" dirty="0"/>
          </a:p>
        </p:txBody>
      </p:sp>
      <p:sp>
        <p:nvSpPr>
          <p:cNvPr id="8" name="Text Placeholder 7"/>
          <p:cNvSpPr>
            <a:spLocks noGrp="1"/>
          </p:cNvSpPr>
          <p:nvPr>
            <p:ph type="body" sz="quarter" idx="14"/>
          </p:nvPr>
        </p:nvSpPr>
        <p:spPr/>
        <p:txBody>
          <a:bodyPr/>
          <a:lstStyle/>
          <a:p>
            <a:endParaRPr lang="fr-FR" dirty="0"/>
          </a:p>
        </p:txBody>
      </p:sp>
      <p:sp>
        <p:nvSpPr>
          <p:cNvPr id="2" name="Text Placeholder 1"/>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sp>
        <p:nvSpPr>
          <p:cNvPr id="9" name="Text Placeholder 2"/>
          <p:cNvSpPr txBox="1">
            <a:spLocks/>
          </p:cNvSpPr>
          <p:nvPr/>
        </p:nvSpPr>
        <p:spPr>
          <a:xfrm>
            <a:off x="7563971" y="1350547"/>
            <a:ext cx="4390584" cy="4826970"/>
          </a:xfrm>
          <a:prstGeom prst="rect">
            <a:avLst/>
          </a:prstGeom>
        </p:spPr>
        <p:txBody>
          <a:bodyPr>
            <a:noAutofit/>
          </a:bodyPr>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defTabSz="609585">
              <a:lnSpc>
                <a:spcPct val="100000"/>
              </a:lnSpc>
              <a:spcBef>
                <a:spcPts val="0"/>
              </a:spcBef>
              <a:buSzTx/>
              <a:buNone/>
            </a:pPr>
            <a:r>
              <a:rPr lang="fr-FR" sz="2400" spc="0" dirty="0" smtClean="0">
                <a:solidFill>
                  <a:srgbClr val="5F5F5F"/>
                </a:solidFill>
                <a:latin typeface="Segoe UI"/>
              </a:rPr>
              <a:t>JSON</a:t>
            </a:r>
          </a:p>
          <a:p>
            <a:pPr marL="182880" lvl="1" indent="0" defTabSz="609585">
              <a:lnSpc>
                <a:spcPct val="100000"/>
              </a:lnSpc>
              <a:spcBef>
                <a:spcPts val="600"/>
              </a:spcBef>
              <a:spcAft>
                <a:spcPts val="600"/>
              </a:spcAft>
              <a:buSzTx/>
              <a:buNone/>
            </a:pPr>
            <a:r>
              <a:rPr lang="fr-FR" sz="1800" dirty="0">
                <a:solidFill>
                  <a:srgbClr val="5F5F5F"/>
                </a:solidFill>
                <a:latin typeface="Segoe UI"/>
              </a:rPr>
              <a:t>Un format standard cross plateforme</a:t>
            </a:r>
          </a:p>
          <a:p>
            <a:pPr marL="182880" lvl="1" indent="0" defTabSz="609585">
              <a:lnSpc>
                <a:spcPct val="100000"/>
              </a:lnSpc>
              <a:spcBef>
                <a:spcPts val="600"/>
              </a:spcBef>
              <a:spcAft>
                <a:spcPts val="600"/>
              </a:spcAft>
              <a:buSzTx/>
              <a:buNone/>
            </a:pPr>
            <a:endParaRPr lang="fr-FR" sz="1800" dirty="0">
              <a:solidFill>
                <a:srgbClr val="5F5F5F"/>
              </a:solidFill>
              <a:latin typeface="Segoe UI"/>
            </a:endParaRPr>
          </a:p>
          <a:p>
            <a:pPr marL="0" lvl="0" indent="0" defTabSz="609585">
              <a:lnSpc>
                <a:spcPct val="100000"/>
              </a:lnSpc>
              <a:spcBef>
                <a:spcPts val="0"/>
              </a:spcBef>
              <a:buSzTx/>
              <a:buNone/>
            </a:pPr>
            <a:r>
              <a:rPr lang="fr-FR" sz="2400" spc="0" dirty="0" smtClean="0">
                <a:solidFill>
                  <a:srgbClr val="5F5F5F"/>
                </a:solidFill>
                <a:latin typeface="Segoe UI"/>
              </a:rPr>
              <a:t>Valeurs JSON</a:t>
            </a:r>
          </a:p>
          <a:p>
            <a:pPr marL="182880" lvl="0" indent="0" defTabSz="609585">
              <a:lnSpc>
                <a:spcPct val="100000"/>
              </a:lnSpc>
              <a:spcBef>
                <a:spcPts val="600"/>
              </a:spcBef>
              <a:spcAft>
                <a:spcPts val="600"/>
              </a:spcAft>
              <a:buSzTx/>
              <a:buNone/>
            </a:pPr>
            <a:r>
              <a:rPr lang="fr-FR" sz="1800" spc="0" dirty="0" smtClean="0">
                <a:solidFill>
                  <a:srgbClr val="5F5F5F"/>
                </a:solidFill>
                <a:latin typeface="Segoe UI"/>
              </a:rPr>
              <a:t>« Self-</a:t>
            </a:r>
            <a:r>
              <a:rPr lang="fr-FR" sz="1800" spc="0" dirty="0" err="1" smtClean="0">
                <a:solidFill>
                  <a:srgbClr val="5F5F5F"/>
                </a:solidFill>
                <a:latin typeface="Segoe UI"/>
              </a:rPr>
              <a:t>describing</a:t>
            </a:r>
            <a:r>
              <a:rPr lang="fr-FR" sz="1800" spc="0" dirty="0" smtClean="0">
                <a:solidFill>
                  <a:srgbClr val="5F5F5F"/>
                </a:solidFill>
                <a:latin typeface="Segoe UI"/>
              </a:rPr>
              <a:t> », « self-</a:t>
            </a:r>
            <a:r>
              <a:rPr lang="fr-FR" sz="1800" spc="0" dirty="0" err="1" smtClean="0">
                <a:solidFill>
                  <a:srgbClr val="5F5F5F"/>
                </a:solidFill>
                <a:latin typeface="Segoe UI"/>
              </a:rPr>
              <a:t>contained</a:t>
            </a:r>
            <a:r>
              <a:rPr lang="fr-FR" sz="1800" spc="0" dirty="0" smtClean="0">
                <a:solidFill>
                  <a:srgbClr val="5F5F5F"/>
                </a:solidFill>
                <a:latin typeface="Segoe UI"/>
              </a:rPr>
              <a:t> »</a:t>
            </a:r>
          </a:p>
          <a:p>
            <a:pPr marL="182880" lvl="0" indent="0" defTabSz="609585">
              <a:lnSpc>
                <a:spcPct val="100000"/>
              </a:lnSpc>
              <a:spcBef>
                <a:spcPts val="600"/>
              </a:spcBef>
              <a:spcAft>
                <a:spcPts val="600"/>
              </a:spcAft>
              <a:buSzTx/>
              <a:buNone/>
            </a:pPr>
            <a:r>
              <a:rPr lang="fr-FR" sz="1800" spc="0" dirty="0" smtClean="0">
                <a:solidFill>
                  <a:srgbClr val="5F5F5F"/>
                </a:solidFill>
                <a:latin typeface="Segoe UI"/>
              </a:rPr>
              <a:t>Pas de comportement, d’héritage, de règles, …</a:t>
            </a:r>
          </a:p>
          <a:p>
            <a:pPr marL="182880" lvl="0" indent="0" defTabSz="609585">
              <a:lnSpc>
                <a:spcPct val="100000"/>
              </a:lnSpc>
              <a:spcBef>
                <a:spcPts val="600"/>
              </a:spcBef>
              <a:spcAft>
                <a:spcPts val="600"/>
              </a:spcAft>
              <a:buSzTx/>
              <a:buNone/>
            </a:pPr>
            <a:r>
              <a:rPr lang="fr-FR" sz="1800" spc="0" dirty="0" err="1" smtClean="0">
                <a:solidFill>
                  <a:srgbClr val="5F5F5F"/>
                </a:solidFill>
                <a:latin typeface="Segoe UI"/>
              </a:rPr>
              <a:t>Sérialisable</a:t>
            </a:r>
            <a:r>
              <a:rPr lang="fr-FR" sz="1800" spc="0" dirty="0" smtClean="0">
                <a:solidFill>
                  <a:srgbClr val="5F5F5F"/>
                </a:solidFill>
                <a:latin typeface="Segoe UI"/>
              </a:rPr>
              <a:t> facilement</a:t>
            </a:r>
          </a:p>
          <a:p>
            <a:pPr marL="182880" lvl="0" indent="0" defTabSz="609585">
              <a:lnSpc>
                <a:spcPct val="100000"/>
              </a:lnSpc>
              <a:spcBef>
                <a:spcPts val="600"/>
              </a:spcBef>
              <a:spcAft>
                <a:spcPts val="600"/>
              </a:spcAft>
              <a:buSzTx/>
              <a:buNone/>
            </a:pPr>
            <a:endParaRPr lang="fr-FR" sz="1800" spc="0" dirty="0">
              <a:solidFill>
                <a:srgbClr val="5F5F5F"/>
              </a:solidFill>
              <a:latin typeface="Segoe UI"/>
            </a:endParaRPr>
          </a:p>
          <a:p>
            <a:pPr marL="182880" lvl="0" indent="0" defTabSz="609585">
              <a:lnSpc>
                <a:spcPct val="100000"/>
              </a:lnSpc>
              <a:spcBef>
                <a:spcPts val="600"/>
              </a:spcBef>
              <a:spcAft>
                <a:spcPts val="600"/>
              </a:spcAft>
              <a:buSzTx/>
              <a:buNone/>
            </a:pPr>
            <a:r>
              <a:rPr lang="fr-FR" sz="2400" spc="0" dirty="0" smtClean="0">
                <a:solidFill>
                  <a:srgbClr val="5F5F5F"/>
                </a:solidFill>
                <a:latin typeface="Segoe UI"/>
              </a:rPr>
              <a:t>Schéma</a:t>
            </a:r>
          </a:p>
          <a:p>
            <a:pPr marL="182880" lvl="0" indent="0" defTabSz="609585">
              <a:lnSpc>
                <a:spcPct val="100000"/>
              </a:lnSpc>
              <a:spcBef>
                <a:spcPts val="600"/>
              </a:spcBef>
              <a:spcAft>
                <a:spcPts val="600"/>
              </a:spcAft>
              <a:buSzTx/>
              <a:buNone/>
            </a:pPr>
            <a:r>
              <a:rPr lang="fr-FR" sz="1800" spc="0" dirty="0" smtClean="0">
                <a:solidFill>
                  <a:srgbClr val="5F5F5F"/>
                </a:solidFill>
                <a:latin typeface="Segoe UI"/>
              </a:rPr>
              <a:t>Pas de schéma mais </a:t>
            </a:r>
            <a:r>
              <a:rPr lang="fr-FR" sz="1800" spc="0" dirty="0" err="1" smtClean="0">
                <a:solidFill>
                  <a:srgbClr val="5F5F5F"/>
                </a:solidFill>
                <a:latin typeface="Segoe UI"/>
              </a:rPr>
              <a:t>requêtable</a:t>
            </a:r>
            <a:endParaRPr lang="fr-FR" sz="1800" spc="0" dirty="0">
              <a:solidFill>
                <a:srgbClr val="5F5F5F"/>
              </a:solidFill>
              <a:latin typeface="Segoe UI"/>
            </a:endParaRPr>
          </a:p>
        </p:txBody>
      </p:sp>
      <p:sp>
        <p:nvSpPr>
          <p:cNvPr id="10" name="Text Placeholder 2"/>
          <p:cNvSpPr txBox="1">
            <a:spLocks/>
          </p:cNvSpPr>
          <p:nvPr/>
        </p:nvSpPr>
        <p:spPr>
          <a:xfrm>
            <a:off x="435935" y="1350547"/>
            <a:ext cx="6751518" cy="4826969"/>
          </a:xfrm>
          <a:prstGeom prst="rect">
            <a:avLst/>
          </a:prstGeom>
          <a:solidFill>
            <a:schemeClr val="bg1">
              <a:lumMod val="95000"/>
            </a:schemeClr>
          </a:solidFill>
          <a:ln w="76200">
            <a:solidFill>
              <a:srgbClr val="0072C6"/>
            </a:solidFill>
          </a:ln>
        </p:spPr>
        <p:txBody>
          <a:bodyPr vert="horz" wrap="square" lIns="182880" tIns="146304" rIns="91440" bIns="146304" rtlCol="0">
            <a:noAutofit/>
          </a:bodyPr>
          <a:lstStyle>
            <a:lvl1pPr marL="0" marR="0" indent="0" algn="l" defTabSz="365760" rtl="0" eaLnBrk="1" fontAlgn="auto" latinLnBrk="0" hangingPunct="1">
              <a:lnSpc>
                <a:spcPct val="100000"/>
              </a:lnSpc>
              <a:spcBef>
                <a:spcPts val="0"/>
              </a:spcBef>
              <a:spcAft>
                <a:spcPts val="0"/>
              </a:spcAft>
              <a:buClr>
                <a:schemeClr val="tx1"/>
              </a:buClr>
              <a:buSzPct val="90000"/>
              <a:buFont typeface="Wingdings" pitchFamily="2" charset="2"/>
              <a:buNone/>
              <a:tabLst/>
              <a:defRPr sz="1800" kern="1200" spc="0" baseline="0">
                <a:solidFill>
                  <a:schemeClr val="tx1"/>
                </a:solidFill>
                <a:latin typeface="Consolas" panose="020B0609020204030204" pitchFamily="49" charset="0"/>
                <a:ea typeface="+mn-ea"/>
                <a:cs typeface="Consolas" panose="020B0609020204030204" pitchFamily="49" charset="0"/>
              </a:defRPr>
            </a:lvl1pPr>
            <a:lvl2pPr marL="365760" marR="0" indent="0" algn="l" defTabSz="365760" rtl="0" eaLnBrk="1" fontAlgn="auto" latinLnBrk="0" hangingPunct="1">
              <a:lnSpc>
                <a:spcPct val="100000"/>
              </a:lnSpc>
              <a:spcBef>
                <a:spcPts val="0"/>
              </a:spcBef>
              <a:spcAft>
                <a:spcPts val="0"/>
              </a:spcAft>
              <a:buClrTx/>
              <a:buSzPct val="90000"/>
              <a:buFont typeface="Arial" pitchFamily="34" charset="0"/>
              <a:buNone/>
              <a:tabLst/>
              <a:defRPr sz="1800" kern="1200" spc="0" baseline="0">
                <a:solidFill>
                  <a:schemeClr val="tx1"/>
                </a:solidFill>
                <a:latin typeface="Consolas" panose="020B0609020204030204" pitchFamily="49" charset="0"/>
                <a:ea typeface="+mn-ea"/>
                <a:cs typeface="Consolas" panose="020B0609020204030204" pitchFamily="49" charset="0"/>
              </a:defRPr>
            </a:lvl2pPr>
            <a:lvl3pPr marL="731520" marR="0" indent="0" algn="l" defTabSz="365760" rtl="0" eaLnBrk="1" fontAlgn="auto" latinLnBrk="0" hangingPunct="1">
              <a:lnSpc>
                <a:spcPct val="100000"/>
              </a:lnSpc>
              <a:spcBef>
                <a:spcPts val="0"/>
              </a:spcBef>
              <a:spcAft>
                <a:spcPts val="0"/>
              </a:spcAft>
              <a:buClrTx/>
              <a:buSzPct val="90000"/>
              <a:buFont typeface="Arial" pitchFamily="34" charset="0"/>
              <a:buNone/>
              <a:tabLst/>
              <a:defRPr sz="1800" kern="1200" spc="0" baseline="0">
                <a:solidFill>
                  <a:schemeClr val="tx1"/>
                </a:solidFill>
                <a:latin typeface="Consolas" panose="020B0609020204030204" pitchFamily="49" charset="0"/>
                <a:ea typeface="+mn-ea"/>
                <a:cs typeface="Consolas" panose="020B0609020204030204" pitchFamily="49" charset="0"/>
              </a:defRPr>
            </a:lvl3pPr>
            <a:lvl4pPr marL="1097280" marR="0" indent="0" algn="l" defTabSz="365760" rtl="0" eaLnBrk="1" fontAlgn="auto" latinLnBrk="0" hangingPunct="1">
              <a:lnSpc>
                <a:spcPct val="100000"/>
              </a:lnSpc>
              <a:spcBef>
                <a:spcPts val="0"/>
              </a:spcBef>
              <a:spcAft>
                <a:spcPts val="0"/>
              </a:spcAft>
              <a:buClrTx/>
              <a:buSzPct val="90000"/>
              <a:buFont typeface="Arial" pitchFamily="34" charset="0"/>
              <a:buNone/>
              <a:tabLst/>
              <a:defRPr sz="1800" kern="1200" spc="0" baseline="0">
                <a:solidFill>
                  <a:schemeClr val="tx1"/>
                </a:solidFill>
                <a:latin typeface="Consolas" panose="020B0609020204030204" pitchFamily="49" charset="0"/>
                <a:ea typeface="+mn-ea"/>
                <a:cs typeface="Consolas" panose="020B0609020204030204" pitchFamily="49" charset="0"/>
              </a:defRPr>
            </a:lvl4pPr>
            <a:lvl5pPr marL="1463040" marR="0" indent="0" algn="l" defTabSz="365760" rtl="0" eaLnBrk="1" fontAlgn="auto" latinLnBrk="0" hangingPunct="1">
              <a:lnSpc>
                <a:spcPct val="100000"/>
              </a:lnSpc>
              <a:spcBef>
                <a:spcPts val="0"/>
              </a:spcBef>
              <a:spcAft>
                <a:spcPts val="0"/>
              </a:spcAft>
              <a:buClrTx/>
              <a:buSzPct val="90000"/>
              <a:buFont typeface="Arial" pitchFamily="34" charset="0"/>
              <a:buNone/>
              <a:tabLst/>
              <a:defRPr sz="1800" kern="1200" spc="0" baseline="0">
                <a:solidFill>
                  <a:schemeClr val="tx1"/>
                </a:solidFill>
                <a:latin typeface="Consolas" panose="020B0609020204030204" pitchFamily="49" charset="0"/>
                <a:ea typeface="+mn-ea"/>
                <a:cs typeface="Consolas" panose="020B0609020204030204" pitchFamily="49"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1600" dirty="0"/>
              <a:t>{</a:t>
            </a:r>
          </a:p>
          <a:p>
            <a:r>
              <a:rPr lang="en-US" sz="1600" dirty="0"/>
              <a:t>	“locations</a:t>
            </a:r>
            <a:r>
              <a:rPr lang="en-US" sz="1600" dirty="0" smtClean="0"/>
              <a:t>”:</a:t>
            </a:r>
          </a:p>
          <a:p>
            <a:r>
              <a:rPr lang="en-US" sz="1600" dirty="0"/>
              <a:t>	</a:t>
            </a:r>
            <a:r>
              <a:rPr lang="en-US" sz="1600" dirty="0" smtClean="0"/>
              <a:t>[</a:t>
            </a:r>
          </a:p>
          <a:p>
            <a:r>
              <a:rPr lang="en-US" sz="1600" dirty="0" smtClean="0"/>
              <a:t>		{“country”: “Germany”, “city”: “Berlin”},</a:t>
            </a:r>
          </a:p>
          <a:p>
            <a:r>
              <a:rPr lang="en-US" sz="1600" dirty="0" smtClean="0"/>
              <a:t>		{“</a:t>
            </a:r>
            <a:r>
              <a:rPr lang="en-US" sz="1600" dirty="0"/>
              <a:t>country”: </a:t>
            </a:r>
            <a:r>
              <a:rPr lang="en-US" sz="1600" dirty="0" smtClean="0"/>
              <a:t>“France”, </a:t>
            </a:r>
            <a:r>
              <a:rPr lang="en-US" sz="1600" dirty="0"/>
              <a:t>“city”: </a:t>
            </a:r>
            <a:r>
              <a:rPr lang="en-US" sz="1600" dirty="0" smtClean="0"/>
              <a:t>“Paris”},</a:t>
            </a:r>
            <a:endParaRPr lang="en-US" sz="1600" dirty="0"/>
          </a:p>
          <a:p>
            <a:r>
              <a:rPr lang="en-US" sz="1600" dirty="0" smtClean="0"/>
              <a:t>	],</a:t>
            </a:r>
          </a:p>
          <a:p>
            <a:r>
              <a:rPr lang="en-US" sz="1600" dirty="0"/>
              <a:t>	</a:t>
            </a:r>
            <a:r>
              <a:rPr lang="en-US" sz="1600" dirty="0" smtClean="0"/>
              <a:t>“headquarter”: “Belgium”,</a:t>
            </a:r>
          </a:p>
          <a:p>
            <a:r>
              <a:rPr lang="en-US" sz="1600" dirty="0"/>
              <a:t>	</a:t>
            </a:r>
            <a:r>
              <a:rPr lang="en-US" sz="1600" dirty="0" smtClean="0"/>
              <a:t>“exports”:[{“city”; “Moscow”},{“city: ”Athens”}]</a:t>
            </a:r>
          </a:p>
          <a:p>
            <a:r>
              <a:rPr lang="en-US" sz="1600" dirty="0" smtClean="0"/>
              <a:t>}</a:t>
            </a:r>
            <a:r>
              <a:rPr lang="en-US" sz="1600" b="1" dirty="0" smtClean="0">
                <a:solidFill>
                  <a:srgbClr val="FFC000"/>
                </a:solidFill>
              </a:rPr>
              <a:t>;</a:t>
            </a:r>
            <a:r>
              <a:rPr lang="en-US" sz="1600" dirty="0" smtClean="0"/>
              <a:t> </a:t>
            </a:r>
          </a:p>
          <a:p>
            <a:endParaRPr lang="en-US" dirty="0"/>
          </a:p>
          <a:p>
            <a:endParaRPr lang="en-US" dirty="0" smtClean="0"/>
          </a:p>
          <a:p>
            <a:endParaRPr lang="en-US" dirty="0"/>
          </a:p>
          <a:p>
            <a:endParaRPr lang="en-US" dirty="0" smtClean="0"/>
          </a:p>
          <a:p>
            <a:endParaRPr lang="en-US" dirty="0"/>
          </a:p>
          <a:p>
            <a:pPr>
              <a:lnSpc>
                <a:spcPct val="150000"/>
              </a:lnSpc>
            </a:pPr>
            <a:endParaRPr lang="en-US" dirty="0" smtClean="0"/>
          </a:p>
          <a:p>
            <a:pPr algn="ctr"/>
            <a:endParaRPr lang="en-US" dirty="0"/>
          </a:p>
          <a:p>
            <a:pPr algn="ctr"/>
            <a:r>
              <a:rPr lang="en-US" sz="2000" dirty="0" smtClean="0">
                <a:latin typeface="Segoe UI" panose="020B0502040204020203" pitchFamily="34" charset="0"/>
                <a:cs typeface="Segoe UI" panose="020B0502040204020203" pitchFamily="34" charset="0"/>
              </a:rPr>
              <a:t>JSON document as tree</a:t>
            </a:r>
          </a:p>
        </p:txBody>
      </p:sp>
      <p:grpSp>
        <p:nvGrpSpPr>
          <p:cNvPr id="11" name="Group 10"/>
          <p:cNvGrpSpPr/>
          <p:nvPr/>
        </p:nvGrpSpPr>
        <p:grpSpPr>
          <a:xfrm>
            <a:off x="1237860" y="3734154"/>
            <a:ext cx="5147668" cy="1869349"/>
            <a:chOff x="897026" y="2520059"/>
            <a:chExt cx="5147668" cy="1869349"/>
          </a:xfrm>
          <a:solidFill>
            <a:schemeClr val="bg1"/>
          </a:solidFill>
        </p:grpSpPr>
        <p:sp>
          <p:nvSpPr>
            <p:cNvPr id="12" name="Rectangle 11"/>
            <p:cNvSpPr/>
            <p:nvPr/>
          </p:nvSpPr>
          <p:spPr bwMode="auto">
            <a:xfrm>
              <a:off x="897026" y="2995882"/>
              <a:ext cx="2420205" cy="224906"/>
            </a:xfrm>
            <a:prstGeom prst="rect">
              <a:avLst/>
            </a:prstGeom>
            <a:grp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solidFill>
                    <a:schemeClr val="tx1"/>
                  </a:solidFill>
                  <a:ea typeface="Segoe UI" pitchFamily="34" charset="0"/>
                  <a:cs typeface="Segoe UI" pitchFamily="34" charset="0"/>
                </a:rPr>
                <a:t>L</a:t>
              </a:r>
              <a:r>
                <a:rPr lang="en-US" sz="1200" dirty="0" smtClean="0">
                  <a:solidFill>
                    <a:schemeClr val="tx1"/>
                  </a:solidFill>
                  <a:ea typeface="Segoe UI" pitchFamily="34" charset="0"/>
                  <a:cs typeface="Segoe UI" pitchFamily="34" charset="0"/>
                </a:rPr>
                <a:t>ocations</a:t>
              </a:r>
            </a:p>
          </p:txBody>
        </p:sp>
        <p:sp>
          <p:nvSpPr>
            <p:cNvPr id="13" name="Rectangle 12"/>
            <p:cNvSpPr/>
            <p:nvPr/>
          </p:nvSpPr>
          <p:spPr bwMode="auto">
            <a:xfrm>
              <a:off x="3409341" y="2995882"/>
              <a:ext cx="995770" cy="224906"/>
            </a:xfrm>
            <a:prstGeom prst="rect">
              <a:avLst/>
            </a:prstGeom>
            <a:grp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solidFill>
                    <a:schemeClr val="tx1"/>
                  </a:solidFill>
                  <a:ea typeface="Segoe UI" pitchFamily="34" charset="0"/>
                  <a:cs typeface="Segoe UI" pitchFamily="34" charset="0"/>
                </a:rPr>
                <a:t>H</a:t>
              </a:r>
              <a:r>
                <a:rPr lang="en-US" sz="1200" dirty="0" smtClean="0">
                  <a:solidFill>
                    <a:schemeClr val="tx1"/>
                  </a:solidFill>
                  <a:ea typeface="Segoe UI" pitchFamily="34" charset="0"/>
                  <a:cs typeface="Segoe UI" pitchFamily="34" charset="0"/>
                </a:rPr>
                <a:t>eadquarter</a:t>
              </a:r>
            </a:p>
          </p:txBody>
        </p:sp>
        <p:sp>
          <p:nvSpPr>
            <p:cNvPr id="14" name="Rectangle 13"/>
            <p:cNvSpPr/>
            <p:nvPr/>
          </p:nvSpPr>
          <p:spPr bwMode="auto">
            <a:xfrm>
              <a:off x="3409341" y="3381094"/>
              <a:ext cx="990446" cy="224906"/>
            </a:xfrm>
            <a:prstGeom prst="rect">
              <a:avLst/>
            </a:prstGeom>
            <a:grp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Belgium</a:t>
              </a:r>
            </a:p>
          </p:txBody>
        </p:sp>
        <p:grpSp>
          <p:nvGrpSpPr>
            <p:cNvPr id="15" name="Group 14"/>
            <p:cNvGrpSpPr/>
            <p:nvPr/>
          </p:nvGrpSpPr>
          <p:grpSpPr>
            <a:xfrm>
              <a:off x="897027" y="3772798"/>
              <a:ext cx="2418196" cy="224906"/>
              <a:chOff x="1006172" y="3761368"/>
              <a:chExt cx="2225020" cy="224906"/>
            </a:xfrm>
            <a:grpFill/>
          </p:grpSpPr>
          <p:sp>
            <p:nvSpPr>
              <p:cNvPr id="53" name="Rectangle 52"/>
              <p:cNvSpPr/>
              <p:nvPr/>
            </p:nvSpPr>
            <p:spPr bwMode="auto">
              <a:xfrm>
                <a:off x="1006172" y="3761368"/>
                <a:ext cx="616986" cy="224906"/>
              </a:xfrm>
              <a:prstGeom prst="rect">
                <a:avLst/>
              </a:prstGeom>
              <a:grp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solidFill>
                      <a:schemeClr val="tx1"/>
                    </a:solidFill>
                    <a:ea typeface="Segoe UI" pitchFamily="34" charset="0"/>
                    <a:cs typeface="Segoe UI" pitchFamily="34" charset="0"/>
                  </a:rPr>
                  <a:t>C</a:t>
                </a:r>
                <a:r>
                  <a:rPr lang="en-US" sz="1200" dirty="0" smtClean="0">
                    <a:solidFill>
                      <a:schemeClr val="tx1"/>
                    </a:solidFill>
                    <a:ea typeface="Segoe UI" pitchFamily="34" charset="0"/>
                    <a:cs typeface="Segoe UI" pitchFamily="34" charset="0"/>
                  </a:rPr>
                  <a:t>ountry</a:t>
                </a:r>
              </a:p>
            </p:txBody>
          </p:sp>
          <p:sp>
            <p:nvSpPr>
              <p:cNvPr id="54" name="Rectangle 53"/>
              <p:cNvSpPr/>
              <p:nvPr/>
            </p:nvSpPr>
            <p:spPr bwMode="auto">
              <a:xfrm>
                <a:off x="1701710" y="3761368"/>
                <a:ext cx="380227" cy="224906"/>
              </a:xfrm>
              <a:prstGeom prst="rect">
                <a:avLst/>
              </a:prstGeom>
              <a:grp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City</a:t>
                </a:r>
              </a:p>
            </p:txBody>
          </p:sp>
          <p:sp>
            <p:nvSpPr>
              <p:cNvPr id="55" name="Rectangle 54"/>
              <p:cNvSpPr/>
              <p:nvPr/>
            </p:nvSpPr>
            <p:spPr bwMode="auto">
              <a:xfrm>
                <a:off x="2157958" y="3761368"/>
                <a:ext cx="616986" cy="224906"/>
              </a:xfrm>
              <a:prstGeom prst="rect">
                <a:avLst/>
              </a:prstGeom>
              <a:grp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solidFill>
                      <a:schemeClr val="tx1"/>
                    </a:solidFill>
                    <a:ea typeface="Segoe UI" pitchFamily="34" charset="0"/>
                    <a:cs typeface="Segoe UI" pitchFamily="34" charset="0"/>
                  </a:rPr>
                  <a:t>C</a:t>
                </a:r>
                <a:r>
                  <a:rPr lang="en-US" sz="1200" dirty="0" smtClean="0">
                    <a:solidFill>
                      <a:schemeClr val="tx1"/>
                    </a:solidFill>
                    <a:ea typeface="Segoe UI" pitchFamily="34" charset="0"/>
                    <a:cs typeface="Segoe UI" pitchFamily="34" charset="0"/>
                  </a:rPr>
                  <a:t>ountry</a:t>
                </a:r>
              </a:p>
            </p:txBody>
          </p:sp>
          <p:sp>
            <p:nvSpPr>
              <p:cNvPr id="56" name="Rectangle 55"/>
              <p:cNvSpPr/>
              <p:nvPr/>
            </p:nvSpPr>
            <p:spPr bwMode="auto">
              <a:xfrm>
                <a:off x="2850965" y="3761368"/>
                <a:ext cx="380227" cy="224906"/>
              </a:xfrm>
              <a:prstGeom prst="rect">
                <a:avLst/>
              </a:prstGeom>
              <a:grp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City</a:t>
                </a:r>
              </a:p>
            </p:txBody>
          </p:sp>
        </p:grpSp>
        <p:grpSp>
          <p:nvGrpSpPr>
            <p:cNvPr id="16" name="Group 15"/>
            <p:cNvGrpSpPr/>
            <p:nvPr/>
          </p:nvGrpSpPr>
          <p:grpSpPr>
            <a:xfrm>
              <a:off x="903163" y="4164502"/>
              <a:ext cx="2412108" cy="224906"/>
              <a:chOff x="903163" y="4153072"/>
              <a:chExt cx="2431038" cy="224906"/>
            </a:xfrm>
            <a:grpFill/>
          </p:grpSpPr>
          <p:sp>
            <p:nvSpPr>
              <p:cNvPr id="49" name="Rectangle 48"/>
              <p:cNvSpPr/>
              <p:nvPr/>
            </p:nvSpPr>
            <p:spPr bwMode="auto">
              <a:xfrm>
                <a:off x="903163" y="4153072"/>
                <a:ext cx="722033" cy="224906"/>
              </a:xfrm>
              <a:prstGeom prst="rect">
                <a:avLst/>
              </a:prstGeom>
              <a:grp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Germany</a:t>
                </a:r>
              </a:p>
            </p:txBody>
          </p:sp>
          <p:sp>
            <p:nvSpPr>
              <p:cNvPr id="50" name="Rectangle 49"/>
              <p:cNvSpPr/>
              <p:nvPr/>
            </p:nvSpPr>
            <p:spPr bwMode="auto">
              <a:xfrm>
                <a:off x="1703352" y="4153072"/>
                <a:ext cx="497984" cy="224906"/>
              </a:xfrm>
              <a:prstGeom prst="rect">
                <a:avLst/>
              </a:prstGeom>
              <a:grp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Berlin</a:t>
                </a:r>
              </a:p>
            </p:txBody>
          </p:sp>
          <p:sp>
            <p:nvSpPr>
              <p:cNvPr id="51" name="Rectangle 50"/>
              <p:cNvSpPr/>
              <p:nvPr/>
            </p:nvSpPr>
            <p:spPr bwMode="auto">
              <a:xfrm>
                <a:off x="2279492" y="4153072"/>
                <a:ext cx="555134" cy="224906"/>
              </a:xfrm>
              <a:prstGeom prst="rect">
                <a:avLst/>
              </a:prstGeom>
              <a:grp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France</a:t>
                </a:r>
              </a:p>
            </p:txBody>
          </p:sp>
          <p:sp>
            <p:nvSpPr>
              <p:cNvPr id="52" name="Rectangle 51"/>
              <p:cNvSpPr/>
              <p:nvPr/>
            </p:nvSpPr>
            <p:spPr bwMode="auto">
              <a:xfrm>
                <a:off x="2912782" y="4153072"/>
                <a:ext cx="421419" cy="224906"/>
              </a:xfrm>
              <a:prstGeom prst="rect">
                <a:avLst/>
              </a:prstGeom>
              <a:grp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Paris</a:t>
                </a:r>
              </a:p>
            </p:txBody>
          </p:sp>
        </p:grpSp>
        <p:grpSp>
          <p:nvGrpSpPr>
            <p:cNvPr id="17" name="Group 16"/>
            <p:cNvGrpSpPr/>
            <p:nvPr/>
          </p:nvGrpSpPr>
          <p:grpSpPr>
            <a:xfrm>
              <a:off x="4492951" y="2995882"/>
              <a:ext cx="1551743" cy="1393526"/>
              <a:chOff x="4492952" y="2995882"/>
              <a:chExt cx="1280160" cy="1393526"/>
            </a:xfrm>
            <a:grpFill/>
          </p:grpSpPr>
          <p:sp>
            <p:nvSpPr>
              <p:cNvPr id="42" name="Rectangle 41"/>
              <p:cNvSpPr/>
              <p:nvPr/>
            </p:nvSpPr>
            <p:spPr bwMode="auto">
              <a:xfrm>
                <a:off x="4492952" y="2995882"/>
                <a:ext cx="1280160" cy="224906"/>
              </a:xfrm>
              <a:prstGeom prst="rect">
                <a:avLst/>
              </a:prstGeom>
              <a:grp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solidFill>
                      <a:schemeClr val="tx1"/>
                    </a:solidFill>
                    <a:ea typeface="Segoe UI" pitchFamily="34" charset="0"/>
                    <a:cs typeface="Segoe UI" pitchFamily="34" charset="0"/>
                  </a:rPr>
                  <a:t>E</a:t>
                </a:r>
                <a:r>
                  <a:rPr lang="en-US" sz="1200" dirty="0" smtClean="0">
                    <a:solidFill>
                      <a:schemeClr val="tx1"/>
                    </a:solidFill>
                    <a:ea typeface="Segoe UI" pitchFamily="34" charset="0"/>
                    <a:cs typeface="Segoe UI" pitchFamily="34" charset="0"/>
                  </a:rPr>
                  <a:t>xports</a:t>
                </a:r>
              </a:p>
            </p:txBody>
          </p:sp>
          <p:sp>
            <p:nvSpPr>
              <p:cNvPr id="43" name="Rectangle 42"/>
              <p:cNvSpPr/>
              <p:nvPr/>
            </p:nvSpPr>
            <p:spPr bwMode="auto">
              <a:xfrm>
                <a:off x="5172017" y="3772798"/>
                <a:ext cx="601095" cy="224906"/>
              </a:xfrm>
              <a:prstGeom prst="rect">
                <a:avLst/>
              </a:prstGeom>
              <a:grp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City</a:t>
                </a:r>
              </a:p>
            </p:txBody>
          </p:sp>
          <p:sp>
            <p:nvSpPr>
              <p:cNvPr id="44" name="Rectangle 43"/>
              <p:cNvSpPr/>
              <p:nvPr/>
            </p:nvSpPr>
            <p:spPr bwMode="auto">
              <a:xfrm>
                <a:off x="4492952" y="3772798"/>
                <a:ext cx="608406" cy="224906"/>
              </a:xfrm>
              <a:prstGeom prst="rect">
                <a:avLst/>
              </a:prstGeom>
              <a:grp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City</a:t>
                </a:r>
              </a:p>
            </p:txBody>
          </p:sp>
          <p:sp>
            <p:nvSpPr>
              <p:cNvPr id="45" name="Rectangle 44"/>
              <p:cNvSpPr/>
              <p:nvPr/>
            </p:nvSpPr>
            <p:spPr bwMode="auto">
              <a:xfrm>
                <a:off x="4492952" y="4164502"/>
                <a:ext cx="614582" cy="224906"/>
              </a:xfrm>
              <a:prstGeom prst="rect">
                <a:avLst/>
              </a:prstGeom>
              <a:grp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Moscow</a:t>
                </a:r>
              </a:p>
            </p:txBody>
          </p:sp>
          <p:sp>
            <p:nvSpPr>
              <p:cNvPr id="46" name="Rectangle 45"/>
              <p:cNvSpPr/>
              <p:nvPr/>
            </p:nvSpPr>
            <p:spPr bwMode="auto">
              <a:xfrm>
                <a:off x="5169608" y="4164502"/>
                <a:ext cx="603503" cy="224906"/>
              </a:xfrm>
              <a:prstGeom prst="rect">
                <a:avLst/>
              </a:prstGeom>
              <a:grp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Athens</a:t>
                </a:r>
              </a:p>
            </p:txBody>
          </p:sp>
          <p:sp>
            <p:nvSpPr>
              <p:cNvPr id="47" name="Rectangle 46"/>
              <p:cNvSpPr/>
              <p:nvPr/>
            </p:nvSpPr>
            <p:spPr bwMode="auto">
              <a:xfrm>
                <a:off x="4493904" y="3381094"/>
                <a:ext cx="613630" cy="224906"/>
              </a:xfrm>
              <a:prstGeom prst="rect">
                <a:avLst/>
              </a:prstGeom>
              <a:grp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0</a:t>
                </a:r>
              </a:p>
            </p:txBody>
          </p:sp>
          <p:sp>
            <p:nvSpPr>
              <p:cNvPr id="48" name="Rectangle 47"/>
              <p:cNvSpPr/>
              <p:nvPr/>
            </p:nvSpPr>
            <p:spPr bwMode="auto">
              <a:xfrm>
                <a:off x="5169608" y="3381094"/>
                <a:ext cx="603504" cy="224906"/>
              </a:xfrm>
              <a:prstGeom prst="rect">
                <a:avLst/>
              </a:prstGeom>
              <a:grp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1</a:t>
                </a:r>
              </a:p>
            </p:txBody>
          </p:sp>
        </p:grpSp>
        <p:cxnSp>
          <p:nvCxnSpPr>
            <p:cNvPr id="18" name="Elbow Connector 17"/>
            <p:cNvCxnSpPr>
              <a:endCxn id="12" idx="0"/>
            </p:cNvCxnSpPr>
            <p:nvPr/>
          </p:nvCxnSpPr>
          <p:spPr>
            <a:xfrm rot="10800000" flipV="1">
              <a:off x="2107129" y="2857418"/>
              <a:ext cx="1800094" cy="138463"/>
            </a:xfrm>
            <a:prstGeom prst="bentConnector2">
              <a:avLst/>
            </a:prstGeom>
            <a:grpFill/>
            <a:ln w="19050">
              <a:solidFill>
                <a:schemeClr val="tx1"/>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9" name="Elbow Connector 18"/>
            <p:cNvCxnSpPr>
              <a:endCxn id="42" idx="0"/>
            </p:cNvCxnSpPr>
            <p:nvPr/>
          </p:nvCxnSpPr>
          <p:spPr>
            <a:xfrm>
              <a:off x="3907223" y="2857419"/>
              <a:ext cx="1361600" cy="138463"/>
            </a:xfrm>
            <a:prstGeom prst="bentConnector2">
              <a:avLst/>
            </a:prstGeom>
            <a:grpFill/>
            <a:ln w="19050">
              <a:solidFill>
                <a:schemeClr val="tx1"/>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a:stCxn id="36" idx="2"/>
            </p:cNvCxnSpPr>
            <p:nvPr/>
          </p:nvCxnSpPr>
          <p:spPr>
            <a:xfrm>
              <a:off x="3907225" y="2744965"/>
              <a:ext cx="639" cy="246760"/>
            </a:xfrm>
            <a:prstGeom prst="straightConnector1">
              <a:avLst/>
            </a:prstGeom>
            <a:grpFill/>
            <a:ln w="19050">
              <a:solidFill>
                <a:schemeClr val="tx1"/>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flipH="1">
              <a:off x="3907225" y="3222993"/>
              <a:ext cx="1" cy="148876"/>
            </a:xfrm>
            <a:prstGeom prst="straightConnector1">
              <a:avLst/>
            </a:prstGeom>
            <a:grpFill/>
            <a:ln w="190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p:nvCxnSpPr>
          <p:spPr>
            <a:xfrm flipH="1">
              <a:off x="4862203" y="3222993"/>
              <a:ext cx="1" cy="148876"/>
            </a:xfrm>
            <a:prstGeom prst="straightConnector1">
              <a:avLst/>
            </a:prstGeom>
            <a:grpFill/>
            <a:ln w="190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a:xfrm flipH="1">
              <a:off x="5674016" y="3222993"/>
              <a:ext cx="1" cy="148876"/>
            </a:xfrm>
            <a:prstGeom prst="straightConnector1">
              <a:avLst/>
            </a:prstGeom>
            <a:grpFill/>
            <a:ln w="190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p:nvPr/>
          </p:nvCxnSpPr>
          <p:spPr>
            <a:xfrm flipH="1">
              <a:off x="4862203" y="3612292"/>
              <a:ext cx="1" cy="163764"/>
            </a:xfrm>
            <a:prstGeom prst="straightConnector1">
              <a:avLst/>
            </a:prstGeom>
            <a:grpFill/>
            <a:ln w="19050">
              <a:solidFill>
                <a:schemeClr val="tx1"/>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flipH="1">
              <a:off x="5674016" y="3612292"/>
              <a:ext cx="1" cy="163764"/>
            </a:xfrm>
            <a:prstGeom prst="straightConnector1">
              <a:avLst/>
            </a:prstGeom>
            <a:grpFill/>
            <a:ln w="19050">
              <a:solidFill>
                <a:schemeClr val="tx1"/>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flipH="1">
              <a:off x="4862203" y="4000628"/>
              <a:ext cx="1" cy="163764"/>
            </a:xfrm>
            <a:prstGeom prst="straightConnector1">
              <a:avLst/>
            </a:prstGeom>
            <a:grpFill/>
            <a:ln w="190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p:nvPr/>
          </p:nvCxnSpPr>
          <p:spPr>
            <a:xfrm flipH="1">
              <a:off x="5674016" y="4000628"/>
              <a:ext cx="1" cy="163764"/>
            </a:xfrm>
            <a:prstGeom prst="straightConnector1">
              <a:avLst/>
            </a:prstGeom>
            <a:grpFill/>
            <a:ln w="190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p:nvPr/>
          </p:nvCxnSpPr>
          <p:spPr>
            <a:xfrm flipH="1">
              <a:off x="1473630" y="3222993"/>
              <a:ext cx="1" cy="148876"/>
            </a:xfrm>
            <a:prstGeom prst="straightConnector1">
              <a:avLst/>
            </a:prstGeom>
            <a:grpFill/>
            <a:ln w="190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flipH="1">
              <a:off x="2731911" y="3222993"/>
              <a:ext cx="1" cy="148876"/>
            </a:xfrm>
            <a:prstGeom prst="straightConnector1">
              <a:avLst/>
            </a:prstGeom>
            <a:grpFill/>
            <a:ln w="190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p:nvPr/>
          </p:nvCxnSpPr>
          <p:spPr>
            <a:xfrm flipH="1">
              <a:off x="1874894" y="3612292"/>
              <a:ext cx="1" cy="163764"/>
            </a:xfrm>
            <a:prstGeom prst="straightConnector1">
              <a:avLst/>
            </a:prstGeom>
            <a:grpFill/>
            <a:ln w="19050">
              <a:solidFill>
                <a:schemeClr val="tx1"/>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p:nvPr/>
          </p:nvCxnSpPr>
          <p:spPr>
            <a:xfrm flipH="1">
              <a:off x="2503377" y="3612292"/>
              <a:ext cx="1" cy="163764"/>
            </a:xfrm>
            <a:prstGeom prst="straightConnector1">
              <a:avLst/>
            </a:prstGeom>
            <a:grpFill/>
            <a:ln w="19050">
              <a:solidFill>
                <a:schemeClr val="tx1"/>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flipH="1">
              <a:off x="1264179" y="4000628"/>
              <a:ext cx="1" cy="163764"/>
            </a:xfrm>
            <a:prstGeom prst="straightConnector1">
              <a:avLst/>
            </a:prstGeom>
            <a:grpFill/>
            <a:ln w="19050">
              <a:solidFill>
                <a:schemeClr val="tx1"/>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nvCxnSpPr>
          <p:spPr>
            <a:xfrm flipH="1">
              <a:off x="1952344" y="4000628"/>
              <a:ext cx="1" cy="163764"/>
            </a:xfrm>
            <a:prstGeom prst="straightConnector1">
              <a:avLst/>
            </a:prstGeom>
            <a:grpFill/>
            <a:ln w="19050">
              <a:solidFill>
                <a:schemeClr val="tx1"/>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p:nvPr/>
          </p:nvCxnSpPr>
          <p:spPr>
            <a:xfrm flipH="1">
              <a:off x="2557059" y="4000628"/>
              <a:ext cx="1" cy="163764"/>
            </a:xfrm>
            <a:prstGeom prst="straightConnector1">
              <a:avLst/>
            </a:prstGeom>
            <a:grpFill/>
            <a:ln w="19050">
              <a:solidFill>
                <a:schemeClr val="tx1"/>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p:nvPr/>
          </p:nvCxnSpPr>
          <p:spPr>
            <a:xfrm flipH="1">
              <a:off x="3123491" y="4000628"/>
              <a:ext cx="1" cy="163764"/>
            </a:xfrm>
            <a:prstGeom prst="straightConnector1">
              <a:avLst/>
            </a:prstGeom>
            <a:grpFill/>
            <a:ln w="19050">
              <a:solidFill>
                <a:schemeClr val="tx1"/>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sp>
          <p:nvSpPr>
            <p:cNvPr id="36" name="Rectangle 35"/>
            <p:cNvSpPr/>
            <p:nvPr/>
          </p:nvSpPr>
          <p:spPr bwMode="auto">
            <a:xfrm>
              <a:off x="3753381" y="2520059"/>
              <a:ext cx="307688" cy="224906"/>
            </a:xfrm>
            <a:prstGeom prst="rect">
              <a:avLst/>
            </a:prstGeom>
            <a:solidFill>
              <a:schemeClr val="bg2">
                <a:lumMod val="75000"/>
              </a:schemeClr>
            </a:solid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1200" dirty="0" smtClean="0">
                <a:solidFill>
                  <a:schemeClr val="tx1"/>
                </a:solidFill>
                <a:ea typeface="Segoe UI" pitchFamily="34" charset="0"/>
                <a:cs typeface="Segoe UI" pitchFamily="34" charset="0"/>
              </a:endParaRPr>
            </a:p>
          </p:txBody>
        </p:sp>
        <p:grpSp>
          <p:nvGrpSpPr>
            <p:cNvPr id="37" name="Group 36"/>
            <p:cNvGrpSpPr/>
            <p:nvPr/>
          </p:nvGrpSpPr>
          <p:grpSpPr>
            <a:xfrm>
              <a:off x="897026" y="3381094"/>
              <a:ext cx="2418197" cy="224906"/>
              <a:chOff x="897027" y="3369664"/>
              <a:chExt cx="2129880" cy="224906"/>
            </a:xfrm>
            <a:grpFill/>
          </p:grpSpPr>
          <p:sp>
            <p:nvSpPr>
              <p:cNvPr id="40" name="Rectangle 39"/>
              <p:cNvSpPr/>
              <p:nvPr/>
            </p:nvSpPr>
            <p:spPr bwMode="auto">
              <a:xfrm>
                <a:off x="897027" y="3369664"/>
                <a:ext cx="1026412" cy="224906"/>
              </a:xfrm>
              <a:prstGeom prst="rect">
                <a:avLst/>
              </a:prstGeom>
              <a:grp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0</a:t>
                </a:r>
              </a:p>
            </p:txBody>
          </p:sp>
          <p:sp>
            <p:nvSpPr>
              <p:cNvPr id="41" name="Rectangle 40"/>
              <p:cNvSpPr/>
              <p:nvPr/>
            </p:nvSpPr>
            <p:spPr bwMode="auto">
              <a:xfrm>
                <a:off x="2002779" y="3369664"/>
                <a:ext cx="1024128" cy="224906"/>
              </a:xfrm>
              <a:prstGeom prst="rect">
                <a:avLst/>
              </a:prstGeom>
              <a:grpFill/>
              <a:ln w="1905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solidFill>
                      <a:schemeClr val="tx1"/>
                    </a:solidFill>
                    <a:ea typeface="Segoe UI" pitchFamily="34" charset="0"/>
                    <a:cs typeface="Segoe UI" pitchFamily="34" charset="0"/>
                  </a:rPr>
                  <a:t>1</a:t>
                </a:r>
              </a:p>
            </p:txBody>
          </p:sp>
        </p:grpSp>
        <p:cxnSp>
          <p:nvCxnSpPr>
            <p:cNvPr id="38" name="Straight Arrow Connector 37"/>
            <p:cNvCxnSpPr/>
            <p:nvPr/>
          </p:nvCxnSpPr>
          <p:spPr>
            <a:xfrm flipH="1">
              <a:off x="3120251" y="3612292"/>
              <a:ext cx="1" cy="163764"/>
            </a:xfrm>
            <a:prstGeom prst="straightConnector1">
              <a:avLst/>
            </a:prstGeom>
            <a:grpFill/>
            <a:ln w="19050">
              <a:solidFill>
                <a:schemeClr val="tx1"/>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p:nvCxnSpPr>
          <p:spPr>
            <a:xfrm flipH="1">
              <a:off x="1254707" y="3612292"/>
              <a:ext cx="1" cy="163764"/>
            </a:xfrm>
            <a:prstGeom prst="straightConnector1">
              <a:avLst/>
            </a:prstGeom>
            <a:grpFill/>
            <a:ln w="19050">
              <a:solidFill>
                <a:schemeClr val="tx1"/>
              </a:solidFill>
              <a:miter lim="800000"/>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96507004"/>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smtClean="0"/>
              <a:t>La hiérarchie</a:t>
            </a:r>
            <a:endParaRPr lang="fr-FR" dirty="0"/>
          </a:p>
        </p:txBody>
      </p:sp>
      <p:sp>
        <p:nvSpPr>
          <p:cNvPr id="4" name="Text Placeholder 3"/>
          <p:cNvSpPr>
            <a:spLocks noGrp="1"/>
          </p:cNvSpPr>
          <p:nvPr>
            <p:ph type="body" sz="quarter" idx="14"/>
          </p:nvPr>
        </p:nvSpPr>
        <p:spPr/>
        <p:txBody>
          <a:bodyPr/>
          <a:lstStyle/>
          <a:p>
            <a:endParaRPr lang="fr-FR"/>
          </a:p>
        </p:txBody>
      </p:sp>
      <p:sp>
        <p:nvSpPr>
          <p:cNvPr id="5" name="Text Placeholder 4"/>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pic>
        <p:nvPicPr>
          <p:cNvPr id="6" name="Picture 5"/>
          <p:cNvPicPr>
            <a:picLocks noChangeAspect="1"/>
          </p:cNvPicPr>
          <p:nvPr/>
        </p:nvPicPr>
        <p:blipFill>
          <a:blip r:embed="rId3"/>
          <a:stretch>
            <a:fillRect/>
          </a:stretch>
        </p:blipFill>
        <p:spPr>
          <a:xfrm>
            <a:off x="958281" y="1350116"/>
            <a:ext cx="10270673" cy="4872883"/>
          </a:xfrm>
          <a:prstGeom prst="rect">
            <a:avLst/>
          </a:prstGeom>
        </p:spPr>
      </p:pic>
    </p:spTree>
    <p:extLst>
      <p:ext uri="{BB962C8B-B14F-4D97-AF65-F5344CB8AC3E}">
        <p14:creationId xmlns:p14="http://schemas.microsoft.com/office/powerpoint/2010/main" val="2193171159"/>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smtClean="0"/>
              <a:t>Le </a:t>
            </a:r>
            <a:r>
              <a:rPr lang="fr-FR" dirty="0" err="1" smtClean="0"/>
              <a:t>requêtage</a:t>
            </a:r>
            <a:endParaRPr lang="fr-FR" dirty="0"/>
          </a:p>
        </p:txBody>
      </p:sp>
      <p:sp>
        <p:nvSpPr>
          <p:cNvPr id="4" name="Text Placeholder 3"/>
          <p:cNvSpPr>
            <a:spLocks noGrp="1"/>
          </p:cNvSpPr>
          <p:nvPr>
            <p:ph type="body" sz="quarter" idx="14"/>
          </p:nvPr>
        </p:nvSpPr>
        <p:spPr/>
        <p:txBody>
          <a:bodyPr/>
          <a:lstStyle/>
          <a:p>
            <a:endParaRPr lang="fr-FR"/>
          </a:p>
        </p:txBody>
      </p:sp>
      <p:sp>
        <p:nvSpPr>
          <p:cNvPr id="5" name="Text Placeholder 4"/>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sp>
        <p:nvSpPr>
          <p:cNvPr id="6" name="Rectangle 5"/>
          <p:cNvSpPr/>
          <p:nvPr/>
        </p:nvSpPr>
        <p:spPr bwMode="auto">
          <a:xfrm>
            <a:off x="8638136" y="3259856"/>
            <a:ext cx="705817" cy="465546"/>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bwMode="auto">
          <a:xfrm>
            <a:off x="305003" y="1278336"/>
            <a:ext cx="3735103" cy="4631528"/>
          </a:xfrm>
          <a:prstGeom prst="rect">
            <a:avLst/>
          </a:prstGeom>
          <a:solidFill>
            <a:srgbClr val="1178C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r>
              <a:rPr lang="fr-FR" sz="3137" dirty="0" smtClean="0">
                <a:gradFill>
                  <a:gsLst>
                    <a:gs pos="0">
                      <a:srgbClr val="FFFFFF"/>
                    </a:gs>
                    <a:gs pos="100000">
                      <a:srgbClr val="FFFFFF"/>
                    </a:gs>
                  </a:gsLst>
                  <a:lin ang="5400000" scaled="0"/>
                </a:gradFill>
                <a:latin typeface="Segoe UI Light"/>
                <a:ea typeface="Segoe UI" pitchFamily="34" charset="0"/>
                <a:cs typeface="Segoe UI" pitchFamily="34" charset="0"/>
              </a:rPr>
              <a:t>Des documents vus comme des arbres</a:t>
            </a:r>
            <a:endParaRPr lang="fr-FR" sz="3137"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8" name="Rectangle 7"/>
          <p:cNvSpPr/>
          <p:nvPr/>
        </p:nvSpPr>
        <p:spPr bwMode="auto">
          <a:xfrm>
            <a:off x="4226862" y="1278336"/>
            <a:ext cx="3735103" cy="4631528"/>
          </a:xfrm>
          <a:prstGeom prst="rect">
            <a:avLst/>
          </a:prstGeom>
          <a:solidFill>
            <a:srgbClr val="1178C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r>
              <a:rPr lang="fr-FR" sz="3137" dirty="0" smtClean="0">
                <a:gradFill>
                  <a:gsLst>
                    <a:gs pos="0">
                      <a:srgbClr val="FFFFFF"/>
                    </a:gs>
                    <a:gs pos="100000">
                      <a:srgbClr val="FFFFFF"/>
                    </a:gs>
                  </a:gsLst>
                  <a:lin ang="5400000" scaled="0"/>
                </a:gradFill>
                <a:latin typeface="Segoe UI Light"/>
                <a:ea typeface="Segoe UI" pitchFamily="34" charset="0"/>
                <a:cs typeface="Segoe UI" pitchFamily="34" charset="0"/>
              </a:rPr>
              <a:t>Index automatique cohérent</a:t>
            </a:r>
            <a:endParaRPr lang="fr-FR" sz="3137"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9" name="Rectangle 8"/>
          <p:cNvSpPr/>
          <p:nvPr/>
        </p:nvSpPr>
        <p:spPr bwMode="auto">
          <a:xfrm>
            <a:off x="8148720" y="1278336"/>
            <a:ext cx="3735103" cy="4631528"/>
          </a:xfrm>
          <a:prstGeom prst="rect">
            <a:avLst/>
          </a:prstGeom>
          <a:solidFill>
            <a:srgbClr val="1178C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r>
              <a:rPr lang="fr-FR" sz="3137" dirty="0" smtClean="0">
                <a:gradFill>
                  <a:gsLst>
                    <a:gs pos="0">
                      <a:srgbClr val="FFFFFF"/>
                    </a:gs>
                    <a:gs pos="100000">
                      <a:srgbClr val="FFFFFF"/>
                    </a:gs>
                  </a:gsLst>
                  <a:lin ang="5400000" scaled="0"/>
                </a:gradFill>
                <a:latin typeface="Segoe UI Light"/>
                <a:ea typeface="Segoe UI" pitchFamily="34" charset="0"/>
                <a:cs typeface="Segoe UI" pitchFamily="34" charset="0"/>
              </a:rPr>
              <a:t>Langage SQL relationnel et hiérarchique</a:t>
            </a:r>
            <a:endParaRPr lang="fr-FR" sz="3137"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pic>
        <p:nvPicPr>
          <p:cNvPr id="10" name="Picture 9" descr="\\MAGNUM\Projects\Microsoft\Cloud Power FY12\Design\ICONS_PNG\Gears.png"/>
          <p:cNvPicPr>
            <a:picLocks noChangeAspect="1" noChangeArrowheads="1"/>
          </p:cNvPicPr>
          <p:nvPr/>
        </p:nvPicPr>
        <p:blipFill>
          <a:blip r:embed="rId3" cstate="print">
            <a:lum bright="100000"/>
          </a:blip>
          <a:srcRect/>
          <a:stretch>
            <a:fillRect/>
          </a:stretch>
        </p:blipFill>
        <p:spPr bwMode="auto">
          <a:xfrm>
            <a:off x="4936531" y="2996002"/>
            <a:ext cx="2241062" cy="2241062"/>
          </a:xfrm>
          <a:prstGeom prst="rect">
            <a:avLst/>
          </a:prstGeom>
          <a:noFill/>
        </p:spPr>
      </p:pic>
      <p:sp>
        <p:nvSpPr>
          <p:cNvPr id="11" name="Oval 10"/>
          <p:cNvSpPr/>
          <p:nvPr/>
        </p:nvSpPr>
        <p:spPr bwMode="auto">
          <a:xfrm>
            <a:off x="1260494" y="2660853"/>
            <a:ext cx="298808" cy="26260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Oval 11"/>
          <p:cNvSpPr/>
          <p:nvPr/>
        </p:nvSpPr>
        <p:spPr bwMode="auto">
          <a:xfrm>
            <a:off x="1260531" y="3128555"/>
            <a:ext cx="298808" cy="26260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Oval 12"/>
          <p:cNvSpPr/>
          <p:nvPr/>
        </p:nvSpPr>
        <p:spPr bwMode="auto">
          <a:xfrm>
            <a:off x="647316" y="3128555"/>
            <a:ext cx="298808" cy="26260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Oval 13"/>
          <p:cNvSpPr/>
          <p:nvPr/>
        </p:nvSpPr>
        <p:spPr bwMode="auto">
          <a:xfrm>
            <a:off x="1873746" y="3128555"/>
            <a:ext cx="298808" cy="26260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15" name="Straight Connector 14"/>
          <p:cNvCxnSpPr/>
          <p:nvPr/>
        </p:nvCxnSpPr>
        <p:spPr>
          <a:xfrm>
            <a:off x="1409898" y="2923455"/>
            <a:ext cx="608585" cy="205099"/>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a:stCxn id="11" idx="4"/>
          </p:cNvCxnSpPr>
          <p:nvPr/>
        </p:nvCxnSpPr>
        <p:spPr>
          <a:xfrm>
            <a:off x="1409898" y="2923455"/>
            <a:ext cx="0" cy="205099"/>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a:endCxn id="13" idx="0"/>
          </p:cNvCxnSpPr>
          <p:nvPr/>
        </p:nvCxnSpPr>
        <p:spPr>
          <a:xfrm flipH="1">
            <a:off x="796720" y="2923455"/>
            <a:ext cx="613178" cy="205099"/>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8" name="Oval 17"/>
          <p:cNvSpPr/>
          <p:nvPr/>
        </p:nvSpPr>
        <p:spPr bwMode="auto">
          <a:xfrm>
            <a:off x="647316" y="3594100"/>
            <a:ext cx="298808" cy="26260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19" name="Straight Connector 18"/>
          <p:cNvCxnSpPr>
            <a:stCxn id="13" idx="4"/>
            <a:endCxn id="18" idx="0"/>
          </p:cNvCxnSpPr>
          <p:nvPr/>
        </p:nvCxnSpPr>
        <p:spPr>
          <a:xfrm>
            <a:off x="796720" y="3391157"/>
            <a:ext cx="0" cy="202944"/>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796720" y="3391157"/>
            <a:ext cx="371800" cy="202944"/>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1" name="Oval 20"/>
          <p:cNvSpPr/>
          <p:nvPr/>
        </p:nvSpPr>
        <p:spPr bwMode="auto">
          <a:xfrm>
            <a:off x="1019115" y="3594100"/>
            <a:ext cx="298808" cy="26260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Oval 21"/>
          <p:cNvSpPr/>
          <p:nvPr/>
        </p:nvSpPr>
        <p:spPr bwMode="auto">
          <a:xfrm>
            <a:off x="3084541" y="2660853"/>
            <a:ext cx="298808" cy="262602"/>
          </a:xfrm>
          <a:prstGeom prst="ellipse">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3" name="Oval 22"/>
          <p:cNvSpPr/>
          <p:nvPr/>
        </p:nvSpPr>
        <p:spPr bwMode="auto">
          <a:xfrm>
            <a:off x="2838720" y="3144784"/>
            <a:ext cx="298808" cy="262602"/>
          </a:xfrm>
          <a:prstGeom prst="ellipse">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4" name="Oval 23"/>
          <p:cNvSpPr/>
          <p:nvPr/>
        </p:nvSpPr>
        <p:spPr bwMode="auto">
          <a:xfrm>
            <a:off x="3334743" y="3112681"/>
            <a:ext cx="298808" cy="262602"/>
          </a:xfrm>
          <a:prstGeom prst="ellipse">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25" name="Straight Connector 24"/>
          <p:cNvCxnSpPr/>
          <p:nvPr/>
        </p:nvCxnSpPr>
        <p:spPr>
          <a:xfrm>
            <a:off x="3233946" y="2923455"/>
            <a:ext cx="245822" cy="189226"/>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a:stCxn id="22" idx="4"/>
            <a:endCxn id="23" idx="0"/>
          </p:cNvCxnSpPr>
          <p:nvPr/>
        </p:nvCxnSpPr>
        <p:spPr>
          <a:xfrm flipH="1">
            <a:off x="2988124" y="2923456"/>
            <a:ext cx="245822" cy="221329"/>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7" name="Oval 26"/>
          <p:cNvSpPr/>
          <p:nvPr/>
        </p:nvSpPr>
        <p:spPr bwMode="auto">
          <a:xfrm>
            <a:off x="2471363" y="3594100"/>
            <a:ext cx="298808" cy="262602"/>
          </a:xfrm>
          <a:prstGeom prst="ellipse">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28" name="Straight Connector 27"/>
          <p:cNvCxnSpPr>
            <a:stCxn id="23" idx="4"/>
            <a:endCxn id="27" idx="0"/>
          </p:cNvCxnSpPr>
          <p:nvPr/>
        </p:nvCxnSpPr>
        <p:spPr>
          <a:xfrm flipH="1">
            <a:off x="2620767" y="3407386"/>
            <a:ext cx="367357" cy="186714"/>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a:stCxn id="24" idx="4"/>
            <a:endCxn id="31" idx="0"/>
          </p:cNvCxnSpPr>
          <p:nvPr/>
        </p:nvCxnSpPr>
        <p:spPr>
          <a:xfrm>
            <a:off x="3484147" y="3375284"/>
            <a:ext cx="0" cy="218817"/>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0" name="Oval 29"/>
          <p:cNvSpPr/>
          <p:nvPr/>
        </p:nvSpPr>
        <p:spPr bwMode="auto">
          <a:xfrm>
            <a:off x="2843163" y="3594100"/>
            <a:ext cx="298808" cy="262602"/>
          </a:xfrm>
          <a:prstGeom prst="ellipse">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1" name="Oval 30"/>
          <p:cNvSpPr/>
          <p:nvPr/>
        </p:nvSpPr>
        <p:spPr bwMode="auto">
          <a:xfrm>
            <a:off x="3334743" y="3594100"/>
            <a:ext cx="298808" cy="262602"/>
          </a:xfrm>
          <a:prstGeom prst="ellipse">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32" name="Straight Connector 31"/>
          <p:cNvCxnSpPr>
            <a:endCxn id="30" idx="0"/>
          </p:cNvCxnSpPr>
          <p:nvPr/>
        </p:nvCxnSpPr>
        <p:spPr>
          <a:xfrm>
            <a:off x="2988124" y="3407386"/>
            <a:ext cx="4443" cy="186714"/>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3" name="Oval 32"/>
          <p:cNvSpPr/>
          <p:nvPr/>
        </p:nvSpPr>
        <p:spPr bwMode="auto">
          <a:xfrm>
            <a:off x="1994758" y="4470702"/>
            <a:ext cx="298808" cy="26260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4" name="Oval 33"/>
          <p:cNvSpPr/>
          <p:nvPr/>
        </p:nvSpPr>
        <p:spPr bwMode="auto">
          <a:xfrm>
            <a:off x="1994794" y="4938403"/>
            <a:ext cx="298808" cy="26260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5" name="Oval 34"/>
          <p:cNvSpPr/>
          <p:nvPr/>
        </p:nvSpPr>
        <p:spPr bwMode="auto">
          <a:xfrm>
            <a:off x="1381579" y="4938403"/>
            <a:ext cx="298808" cy="26260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6" name="Oval 35"/>
          <p:cNvSpPr/>
          <p:nvPr/>
        </p:nvSpPr>
        <p:spPr bwMode="auto">
          <a:xfrm>
            <a:off x="2608010" y="4938403"/>
            <a:ext cx="298808" cy="26260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37" name="Straight Connector 36"/>
          <p:cNvCxnSpPr/>
          <p:nvPr/>
        </p:nvCxnSpPr>
        <p:spPr>
          <a:xfrm>
            <a:off x="2144162" y="4733304"/>
            <a:ext cx="608585" cy="205099"/>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a:stCxn id="33" idx="4"/>
          </p:cNvCxnSpPr>
          <p:nvPr/>
        </p:nvCxnSpPr>
        <p:spPr>
          <a:xfrm>
            <a:off x="2144162" y="4733304"/>
            <a:ext cx="0" cy="205099"/>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a:endCxn id="35" idx="0"/>
          </p:cNvCxnSpPr>
          <p:nvPr/>
        </p:nvCxnSpPr>
        <p:spPr>
          <a:xfrm flipH="1">
            <a:off x="1530984" y="4733304"/>
            <a:ext cx="613178" cy="205099"/>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0" name="Oval 39"/>
          <p:cNvSpPr/>
          <p:nvPr/>
        </p:nvSpPr>
        <p:spPr bwMode="auto">
          <a:xfrm>
            <a:off x="1381579" y="5403949"/>
            <a:ext cx="298808" cy="26260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41" name="Straight Connector 40"/>
          <p:cNvCxnSpPr>
            <a:stCxn id="35" idx="4"/>
            <a:endCxn id="40" idx="0"/>
          </p:cNvCxnSpPr>
          <p:nvPr/>
        </p:nvCxnSpPr>
        <p:spPr>
          <a:xfrm>
            <a:off x="1530983" y="5201006"/>
            <a:ext cx="0" cy="202944"/>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1530984" y="5201006"/>
            <a:ext cx="371800" cy="202944"/>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3" name="Oval 42"/>
          <p:cNvSpPr/>
          <p:nvPr/>
        </p:nvSpPr>
        <p:spPr bwMode="auto">
          <a:xfrm>
            <a:off x="1753379" y="5403949"/>
            <a:ext cx="298808" cy="26260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4" name="Oval 43"/>
          <p:cNvSpPr/>
          <p:nvPr/>
        </p:nvSpPr>
        <p:spPr bwMode="auto">
          <a:xfrm>
            <a:off x="977322" y="5403949"/>
            <a:ext cx="298808" cy="262602"/>
          </a:xfrm>
          <a:prstGeom prst="ellipse">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5" name="Oval 44"/>
          <p:cNvSpPr/>
          <p:nvPr/>
        </p:nvSpPr>
        <p:spPr bwMode="auto">
          <a:xfrm>
            <a:off x="3189991" y="4943978"/>
            <a:ext cx="298808" cy="262602"/>
          </a:xfrm>
          <a:prstGeom prst="ellipse">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46" name="Straight Connector 45"/>
          <p:cNvCxnSpPr>
            <a:stCxn id="33" idx="4"/>
            <a:endCxn id="45" idx="0"/>
          </p:cNvCxnSpPr>
          <p:nvPr/>
        </p:nvCxnSpPr>
        <p:spPr>
          <a:xfrm>
            <a:off x="2144162" y="4733304"/>
            <a:ext cx="1195233" cy="210674"/>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a:endCxn id="44" idx="0"/>
          </p:cNvCxnSpPr>
          <p:nvPr/>
        </p:nvCxnSpPr>
        <p:spPr>
          <a:xfrm flipH="1">
            <a:off x="1126725" y="5201006"/>
            <a:ext cx="404258" cy="202944"/>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8" name="Oval 47"/>
          <p:cNvSpPr/>
          <p:nvPr/>
        </p:nvSpPr>
        <p:spPr bwMode="auto">
          <a:xfrm>
            <a:off x="3189991" y="5403949"/>
            <a:ext cx="298808" cy="262602"/>
          </a:xfrm>
          <a:prstGeom prst="ellipse">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49" name="Straight Connector 48"/>
          <p:cNvCxnSpPr>
            <a:stCxn id="45" idx="4"/>
            <a:endCxn id="48" idx="0"/>
          </p:cNvCxnSpPr>
          <p:nvPr/>
        </p:nvCxnSpPr>
        <p:spPr>
          <a:xfrm>
            <a:off x="3339395" y="5206580"/>
            <a:ext cx="0" cy="197369"/>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0" name="Isosceles Triangle 49"/>
          <p:cNvSpPr/>
          <p:nvPr/>
        </p:nvSpPr>
        <p:spPr bwMode="auto">
          <a:xfrm rot="10800000">
            <a:off x="1665161" y="4059646"/>
            <a:ext cx="940378" cy="205956"/>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1" name="TextBox 77"/>
          <p:cNvSpPr txBox="1"/>
          <p:nvPr/>
        </p:nvSpPr>
        <p:spPr>
          <a:xfrm>
            <a:off x="8477097" y="3018068"/>
            <a:ext cx="3406726" cy="1375872"/>
          </a:xfrm>
          <a:prstGeom prst="rect">
            <a:avLst/>
          </a:prstGeom>
          <a:noFill/>
        </p:spPr>
        <p:txBody>
          <a:bodyPr wrap="square" lIns="179285" tIns="143428" rIns="179285" bIns="143428"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spcAft>
                <a:spcPts val="588"/>
              </a:spcAft>
            </a:pPr>
            <a:r>
              <a:rPr lang="en-US" sz="1568" b="1" dirty="0">
                <a:gradFill>
                  <a:gsLst>
                    <a:gs pos="2917">
                      <a:srgbClr val="FFFFFF"/>
                    </a:gs>
                    <a:gs pos="30000">
                      <a:srgbClr val="FFFFFF"/>
                    </a:gs>
                  </a:gsLst>
                  <a:lin ang="5400000" scaled="0"/>
                </a:gradFill>
                <a:latin typeface="Consolas" panose="020B0609020204030204" pitchFamily="49" charset="0"/>
                <a:cs typeface="Consolas" panose="020B0609020204030204" pitchFamily="49" charset="0"/>
              </a:rPr>
              <a:t>SELECT</a:t>
            </a:r>
            <a:r>
              <a:rPr lang="en-US" sz="1568" dirty="0">
                <a:gradFill>
                  <a:gsLst>
                    <a:gs pos="2917">
                      <a:srgbClr val="FFFFFF"/>
                    </a:gs>
                    <a:gs pos="30000">
                      <a:srgbClr val="FFFFFF"/>
                    </a:gs>
                  </a:gsLst>
                  <a:lin ang="5400000" scaled="0"/>
                </a:gradFill>
                <a:latin typeface="Consolas" panose="020B0609020204030204" pitchFamily="49" charset="0"/>
                <a:cs typeface="Consolas" panose="020B0609020204030204" pitchFamily="49" charset="0"/>
              </a:rPr>
              <a:t> location.city, LocalTax(location.revenue) AS Tax </a:t>
            </a:r>
            <a:r>
              <a:rPr lang="en-US" sz="1568" b="1" dirty="0">
                <a:gradFill>
                  <a:gsLst>
                    <a:gs pos="2917">
                      <a:srgbClr val="FFFFFF"/>
                    </a:gs>
                    <a:gs pos="30000">
                      <a:srgbClr val="FFFFFF"/>
                    </a:gs>
                  </a:gsLst>
                  <a:lin ang="5400000" scaled="0"/>
                </a:gradFill>
                <a:latin typeface="Consolas" panose="020B0609020204030204" pitchFamily="49" charset="0"/>
                <a:cs typeface="Consolas" panose="020B0609020204030204" pitchFamily="49" charset="0"/>
              </a:rPr>
              <a:t>FROM </a:t>
            </a:r>
            <a:r>
              <a:rPr lang="en-US" sz="1568" dirty="0">
                <a:gradFill>
                  <a:gsLst>
                    <a:gs pos="2917">
                      <a:srgbClr val="FFFFFF"/>
                    </a:gs>
                    <a:gs pos="30000">
                      <a:srgbClr val="FFFFFF"/>
                    </a:gs>
                  </a:gsLst>
                  <a:lin ang="5400000" scaled="0"/>
                </a:gradFill>
                <a:latin typeface="Consolas" panose="020B0609020204030204" pitchFamily="49" charset="0"/>
                <a:cs typeface="Consolas" panose="020B0609020204030204" pitchFamily="49" charset="0"/>
              </a:rPr>
              <a:t>location IN company.locations </a:t>
            </a:r>
            <a:r>
              <a:rPr lang="en-US" sz="1568" b="1" dirty="0">
                <a:gradFill>
                  <a:gsLst>
                    <a:gs pos="2917">
                      <a:srgbClr val="FFFFFF"/>
                    </a:gs>
                    <a:gs pos="30000">
                      <a:srgbClr val="FFFFFF"/>
                    </a:gs>
                  </a:gsLst>
                  <a:lin ang="5400000" scaled="0"/>
                </a:gradFill>
                <a:latin typeface="Consolas" panose="020B0609020204030204" pitchFamily="49" charset="0"/>
                <a:cs typeface="Consolas" panose="020B0609020204030204" pitchFamily="49" charset="0"/>
              </a:rPr>
              <a:t>WHERE</a:t>
            </a:r>
            <a:r>
              <a:rPr lang="en-US" sz="1568" dirty="0">
                <a:gradFill>
                  <a:gsLst>
                    <a:gs pos="2917">
                      <a:srgbClr val="FFFFFF"/>
                    </a:gs>
                    <a:gs pos="30000">
                      <a:srgbClr val="FFFFFF"/>
                    </a:gs>
                  </a:gsLst>
                  <a:lin ang="5400000" scaled="0"/>
                </a:gradFill>
                <a:latin typeface="Consolas" panose="020B0609020204030204" pitchFamily="49" charset="0"/>
                <a:cs typeface="Consolas" panose="020B0609020204030204" pitchFamily="49" charset="0"/>
              </a:rPr>
              <a:t> location.revenue &gt; 100</a:t>
            </a:r>
          </a:p>
        </p:txBody>
      </p:sp>
      <p:sp>
        <p:nvSpPr>
          <p:cNvPr id="52" name="TextBox 78"/>
          <p:cNvSpPr txBox="1"/>
          <p:nvPr/>
        </p:nvSpPr>
        <p:spPr>
          <a:xfrm>
            <a:off x="9072106" y="4539011"/>
            <a:ext cx="1402399" cy="745264"/>
          </a:xfrm>
          <a:prstGeom prst="rect">
            <a:avLst/>
          </a:prstGeom>
          <a:noFill/>
        </p:spPr>
        <p:txBody>
          <a:bodyPr wrap="none" lIns="179285" tIns="143428" rIns="179285" bIns="143428"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588"/>
              </a:spcAft>
            </a:pPr>
            <a:r>
              <a:rPr lang="en-US" sz="1372" dirty="0">
                <a:gradFill>
                  <a:gsLst>
                    <a:gs pos="2917">
                      <a:srgbClr val="FFFFFF"/>
                    </a:gs>
                    <a:gs pos="30000">
                      <a:srgbClr val="FFFFFF"/>
                    </a:gs>
                  </a:gsLst>
                  <a:lin ang="5400000" scaled="0"/>
                </a:gradFill>
                <a:latin typeface="SketchFlow Print" panose="02000000000000000000" pitchFamily="2" charset="0"/>
              </a:rPr>
              <a:t>JavaScript </a:t>
            </a:r>
          </a:p>
          <a:p>
            <a:pPr algn="ctr">
              <a:lnSpc>
                <a:spcPct val="90000"/>
              </a:lnSpc>
              <a:spcAft>
                <a:spcPts val="588"/>
              </a:spcAft>
            </a:pPr>
            <a:r>
              <a:rPr lang="en-US" sz="1372" dirty="0">
                <a:gradFill>
                  <a:gsLst>
                    <a:gs pos="2917">
                      <a:srgbClr val="FFFFFF"/>
                    </a:gs>
                    <a:gs pos="30000">
                      <a:srgbClr val="FFFFFF"/>
                    </a:gs>
                  </a:gsLst>
                  <a:lin ang="5400000" scaled="0"/>
                </a:gradFill>
                <a:latin typeface="SketchFlow Print" panose="02000000000000000000" pitchFamily="2" charset="0"/>
              </a:rPr>
              <a:t>extensibility</a:t>
            </a:r>
          </a:p>
        </p:txBody>
      </p:sp>
      <p:cxnSp>
        <p:nvCxnSpPr>
          <p:cNvPr id="53" name="Curved Connector 52"/>
          <p:cNvCxnSpPr>
            <a:stCxn id="54" idx="2"/>
            <a:endCxn id="6" idx="1"/>
          </p:cNvCxnSpPr>
          <p:nvPr/>
        </p:nvCxnSpPr>
        <p:spPr>
          <a:xfrm rot="10800000">
            <a:off x="8638136" y="3492630"/>
            <a:ext cx="247215" cy="1416635"/>
          </a:xfrm>
          <a:prstGeom prst="curvedConnector3">
            <a:avLst>
              <a:gd name="adj1" fmla="val 190652"/>
            </a:avLst>
          </a:prstGeom>
          <a:ln w="28575">
            <a:solidFill>
              <a:schemeClr val="tx1">
                <a:alpha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4" name="Oval 53"/>
          <p:cNvSpPr/>
          <p:nvPr/>
        </p:nvSpPr>
        <p:spPr bwMode="auto">
          <a:xfrm>
            <a:off x="8885351" y="4414578"/>
            <a:ext cx="1714295" cy="989372"/>
          </a:xfrm>
          <a:prstGeom prst="ellipse">
            <a:avLst/>
          </a:prstGeom>
          <a:ln w="28575">
            <a:solidFill>
              <a:schemeClr val="tx1">
                <a:alpha val="75000"/>
              </a:schemeClr>
            </a:solidFill>
            <a:headEnd type="none"/>
            <a:tailEnd type="triangle"/>
          </a:ln>
        </p:spPr>
        <p:style>
          <a:lnRef idx="1">
            <a:schemeClr val="accent1"/>
          </a:lnRef>
          <a:fillRef idx="0">
            <a:schemeClr val="accent1"/>
          </a:fillRef>
          <a:effectRef idx="0">
            <a:schemeClr val="accent1"/>
          </a:effectRef>
          <a:fontRef idx="minor">
            <a:schemeClr val="tx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446287662"/>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274639" y="295274"/>
            <a:ext cx="11889564" cy="593860"/>
          </a:xfrm>
        </p:spPr>
        <p:txBody>
          <a:bodyPr/>
          <a:lstStyle/>
          <a:p>
            <a:r>
              <a:rPr lang="fr-FR" dirty="0" smtClean="0"/>
              <a:t>Azure </a:t>
            </a:r>
            <a:r>
              <a:rPr lang="fr-FR" dirty="0" err="1" smtClean="0"/>
              <a:t>DocumentDB</a:t>
            </a:r>
            <a:endParaRPr lang="fr-FR" dirty="0"/>
          </a:p>
        </p:txBody>
      </p:sp>
      <p:sp>
        <p:nvSpPr>
          <p:cNvPr id="7" name="Text Placeholder 6"/>
          <p:cNvSpPr>
            <a:spLocks noGrp="1"/>
          </p:cNvSpPr>
          <p:nvPr>
            <p:ph type="body" sz="quarter" idx="10"/>
          </p:nvPr>
        </p:nvSpPr>
        <p:spPr/>
        <p:txBody>
          <a:bodyPr/>
          <a:lstStyle/>
          <a:p>
            <a:r>
              <a:rPr lang="fr-FR" dirty="0" smtClean="0"/>
              <a:t>Démo</a:t>
            </a:r>
            <a:endParaRPr lang="fr-FR" dirty="0"/>
          </a:p>
        </p:txBody>
      </p:sp>
      <p:sp>
        <p:nvSpPr>
          <p:cNvPr id="8" name="Text Placeholder 7"/>
          <p:cNvSpPr>
            <a:spLocks noGrp="1"/>
          </p:cNvSpPr>
          <p:nvPr>
            <p:ph type="body" sz="quarter" idx="15"/>
          </p:nvPr>
        </p:nvSpPr>
        <p:spPr/>
        <p:txBody>
          <a:bodyPr/>
          <a:lstStyle/>
          <a:p>
            <a:r>
              <a:rPr lang="fr-FR" dirty="0"/>
              <a:t>SQL ou </a:t>
            </a:r>
            <a:r>
              <a:rPr lang="fr-FR" dirty="0" err="1"/>
              <a:t>noSQL</a:t>
            </a:r>
            <a:r>
              <a:rPr lang="fr-FR" dirty="0"/>
              <a:t> ?</a:t>
            </a:r>
          </a:p>
        </p:txBody>
      </p:sp>
    </p:spTree>
    <p:extLst>
      <p:ext uri="{BB962C8B-B14F-4D97-AF65-F5344CB8AC3E}">
        <p14:creationId xmlns:p14="http://schemas.microsoft.com/office/powerpoint/2010/main" val="98918831"/>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fr-FR" dirty="0" smtClean="0"/>
              <a:t>Azure SQL </a:t>
            </a:r>
            <a:r>
              <a:rPr lang="fr-FR" dirty="0" err="1" smtClean="0"/>
              <a:t>Database</a:t>
            </a:r>
            <a:r>
              <a:rPr lang="fr-FR" dirty="0" smtClean="0"/>
              <a:t/>
            </a:r>
            <a:br>
              <a:rPr lang="fr-FR" dirty="0" smtClean="0"/>
            </a:br>
            <a:r>
              <a:rPr lang="fr-FR" dirty="0" smtClean="0"/>
              <a:t>SQL 2016 CTP 2.2</a:t>
            </a:r>
            <a:endParaRPr lang="fr-FR" dirty="0"/>
          </a:p>
        </p:txBody>
      </p:sp>
      <p:sp>
        <p:nvSpPr>
          <p:cNvPr id="6" name="Text Placeholder 5"/>
          <p:cNvSpPr>
            <a:spLocks noGrp="1"/>
          </p:cNvSpPr>
          <p:nvPr>
            <p:ph type="body" sz="quarter" idx="10"/>
          </p:nvPr>
        </p:nvSpPr>
        <p:spPr/>
        <p:txBody>
          <a:bodyPr/>
          <a:lstStyle/>
          <a:p>
            <a:r>
              <a:rPr lang="fr-FR" dirty="0" smtClean="0"/>
              <a:t>Sébastien Pertus</a:t>
            </a:r>
            <a:endParaRPr lang="fr-FR" dirty="0"/>
          </a:p>
        </p:txBody>
      </p:sp>
      <p:sp>
        <p:nvSpPr>
          <p:cNvPr id="7" name="Text Placeholder 6"/>
          <p:cNvSpPr>
            <a:spLocks noGrp="1"/>
          </p:cNvSpPr>
          <p:nvPr>
            <p:ph type="body" sz="quarter" idx="11"/>
          </p:nvPr>
        </p:nvSpPr>
        <p:spPr/>
        <p:txBody>
          <a:bodyPr/>
          <a:lstStyle/>
          <a:p>
            <a:r>
              <a:rPr lang="fr-FR" dirty="0" smtClean="0"/>
              <a:t>@</a:t>
            </a:r>
            <a:r>
              <a:rPr lang="fr-FR" dirty="0" err="1" smtClean="0"/>
              <a:t>sebastienpertus</a:t>
            </a:r>
            <a:endParaRPr lang="fr-FR" dirty="0"/>
          </a:p>
        </p:txBody>
      </p:sp>
    </p:spTree>
    <p:extLst>
      <p:ext uri="{BB962C8B-B14F-4D97-AF65-F5344CB8AC3E}">
        <p14:creationId xmlns:p14="http://schemas.microsoft.com/office/powerpoint/2010/main" val="2941172873"/>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fr-FR" dirty="0" smtClean="0"/>
              <a:t>Base de données SQL Server sur Azure</a:t>
            </a:r>
            <a:endParaRPr lang="fr-FR" dirty="0"/>
          </a:p>
        </p:txBody>
      </p:sp>
      <p:sp>
        <p:nvSpPr>
          <p:cNvPr id="4" name="Text Placeholder 3"/>
          <p:cNvSpPr>
            <a:spLocks noGrp="1"/>
          </p:cNvSpPr>
          <p:nvPr>
            <p:ph type="body" sz="quarter" idx="14"/>
          </p:nvPr>
        </p:nvSpPr>
        <p:spPr/>
        <p:txBody>
          <a:bodyPr/>
          <a:lstStyle/>
          <a:p>
            <a:endParaRPr lang="fr-FR"/>
          </a:p>
        </p:txBody>
      </p:sp>
      <p:sp>
        <p:nvSpPr>
          <p:cNvPr id="75" name="Text Placeholder 74"/>
          <p:cNvSpPr>
            <a:spLocks noGrp="1"/>
          </p:cNvSpPr>
          <p:nvPr>
            <p:ph type="body" sz="quarter" idx="15"/>
          </p:nvPr>
        </p:nvSpPr>
        <p:spPr>
          <a:xfrm>
            <a:off x="528552" y="6686277"/>
            <a:ext cx="5472113" cy="308219"/>
          </a:xfrm>
        </p:spPr>
        <p:txBody>
          <a:bodyPr/>
          <a:lstStyle/>
          <a:p>
            <a:endParaRPr lang="fr-FR"/>
          </a:p>
        </p:txBody>
      </p:sp>
      <p:grpSp>
        <p:nvGrpSpPr>
          <p:cNvPr id="5" name="Group 4"/>
          <p:cNvGrpSpPr/>
          <p:nvPr/>
        </p:nvGrpSpPr>
        <p:grpSpPr>
          <a:xfrm>
            <a:off x="244531" y="1500042"/>
            <a:ext cx="5892518" cy="3609112"/>
            <a:chOff x="6151410" y="1187346"/>
            <a:chExt cx="5777503" cy="3538666"/>
          </a:xfrm>
        </p:grpSpPr>
        <p:sp>
          <p:nvSpPr>
            <p:cNvPr id="6" name="Rectangle 5"/>
            <p:cNvSpPr/>
            <p:nvPr/>
          </p:nvSpPr>
          <p:spPr bwMode="auto">
            <a:xfrm>
              <a:off x="6151410" y="1805083"/>
              <a:ext cx="5777503" cy="567696"/>
            </a:xfrm>
            <a:prstGeom prst="rect">
              <a:avLst/>
            </a:prstGeom>
            <a:solidFill>
              <a:srgbClr val="002060"/>
            </a:solidFill>
            <a:ln w="9525" cap="flat" cmpd="sng" algn="ctr">
              <a:noFill/>
              <a:prstDash val="solid"/>
              <a:headEnd type="none" w="med" len="med"/>
              <a:tailEnd type="none" w="med" len="med"/>
            </a:ln>
            <a:effectLst/>
          </p:spPr>
          <p:txBody>
            <a:bodyPr vert="horz" wrap="square" lIns="93236" tIns="46618" rIns="93236" bIns="46618" numCol="1" rtlCol="0" anchor="ctr" anchorCtr="1" compatLnSpc="1">
              <a:prstTxWarp prst="textNoShape">
                <a:avLst/>
              </a:prstTxWarp>
              <a:noAutofit/>
            </a:bodyPr>
            <a:lstStyle/>
            <a:p>
              <a:pPr algn="ctr" defTabSz="930566">
                <a:buSzPct val="90000"/>
              </a:pPr>
              <a:r>
                <a:rPr lang="fr-FR" sz="2855" dirty="0">
                  <a:ln>
                    <a:solidFill>
                      <a:srgbClr val="FFFFFF">
                        <a:alpha val="0"/>
                      </a:srgbClr>
                    </a:solidFill>
                  </a:ln>
                  <a:solidFill>
                    <a:srgbClr val="FFFFFF"/>
                  </a:solidFill>
                  <a:latin typeface="Segoe UI Light"/>
                </a:rPr>
                <a:t>Administration quasi inexistante</a:t>
              </a:r>
            </a:p>
          </p:txBody>
        </p:sp>
        <p:sp>
          <p:nvSpPr>
            <p:cNvPr id="7" name="Rectangle 6"/>
            <p:cNvSpPr/>
            <p:nvPr/>
          </p:nvSpPr>
          <p:spPr bwMode="auto">
            <a:xfrm>
              <a:off x="6151410" y="3377824"/>
              <a:ext cx="5777503" cy="1348188"/>
            </a:xfrm>
            <a:prstGeom prst="rect">
              <a:avLst/>
            </a:prstGeom>
            <a:noFill/>
            <a:ln w="9525" cap="flat" cmpd="sng" algn="ctr">
              <a:noFill/>
              <a:prstDash val="solid"/>
              <a:headEnd type="none" w="med" len="med"/>
              <a:tailEnd type="none" w="med" len="med"/>
            </a:ln>
            <a:effectLst/>
          </p:spPr>
          <p:txBody>
            <a:bodyPr vert="horz" wrap="square" lIns="93236" tIns="46618" rIns="93236" bIns="46618" numCol="1" rtlCol="0" anchor="ctr" anchorCtr="1" compatLnSpc="1">
              <a:prstTxWarp prst="textNoShape">
                <a:avLst/>
              </a:prstTxWarp>
            </a:bodyPr>
            <a:lstStyle/>
            <a:p>
              <a:pPr algn="ctr" defTabSz="930566">
                <a:spcAft>
                  <a:spcPts val="1224"/>
                </a:spcAft>
                <a:buSzPct val="90000"/>
              </a:pPr>
              <a:r>
                <a:rPr lang="fr-FR" sz="2039" dirty="0">
                  <a:ln>
                    <a:solidFill>
                      <a:srgbClr val="FFFFFF">
                        <a:alpha val="0"/>
                      </a:srgbClr>
                    </a:solidFill>
                  </a:ln>
                  <a:solidFill>
                    <a:srgbClr val="002050"/>
                  </a:solidFill>
                  <a:latin typeface="Segoe UI Light"/>
                </a:rPr>
                <a:t>Service complètement managé</a:t>
              </a:r>
            </a:p>
            <a:p>
              <a:pPr algn="ctr" defTabSz="930566">
                <a:spcAft>
                  <a:spcPts val="1224"/>
                </a:spcAft>
                <a:buSzPct val="90000"/>
              </a:pPr>
              <a:r>
                <a:rPr lang="fr-FR" sz="2039" dirty="0">
                  <a:ln>
                    <a:solidFill>
                      <a:srgbClr val="FFFFFF">
                        <a:alpha val="0"/>
                      </a:srgbClr>
                    </a:solidFill>
                  </a:ln>
                  <a:solidFill>
                    <a:srgbClr val="002050"/>
                  </a:solidFill>
                  <a:latin typeface="Segoe UI Light"/>
                </a:rPr>
                <a:t>Pas de coût fixe, ni de coût d’administration</a:t>
              </a:r>
            </a:p>
            <a:p>
              <a:pPr algn="ctr" defTabSz="930566">
                <a:spcAft>
                  <a:spcPts val="1224"/>
                </a:spcAft>
                <a:buSzPct val="90000"/>
              </a:pPr>
              <a:r>
                <a:rPr lang="fr-FR" sz="2039" dirty="0">
                  <a:ln>
                    <a:solidFill>
                      <a:srgbClr val="FFFFFF">
                        <a:alpha val="0"/>
                      </a:srgbClr>
                    </a:solidFill>
                  </a:ln>
                  <a:solidFill>
                    <a:srgbClr val="002050"/>
                  </a:solidFill>
                  <a:latin typeface="Segoe UI Light"/>
                </a:rPr>
                <a:t>Pour des applications orientées Cloud</a:t>
              </a:r>
            </a:p>
          </p:txBody>
        </p:sp>
        <p:sp>
          <p:nvSpPr>
            <p:cNvPr id="8" name="Rectangle 7"/>
            <p:cNvSpPr/>
            <p:nvPr/>
          </p:nvSpPr>
          <p:spPr bwMode="auto">
            <a:xfrm>
              <a:off x="6151410" y="1187346"/>
              <a:ext cx="5777503" cy="1354604"/>
            </a:xfrm>
            <a:prstGeom prst="rect">
              <a:avLst/>
            </a:prstGeom>
            <a:noFill/>
            <a:ln w="9525" cap="flat" cmpd="sng" algn="ctr">
              <a:noFill/>
              <a:prstDash val="solid"/>
              <a:headEnd type="none" w="med" len="med"/>
              <a:tailEnd type="none" w="med" len="med"/>
            </a:ln>
            <a:effectLst/>
          </p:spPr>
          <p:txBody>
            <a:bodyPr vert="horz" wrap="square" lIns="93236" tIns="46618" rIns="93236" bIns="46618" numCol="1" rtlCol="0" anchor="t" anchorCtr="0" compatLnSpc="1">
              <a:prstTxWarp prst="textNoShape">
                <a:avLst/>
              </a:prstTxWarp>
            </a:bodyPr>
            <a:lstStyle/>
            <a:p>
              <a:pPr defTabSz="930566">
                <a:buSzPct val="90000"/>
              </a:pPr>
              <a:r>
                <a:rPr lang="en-US" sz="2855" dirty="0">
                  <a:ln>
                    <a:solidFill>
                      <a:srgbClr val="FFFFFF">
                        <a:alpha val="0"/>
                      </a:srgbClr>
                    </a:solidFill>
                  </a:ln>
                  <a:solidFill>
                    <a:srgbClr val="002050"/>
                  </a:solidFill>
                  <a:latin typeface="Segoe UI Light"/>
                </a:rPr>
                <a:t>Azure SQL Database</a:t>
              </a:r>
            </a:p>
          </p:txBody>
        </p:sp>
        <p:sp>
          <p:nvSpPr>
            <p:cNvPr id="9" name="Rectangle 8"/>
            <p:cNvSpPr/>
            <p:nvPr/>
          </p:nvSpPr>
          <p:spPr bwMode="auto">
            <a:xfrm>
              <a:off x="6151410" y="2445009"/>
              <a:ext cx="5777503" cy="868402"/>
            </a:xfrm>
            <a:prstGeom prst="rect">
              <a:avLst/>
            </a:prstGeom>
            <a:solidFill>
              <a:schemeClr val="bg1">
                <a:lumMod val="95000"/>
              </a:schemeClr>
            </a:solidFill>
            <a:ln w="9525" cap="flat" cmpd="sng" algn="ctr">
              <a:noFill/>
              <a:prstDash val="solid"/>
              <a:headEnd type="none" w="med" len="med"/>
              <a:tailEnd type="none" w="med" len="med"/>
            </a:ln>
            <a:effectLst/>
          </p:spPr>
          <p:txBody>
            <a:bodyPr vert="horz" wrap="square" lIns="93236" tIns="46618" rIns="93236" bIns="46618" numCol="1" rtlCol="0" anchor="ctr" anchorCtr="1" compatLnSpc="1">
              <a:prstTxWarp prst="textNoShape">
                <a:avLst/>
              </a:prstTxWarp>
              <a:noAutofit/>
            </a:bodyPr>
            <a:lstStyle/>
            <a:p>
              <a:pPr algn="ctr" defTabSz="930566">
                <a:buSzPct val="90000"/>
              </a:pPr>
              <a:r>
                <a:rPr lang="fr-FR" sz="2039" b="1" dirty="0">
                  <a:ln>
                    <a:solidFill>
                      <a:srgbClr val="FFFFFF">
                        <a:alpha val="0"/>
                      </a:srgbClr>
                    </a:solidFill>
                  </a:ln>
                  <a:solidFill>
                    <a:srgbClr val="002050"/>
                  </a:solidFill>
                  <a:latin typeface="Segoe UI Light"/>
                </a:rPr>
                <a:t>Idéal pour les nouvelles applications </a:t>
              </a:r>
              <a:r>
                <a:rPr lang="fr-FR" sz="2039" dirty="0">
                  <a:ln>
                    <a:solidFill>
                      <a:srgbClr val="FFFFFF">
                        <a:alpha val="0"/>
                      </a:srgbClr>
                    </a:solidFill>
                  </a:ln>
                  <a:solidFill>
                    <a:srgbClr val="002050"/>
                  </a:solidFill>
                  <a:latin typeface="Segoe UI Light"/>
                </a:rPr>
                <a:t>qui requièrent de l’</a:t>
              </a:r>
              <a:r>
                <a:rPr lang="fr-FR" sz="2039" dirty="0" err="1">
                  <a:ln>
                    <a:solidFill>
                      <a:srgbClr val="FFFFFF">
                        <a:alpha val="0"/>
                      </a:srgbClr>
                    </a:solidFill>
                  </a:ln>
                  <a:solidFill>
                    <a:srgbClr val="002050"/>
                  </a:solidFill>
                  <a:latin typeface="Segoe UI Light"/>
                </a:rPr>
                <a:t>elasticité</a:t>
              </a:r>
              <a:r>
                <a:rPr lang="fr-FR" sz="2039" dirty="0">
                  <a:ln>
                    <a:solidFill>
                      <a:srgbClr val="FFFFFF">
                        <a:alpha val="0"/>
                      </a:srgbClr>
                    </a:solidFill>
                  </a:ln>
                  <a:solidFill>
                    <a:srgbClr val="002050"/>
                  </a:solidFill>
                  <a:latin typeface="Segoe UI Light"/>
                </a:rPr>
                <a:t> et une abstraction sur l’infrastructure</a:t>
              </a:r>
            </a:p>
          </p:txBody>
        </p:sp>
      </p:grpSp>
      <p:grpSp>
        <p:nvGrpSpPr>
          <p:cNvPr id="10" name="Group 9"/>
          <p:cNvGrpSpPr/>
          <p:nvPr/>
        </p:nvGrpSpPr>
        <p:grpSpPr>
          <a:xfrm>
            <a:off x="6312792" y="1502586"/>
            <a:ext cx="5892518" cy="3605550"/>
            <a:chOff x="285395" y="1190838"/>
            <a:chExt cx="5777503" cy="3535174"/>
          </a:xfrm>
        </p:grpSpPr>
        <p:sp>
          <p:nvSpPr>
            <p:cNvPr id="11" name="Rectangle 10"/>
            <p:cNvSpPr/>
            <p:nvPr/>
          </p:nvSpPr>
          <p:spPr bwMode="auto">
            <a:xfrm>
              <a:off x="285395" y="1801592"/>
              <a:ext cx="5777503" cy="567696"/>
            </a:xfrm>
            <a:prstGeom prst="rect">
              <a:avLst/>
            </a:prstGeom>
            <a:solidFill>
              <a:schemeClr val="accent2"/>
            </a:solidFill>
            <a:ln w="9525" cap="flat" cmpd="sng" algn="ctr">
              <a:noFill/>
              <a:prstDash val="solid"/>
              <a:headEnd type="none" w="med" len="med"/>
              <a:tailEnd type="none" w="med" len="med"/>
            </a:ln>
            <a:effectLst/>
          </p:spPr>
          <p:txBody>
            <a:bodyPr vert="horz" wrap="square" lIns="93236" tIns="46618" rIns="93236" bIns="46618" numCol="1" rtlCol="0" anchor="ctr" anchorCtr="1" compatLnSpc="1">
              <a:prstTxWarp prst="textNoShape">
                <a:avLst/>
              </a:prstTxWarp>
              <a:noAutofit/>
            </a:bodyPr>
            <a:lstStyle/>
            <a:p>
              <a:pPr algn="ctr" defTabSz="930566">
                <a:buSzPct val="90000"/>
              </a:pPr>
              <a:r>
                <a:rPr lang="fr-FR" sz="2855" dirty="0">
                  <a:ln>
                    <a:solidFill>
                      <a:srgbClr val="FFFFFF">
                        <a:alpha val="0"/>
                      </a:srgbClr>
                    </a:solidFill>
                  </a:ln>
                  <a:solidFill>
                    <a:srgbClr val="FFFFFF"/>
                  </a:solidFill>
                  <a:latin typeface="Segoe UI Light"/>
                </a:rPr>
                <a:t>Contrôle complet et flexibilité</a:t>
              </a:r>
            </a:p>
          </p:txBody>
        </p:sp>
        <p:sp>
          <p:nvSpPr>
            <p:cNvPr id="12" name="Rectangle 11"/>
            <p:cNvSpPr/>
            <p:nvPr/>
          </p:nvSpPr>
          <p:spPr bwMode="auto">
            <a:xfrm>
              <a:off x="285395" y="3377824"/>
              <a:ext cx="5777503" cy="1348188"/>
            </a:xfrm>
            <a:prstGeom prst="rect">
              <a:avLst/>
            </a:prstGeom>
            <a:noFill/>
            <a:ln w="9525" cap="flat" cmpd="sng" algn="ctr">
              <a:noFill/>
              <a:prstDash val="solid"/>
              <a:headEnd type="none" w="med" len="med"/>
              <a:tailEnd type="none" w="med" len="med"/>
            </a:ln>
            <a:effectLst/>
          </p:spPr>
          <p:txBody>
            <a:bodyPr vert="horz" wrap="square" lIns="93236" tIns="46618" rIns="93236" bIns="46618" numCol="1" rtlCol="0" anchor="ctr" anchorCtr="1" compatLnSpc="1">
              <a:prstTxWarp prst="textNoShape">
                <a:avLst/>
              </a:prstTxWarp>
            </a:bodyPr>
            <a:lstStyle/>
            <a:p>
              <a:pPr algn="ctr" defTabSz="930566">
                <a:spcAft>
                  <a:spcPts val="1224"/>
                </a:spcAft>
                <a:buSzPct val="90000"/>
              </a:pPr>
              <a:r>
                <a:rPr lang="fr-FR" sz="2039" dirty="0">
                  <a:ln>
                    <a:solidFill>
                      <a:srgbClr val="FFFFFF">
                        <a:alpha val="0"/>
                      </a:srgbClr>
                    </a:solidFill>
                  </a:ln>
                  <a:solidFill>
                    <a:srgbClr val="0072C6"/>
                  </a:solidFill>
                  <a:latin typeface="Segoe UI Light"/>
                </a:rPr>
                <a:t>Environnement hautement configurable</a:t>
              </a:r>
            </a:p>
            <a:p>
              <a:pPr algn="ctr" defTabSz="930566">
                <a:spcAft>
                  <a:spcPts val="1224"/>
                </a:spcAft>
                <a:buSzPct val="90000"/>
              </a:pPr>
              <a:r>
                <a:rPr lang="fr-FR" sz="2039" dirty="0">
                  <a:ln>
                    <a:solidFill>
                      <a:srgbClr val="FFFFFF">
                        <a:alpha val="0"/>
                      </a:srgbClr>
                    </a:solidFill>
                  </a:ln>
                  <a:solidFill>
                    <a:srgbClr val="0072C6"/>
                  </a:solidFill>
                  <a:latin typeface="Segoe UI Light"/>
                </a:rPr>
                <a:t>Pas de coûts fixes</a:t>
              </a:r>
            </a:p>
            <a:p>
              <a:pPr algn="ctr" defTabSz="930566">
                <a:spcAft>
                  <a:spcPts val="1224"/>
                </a:spcAft>
                <a:buSzPct val="90000"/>
              </a:pPr>
              <a:r>
                <a:rPr lang="fr-FR" sz="2039" dirty="0">
                  <a:ln>
                    <a:solidFill>
                      <a:srgbClr val="FFFFFF">
                        <a:alpha val="0"/>
                      </a:srgbClr>
                    </a:solidFill>
                  </a:ln>
                  <a:solidFill>
                    <a:srgbClr val="0072C6"/>
                  </a:solidFill>
                  <a:latin typeface="Segoe UI Light"/>
                </a:rPr>
                <a:t>Rapide « Time-to-Cloud »</a:t>
              </a:r>
            </a:p>
          </p:txBody>
        </p:sp>
        <p:sp>
          <p:nvSpPr>
            <p:cNvPr id="13" name="Rectangle 12"/>
            <p:cNvSpPr/>
            <p:nvPr/>
          </p:nvSpPr>
          <p:spPr bwMode="auto">
            <a:xfrm>
              <a:off x="285395" y="1190838"/>
              <a:ext cx="5777503" cy="1344129"/>
            </a:xfrm>
            <a:prstGeom prst="rect">
              <a:avLst/>
            </a:prstGeom>
            <a:noFill/>
            <a:ln w="9525" cap="flat" cmpd="sng" algn="ctr">
              <a:noFill/>
              <a:prstDash val="solid"/>
              <a:headEnd type="none" w="med" len="med"/>
              <a:tailEnd type="none" w="med" len="med"/>
            </a:ln>
            <a:effectLst/>
          </p:spPr>
          <p:txBody>
            <a:bodyPr vert="horz" wrap="square" lIns="93236" tIns="46618" rIns="93236" bIns="46618" numCol="1" rtlCol="0" anchor="t" anchorCtr="0" compatLnSpc="1">
              <a:prstTxWarp prst="textNoShape">
                <a:avLst/>
              </a:prstTxWarp>
            </a:bodyPr>
            <a:lstStyle/>
            <a:p>
              <a:pPr defTabSz="930566">
                <a:buSzPct val="90000"/>
              </a:pPr>
              <a:r>
                <a:rPr lang="fr-FR" sz="2855" dirty="0">
                  <a:ln>
                    <a:solidFill>
                      <a:srgbClr val="FFFFFF">
                        <a:alpha val="0"/>
                      </a:srgbClr>
                    </a:solidFill>
                  </a:ln>
                  <a:gradFill>
                    <a:gsLst>
                      <a:gs pos="0">
                        <a:srgbClr val="0072C6"/>
                      </a:gs>
                      <a:gs pos="100000">
                        <a:srgbClr val="0072C6"/>
                      </a:gs>
                    </a:gsLst>
                    <a:lin ang="5400000" scaled="1"/>
                  </a:gradFill>
                  <a:latin typeface="Segoe UI Light"/>
                </a:rPr>
                <a:t>SQL Server dans Azure </a:t>
              </a:r>
              <a:r>
                <a:rPr lang="fr-FR" sz="2855" dirty="0" err="1">
                  <a:ln>
                    <a:solidFill>
                      <a:srgbClr val="FFFFFF">
                        <a:alpha val="0"/>
                      </a:srgbClr>
                    </a:solidFill>
                  </a:ln>
                  <a:gradFill>
                    <a:gsLst>
                      <a:gs pos="0">
                        <a:srgbClr val="0072C6"/>
                      </a:gs>
                      <a:gs pos="100000">
                        <a:srgbClr val="0072C6"/>
                      </a:gs>
                    </a:gsLst>
                    <a:lin ang="5400000" scaled="1"/>
                  </a:gradFill>
                  <a:latin typeface="Segoe UI Light"/>
                </a:rPr>
                <a:t>VMs</a:t>
              </a:r>
              <a:endParaRPr lang="fr-FR" sz="2855" dirty="0">
                <a:ln>
                  <a:solidFill>
                    <a:srgbClr val="FFFFFF">
                      <a:alpha val="0"/>
                    </a:srgbClr>
                  </a:solidFill>
                </a:ln>
                <a:gradFill>
                  <a:gsLst>
                    <a:gs pos="0">
                      <a:srgbClr val="0072C6"/>
                    </a:gs>
                    <a:gs pos="100000">
                      <a:srgbClr val="0072C6"/>
                    </a:gs>
                  </a:gsLst>
                  <a:lin ang="5400000" scaled="1"/>
                </a:gradFill>
                <a:latin typeface="Segoe UI Light"/>
              </a:endParaRPr>
            </a:p>
          </p:txBody>
        </p:sp>
        <p:sp>
          <p:nvSpPr>
            <p:cNvPr id="14" name="Rectangle 13"/>
            <p:cNvSpPr/>
            <p:nvPr/>
          </p:nvSpPr>
          <p:spPr bwMode="auto">
            <a:xfrm>
              <a:off x="285395" y="2441518"/>
              <a:ext cx="5777503" cy="868402"/>
            </a:xfrm>
            <a:prstGeom prst="rect">
              <a:avLst/>
            </a:prstGeom>
            <a:solidFill>
              <a:schemeClr val="bg1">
                <a:lumMod val="95000"/>
              </a:schemeClr>
            </a:solidFill>
            <a:ln w="9525" cap="flat" cmpd="sng" algn="ctr">
              <a:noFill/>
              <a:prstDash val="solid"/>
              <a:headEnd type="none" w="med" len="med"/>
              <a:tailEnd type="none" w="med" len="med"/>
            </a:ln>
            <a:effectLst/>
          </p:spPr>
          <p:txBody>
            <a:bodyPr vert="horz" wrap="square" lIns="93236" tIns="46618" rIns="93236" bIns="46618" numCol="1" rtlCol="0" anchor="ctr" anchorCtr="1" compatLnSpc="1">
              <a:prstTxWarp prst="textNoShape">
                <a:avLst/>
              </a:prstTxWarp>
              <a:noAutofit/>
            </a:bodyPr>
            <a:lstStyle/>
            <a:p>
              <a:pPr algn="ctr" defTabSz="930566">
                <a:buSzPct val="90000"/>
              </a:pPr>
              <a:r>
                <a:rPr lang="fr-FR" sz="2039" b="1" dirty="0">
                  <a:ln>
                    <a:solidFill>
                      <a:srgbClr val="FFFFFF">
                        <a:alpha val="0"/>
                      </a:srgbClr>
                    </a:solidFill>
                  </a:ln>
                  <a:solidFill>
                    <a:srgbClr val="0070C0"/>
                  </a:solidFill>
                  <a:latin typeface="Segoe UI Light"/>
                </a:rPr>
                <a:t>Idéal pour les applications existantes </a:t>
              </a:r>
              <a:r>
                <a:rPr lang="fr-FR" sz="2039" dirty="0">
                  <a:ln>
                    <a:solidFill>
                      <a:srgbClr val="FFFFFF">
                        <a:alpha val="0"/>
                      </a:srgbClr>
                    </a:solidFill>
                  </a:ln>
                  <a:solidFill>
                    <a:srgbClr val="0070C0"/>
                  </a:solidFill>
                  <a:latin typeface="Segoe UI Light"/>
                </a:rPr>
                <a:t>qui requièrent l’ensemble des fonctionnalités de SQL Server</a:t>
              </a:r>
            </a:p>
          </p:txBody>
        </p:sp>
      </p:grpSp>
      <p:sp>
        <p:nvSpPr>
          <p:cNvPr id="15" name="Freeform 14"/>
          <p:cNvSpPr>
            <a:spLocks/>
          </p:cNvSpPr>
          <p:nvPr/>
        </p:nvSpPr>
        <p:spPr bwMode="auto">
          <a:xfrm flipH="1">
            <a:off x="2038582" y="5607096"/>
            <a:ext cx="4827727" cy="1416006"/>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p:spPr>
        <p:txBody>
          <a:bodyPr vert="horz" wrap="square" lIns="91403" tIns="45701" rIns="91403" bIns="45701" numCol="1" anchor="t" anchorCtr="0" compatLnSpc="1">
            <a:prstTxWarp prst="textNoShape">
              <a:avLst/>
            </a:prstTxWarp>
          </a:bodyPr>
          <a:lstStyle/>
          <a:p>
            <a:pPr defTabSz="931857">
              <a:defRPr/>
            </a:pPr>
            <a:endParaRPr lang="en-US" sz="1835" kern="0">
              <a:solidFill>
                <a:srgbClr val="000000"/>
              </a:solidFill>
            </a:endParaRPr>
          </a:p>
        </p:txBody>
      </p:sp>
      <p:sp>
        <p:nvSpPr>
          <p:cNvPr id="16" name="Freeform 29"/>
          <p:cNvSpPr>
            <a:spLocks/>
          </p:cNvSpPr>
          <p:nvPr/>
        </p:nvSpPr>
        <p:spPr bwMode="auto">
          <a:xfrm>
            <a:off x="-76789" y="6275595"/>
            <a:ext cx="5566409" cy="750059"/>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79A500"/>
          </a:solidFill>
          <a:ln>
            <a:noFill/>
          </a:ln>
          <a:extLst/>
        </p:spPr>
        <p:txBody>
          <a:bodyPr vert="horz" wrap="square" lIns="91403" tIns="45701" rIns="91403" bIns="45701" numCol="1" anchor="t" anchorCtr="0" compatLnSpc="1">
            <a:prstTxWarp prst="textNoShape">
              <a:avLst/>
            </a:prstTxWarp>
          </a:bodyPr>
          <a:lstStyle/>
          <a:p>
            <a:pPr defTabSz="931857">
              <a:defRPr/>
            </a:pPr>
            <a:endParaRPr lang="en-US" sz="1835" kern="0">
              <a:solidFill>
                <a:srgbClr val="000000"/>
              </a:solidFill>
            </a:endParaRPr>
          </a:p>
        </p:txBody>
      </p:sp>
      <p:grpSp>
        <p:nvGrpSpPr>
          <p:cNvPr id="17" name="Group 1"/>
          <p:cNvGrpSpPr/>
          <p:nvPr/>
        </p:nvGrpSpPr>
        <p:grpSpPr>
          <a:xfrm>
            <a:off x="2172019" y="6035802"/>
            <a:ext cx="178205" cy="345403"/>
            <a:chOff x="8003343" y="6072433"/>
            <a:chExt cx="145517" cy="282045"/>
          </a:xfrm>
        </p:grpSpPr>
        <p:sp>
          <p:nvSpPr>
            <p:cNvPr id="18"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31857">
                <a:defRPr/>
              </a:pPr>
              <a:endParaRPr lang="en-US" sz="1835" kern="0">
                <a:solidFill>
                  <a:srgbClr val="000000"/>
                </a:solidFill>
              </a:endParaRPr>
            </a:p>
          </p:txBody>
        </p:sp>
        <p:sp>
          <p:nvSpPr>
            <p:cNvPr id="19"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91403" tIns="45701" rIns="91403" bIns="45701" numCol="1" anchor="t" anchorCtr="0" compatLnSpc="1">
              <a:prstTxWarp prst="textNoShape">
                <a:avLst/>
              </a:prstTxWarp>
            </a:bodyPr>
            <a:lstStyle/>
            <a:p>
              <a:pPr defTabSz="931857">
                <a:defRPr/>
              </a:pPr>
              <a:endParaRPr lang="en-US" sz="1835" kern="0">
                <a:solidFill>
                  <a:srgbClr val="000000"/>
                </a:solidFill>
              </a:endParaRPr>
            </a:p>
          </p:txBody>
        </p:sp>
        <p:sp>
          <p:nvSpPr>
            <p:cNvPr id="20"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91403" tIns="45701" rIns="91403" bIns="45701" numCol="1" anchor="t" anchorCtr="0" compatLnSpc="1">
              <a:prstTxWarp prst="textNoShape">
                <a:avLst/>
              </a:prstTxWarp>
            </a:bodyPr>
            <a:lstStyle/>
            <a:p>
              <a:pPr defTabSz="931857">
                <a:defRPr/>
              </a:pPr>
              <a:endParaRPr lang="en-US" sz="1835" kern="0">
                <a:solidFill>
                  <a:srgbClr val="000000"/>
                </a:solidFill>
              </a:endParaRPr>
            </a:p>
          </p:txBody>
        </p:sp>
      </p:grpSp>
      <p:sp>
        <p:nvSpPr>
          <p:cNvPr id="21" name="Freeform 29"/>
          <p:cNvSpPr>
            <a:spLocks/>
          </p:cNvSpPr>
          <p:nvPr/>
        </p:nvSpPr>
        <p:spPr bwMode="auto">
          <a:xfrm>
            <a:off x="2146389" y="6393914"/>
            <a:ext cx="3703212" cy="623149"/>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31857">
              <a:defRPr/>
            </a:pPr>
            <a:endParaRPr lang="en-US" sz="1835" kern="0">
              <a:solidFill>
                <a:srgbClr val="000000"/>
              </a:solidFill>
            </a:endParaRPr>
          </a:p>
        </p:txBody>
      </p:sp>
      <p:grpSp>
        <p:nvGrpSpPr>
          <p:cNvPr id="22" name="Group 82"/>
          <p:cNvGrpSpPr/>
          <p:nvPr/>
        </p:nvGrpSpPr>
        <p:grpSpPr>
          <a:xfrm>
            <a:off x="5637216" y="5895801"/>
            <a:ext cx="214449" cy="415653"/>
            <a:chOff x="8003343" y="6072433"/>
            <a:chExt cx="145517" cy="282045"/>
          </a:xfrm>
        </p:grpSpPr>
        <p:sp>
          <p:nvSpPr>
            <p:cNvPr id="23"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31857">
                <a:defRPr/>
              </a:pPr>
              <a:endParaRPr lang="en-US" sz="1835" kern="0">
                <a:solidFill>
                  <a:srgbClr val="000000"/>
                </a:solidFill>
              </a:endParaRPr>
            </a:p>
          </p:txBody>
        </p:sp>
        <p:sp>
          <p:nvSpPr>
            <p:cNvPr id="24"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91403" tIns="45701" rIns="91403" bIns="45701" numCol="1" anchor="t" anchorCtr="0" compatLnSpc="1">
              <a:prstTxWarp prst="textNoShape">
                <a:avLst/>
              </a:prstTxWarp>
            </a:bodyPr>
            <a:lstStyle/>
            <a:p>
              <a:pPr defTabSz="931857">
                <a:defRPr/>
              </a:pPr>
              <a:endParaRPr lang="en-US" sz="1835" kern="0">
                <a:solidFill>
                  <a:srgbClr val="000000"/>
                </a:solidFill>
              </a:endParaRPr>
            </a:p>
          </p:txBody>
        </p:sp>
        <p:sp>
          <p:nvSpPr>
            <p:cNvPr id="25"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91403" tIns="45701" rIns="91403" bIns="45701" numCol="1" anchor="t" anchorCtr="0" compatLnSpc="1">
              <a:prstTxWarp prst="textNoShape">
                <a:avLst/>
              </a:prstTxWarp>
            </a:bodyPr>
            <a:lstStyle/>
            <a:p>
              <a:pPr defTabSz="931857">
                <a:defRPr/>
              </a:pPr>
              <a:endParaRPr lang="en-US" sz="1835" kern="0">
                <a:solidFill>
                  <a:srgbClr val="000000"/>
                </a:solidFill>
              </a:endParaRPr>
            </a:p>
          </p:txBody>
        </p:sp>
      </p:grpSp>
      <p:sp>
        <p:nvSpPr>
          <p:cNvPr id="26" name="Isosceles Triangle 25"/>
          <p:cNvSpPr/>
          <p:nvPr/>
        </p:nvSpPr>
        <p:spPr bwMode="auto">
          <a:xfrm>
            <a:off x="3952933" y="5850483"/>
            <a:ext cx="152241" cy="533195"/>
          </a:xfrm>
          <a:prstGeom prst="triangle">
            <a:avLst/>
          </a:prstGeom>
          <a:solidFill>
            <a:srgbClr val="7FBA00"/>
          </a:solidFill>
          <a:ln w="9525" cap="flat" cmpd="sng" algn="ctr">
            <a:noFill/>
            <a:prstDash val="solid"/>
            <a:headEnd type="none" w="med" len="med"/>
            <a:tailEnd type="none" w="med" len="med"/>
          </a:ln>
          <a:effectLst/>
        </p:spPr>
        <p:txBody>
          <a:bodyPr rot="0" spcFirstLastPara="0" vertOverflow="overflow" horzOverflow="overflow" vert="horz" wrap="square" lIns="186472" tIns="149178" rIns="186472" bIns="149178" numCol="1" spcCol="0" rtlCol="0" fromWordArt="0" anchor="t" anchorCtr="0" forceAA="0" compatLnSpc="1">
            <a:prstTxWarp prst="textNoShape">
              <a:avLst/>
            </a:prstTxWarp>
            <a:noAutofit/>
          </a:bodyPr>
          <a:lstStyle/>
          <a:p>
            <a:pPr algn="ctr" defTabSz="950743" fontAlgn="base">
              <a:lnSpc>
                <a:spcPct val="90000"/>
              </a:lnSpc>
              <a:spcBef>
                <a:spcPct val="0"/>
              </a:spcBef>
              <a:spcAft>
                <a:spcPct val="0"/>
              </a:spcAft>
              <a:defRPr/>
            </a:pPr>
            <a:endParaRPr lang="en-US" sz="2447"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7" name="Oval 26"/>
          <p:cNvSpPr/>
          <p:nvPr/>
        </p:nvSpPr>
        <p:spPr bwMode="auto">
          <a:xfrm>
            <a:off x="1220677" y="6627132"/>
            <a:ext cx="1022247" cy="156394"/>
          </a:xfrm>
          <a:prstGeom prst="ellipse">
            <a:avLst/>
          </a:prstGeom>
          <a:noFill/>
          <a:ln w="28575" cap="flat" cmpd="sng" algn="ctr">
            <a:solidFill>
              <a:srgbClr val="0072C6"/>
            </a:solidFill>
            <a:prstDash val="dash"/>
            <a:headEnd type="none" w="med" len="med"/>
            <a:tailEnd type="none" w="med" len="med"/>
          </a:ln>
          <a:effectLst/>
        </p:spPr>
        <p:txBody>
          <a:bodyPr rot="0" spcFirstLastPara="0" vertOverflow="overflow" horzOverflow="overflow" vert="horz" wrap="square" lIns="186472" tIns="149178" rIns="186472" bIns="149178" numCol="1" spcCol="0" rtlCol="0" fromWordArt="0" anchor="t" anchorCtr="0" forceAA="0" compatLnSpc="1">
            <a:prstTxWarp prst="textNoShape">
              <a:avLst/>
            </a:prstTxWarp>
            <a:noAutofit/>
          </a:bodyPr>
          <a:lstStyle/>
          <a:p>
            <a:pPr algn="ctr" defTabSz="950743" fontAlgn="base">
              <a:lnSpc>
                <a:spcPct val="90000"/>
              </a:lnSpc>
              <a:spcBef>
                <a:spcPct val="0"/>
              </a:spcBef>
              <a:spcAft>
                <a:spcPct val="0"/>
              </a:spcAft>
              <a:defRPr/>
            </a:pPr>
            <a:endParaRPr lang="en-US" sz="2447"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8" name="Freeform 55"/>
          <p:cNvSpPr>
            <a:spLocks/>
          </p:cNvSpPr>
          <p:nvPr/>
        </p:nvSpPr>
        <p:spPr bwMode="auto">
          <a:xfrm>
            <a:off x="1510125" y="6550214"/>
            <a:ext cx="761235" cy="164137"/>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91403" tIns="45701" rIns="91403" bIns="45701" numCol="1" anchor="t" anchorCtr="0" compatLnSpc="1">
            <a:prstTxWarp prst="textNoShape">
              <a:avLst/>
            </a:prstTxWarp>
          </a:bodyPr>
          <a:lstStyle/>
          <a:p>
            <a:pPr defTabSz="931857">
              <a:defRPr/>
            </a:pPr>
            <a:endParaRPr lang="en-US" sz="1835" kern="0">
              <a:solidFill>
                <a:srgbClr val="000000"/>
              </a:solidFill>
            </a:endParaRPr>
          </a:p>
        </p:txBody>
      </p:sp>
      <p:grpSp>
        <p:nvGrpSpPr>
          <p:cNvPr id="29" name="Group 90"/>
          <p:cNvGrpSpPr/>
          <p:nvPr/>
        </p:nvGrpSpPr>
        <p:grpSpPr>
          <a:xfrm>
            <a:off x="1401707" y="5872256"/>
            <a:ext cx="607322" cy="840733"/>
            <a:chOff x="13103226" y="2775830"/>
            <a:chExt cx="1039812" cy="1407232"/>
          </a:xfrm>
        </p:grpSpPr>
        <p:sp>
          <p:nvSpPr>
            <p:cNvPr id="30" name="Rectangle 5"/>
            <p:cNvSpPr>
              <a:spLocks noChangeArrowheads="1"/>
            </p:cNvSpPr>
            <p:nvPr/>
          </p:nvSpPr>
          <p:spPr bwMode="auto">
            <a:xfrm>
              <a:off x="13103226" y="2775830"/>
              <a:ext cx="1039812" cy="1407232"/>
            </a:xfrm>
            <a:prstGeom prst="rect">
              <a:avLst/>
            </a:prstGeom>
            <a:solidFill>
              <a:srgbClr val="008272">
                <a:lumMod val="75000"/>
              </a:srgbClr>
            </a:solidFill>
            <a:ln>
              <a:noFill/>
            </a:ln>
          </p:spPr>
          <p:txBody>
            <a:bodyPr vert="horz" wrap="square" lIns="93236" tIns="46618" rIns="93236" bIns="46618" numCol="1" anchor="t" anchorCtr="0" compatLnSpc="1">
              <a:prstTxWarp prst="textNoShape">
                <a:avLst/>
              </a:prstTxWarp>
            </a:bodyPr>
            <a:lstStyle/>
            <a:p>
              <a:pPr defTabSz="932317">
                <a:defRPr/>
              </a:pPr>
              <a:endParaRPr lang="en-US" sz="1835" kern="0">
                <a:solidFill>
                  <a:srgbClr val="505050"/>
                </a:solidFill>
              </a:endParaRPr>
            </a:p>
          </p:txBody>
        </p:sp>
        <p:sp>
          <p:nvSpPr>
            <p:cNvPr id="31"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36" tIns="46618" rIns="93236" bIns="46618" numCol="1" anchor="t" anchorCtr="0" compatLnSpc="1">
              <a:prstTxWarp prst="textNoShape">
                <a:avLst/>
              </a:prstTxWarp>
            </a:bodyPr>
            <a:lstStyle/>
            <a:p>
              <a:pPr defTabSz="932317">
                <a:defRPr/>
              </a:pPr>
              <a:endParaRPr lang="en-US" sz="1835" kern="0">
                <a:solidFill>
                  <a:srgbClr val="505050"/>
                </a:solidFill>
              </a:endParaRPr>
            </a:p>
          </p:txBody>
        </p:sp>
        <p:sp>
          <p:nvSpPr>
            <p:cNvPr id="32"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36" tIns="46618" rIns="93236" bIns="46618" numCol="1" anchor="t" anchorCtr="0" compatLnSpc="1">
              <a:prstTxWarp prst="textNoShape">
                <a:avLst/>
              </a:prstTxWarp>
            </a:bodyPr>
            <a:lstStyle/>
            <a:p>
              <a:pPr defTabSz="932317">
                <a:defRPr/>
              </a:pPr>
              <a:endParaRPr lang="en-US" sz="1835" kern="0">
                <a:solidFill>
                  <a:srgbClr val="505050"/>
                </a:solidFill>
              </a:endParaRPr>
            </a:p>
          </p:txBody>
        </p:sp>
        <p:sp>
          <p:nvSpPr>
            <p:cNvPr id="33"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36" tIns="46618" rIns="93236" bIns="46618" numCol="1" anchor="t" anchorCtr="0" compatLnSpc="1">
              <a:prstTxWarp prst="textNoShape">
                <a:avLst/>
              </a:prstTxWarp>
            </a:bodyPr>
            <a:lstStyle/>
            <a:p>
              <a:pPr defTabSz="932317">
                <a:defRPr/>
              </a:pPr>
              <a:endParaRPr lang="en-US" sz="1835" kern="0">
                <a:solidFill>
                  <a:srgbClr val="505050"/>
                </a:solidFill>
              </a:endParaRPr>
            </a:p>
          </p:txBody>
        </p:sp>
        <p:sp>
          <p:nvSpPr>
            <p:cNvPr id="34"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36" tIns="46618" rIns="93236" bIns="46618" numCol="1" anchor="t" anchorCtr="0" compatLnSpc="1">
              <a:prstTxWarp prst="textNoShape">
                <a:avLst/>
              </a:prstTxWarp>
            </a:bodyPr>
            <a:lstStyle/>
            <a:p>
              <a:pPr defTabSz="932317">
                <a:defRPr/>
              </a:pPr>
              <a:endParaRPr lang="en-US" sz="1835" kern="0">
                <a:solidFill>
                  <a:srgbClr val="505050"/>
                </a:solidFill>
              </a:endParaRPr>
            </a:p>
          </p:txBody>
        </p:sp>
        <p:sp>
          <p:nvSpPr>
            <p:cNvPr id="35"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3236" tIns="46618" rIns="93236" bIns="46618" numCol="1" anchor="t" anchorCtr="0" compatLnSpc="1">
              <a:prstTxWarp prst="textNoShape">
                <a:avLst/>
              </a:prstTxWarp>
            </a:bodyPr>
            <a:lstStyle/>
            <a:p>
              <a:pPr defTabSz="932317">
                <a:defRPr/>
              </a:pPr>
              <a:endParaRPr lang="en-US" sz="1835" kern="0">
                <a:solidFill>
                  <a:srgbClr val="505050"/>
                </a:solidFill>
              </a:endParaRPr>
            </a:p>
          </p:txBody>
        </p:sp>
        <p:sp>
          <p:nvSpPr>
            <p:cNvPr id="36"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3236" tIns="46618" rIns="93236" bIns="46618" numCol="1" anchor="t" anchorCtr="0" compatLnSpc="1">
              <a:prstTxWarp prst="textNoShape">
                <a:avLst/>
              </a:prstTxWarp>
            </a:bodyPr>
            <a:lstStyle/>
            <a:p>
              <a:pPr defTabSz="932317">
                <a:defRPr/>
              </a:pPr>
              <a:endParaRPr lang="en-US" sz="1835" kern="0">
                <a:solidFill>
                  <a:srgbClr val="505050"/>
                </a:solidFill>
              </a:endParaRPr>
            </a:p>
          </p:txBody>
        </p:sp>
        <p:sp>
          <p:nvSpPr>
            <p:cNvPr id="37"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3236" tIns="46618" rIns="93236" bIns="46618" numCol="1" anchor="t" anchorCtr="0" compatLnSpc="1">
              <a:prstTxWarp prst="textNoShape">
                <a:avLst/>
              </a:prstTxWarp>
            </a:bodyPr>
            <a:lstStyle/>
            <a:p>
              <a:pPr defTabSz="932317">
                <a:defRPr/>
              </a:pPr>
              <a:endParaRPr lang="en-US" sz="1835" kern="0">
                <a:solidFill>
                  <a:srgbClr val="505050"/>
                </a:solidFill>
              </a:endParaRPr>
            </a:p>
          </p:txBody>
        </p:sp>
        <p:sp>
          <p:nvSpPr>
            <p:cNvPr id="38"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3236" tIns="46618" rIns="93236" bIns="46618" numCol="1" anchor="t" anchorCtr="0" compatLnSpc="1">
              <a:prstTxWarp prst="textNoShape">
                <a:avLst/>
              </a:prstTxWarp>
            </a:bodyPr>
            <a:lstStyle/>
            <a:p>
              <a:pPr defTabSz="932317">
                <a:defRPr/>
              </a:pPr>
              <a:endParaRPr lang="en-US" sz="1835" kern="0">
                <a:solidFill>
                  <a:srgbClr val="505050"/>
                </a:solidFill>
              </a:endParaRPr>
            </a:p>
          </p:txBody>
        </p:sp>
      </p:grpSp>
      <p:sp>
        <p:nvSpPr>
          <p:cNvPr id="39" name="Oval 38"/>
          <p:cNvSpPr/>
          <p:nvPr/>
        </p:nvSpPr>
        <p:spPr bwMode="auto">
          <a:xfrm>
            <a:off x="3314739" y="6710769"/>
            <a:ext cx="1306481" cy="242987"/>
          </a:xfrm>
          <a:prstGeom prst="ellipse">
            <a:avLst/>
          </a:prstGeom>
          <a:noFill/>
          <a:ln w="38100" cap="flat" cmpd="sng" algn="ctr">
            <a:solidFill>
              <a:srgbClr val="0072C6"/>
            </a:solidFill>
            <a:prstDash val="dash"/>
            <a:headEnd type="none" w="med" len="med"/>
            <a:tailEnd type="none" w="med" len="med"/>
          </a:ln>
          <a:effectLst/>
        </p:spPr>
        <p:txBody>
          <a:bodyPr rot="0" spcFirstLastPara="0" vertOverflow="overflow" horzOverflow="overflow" vert="horz" wrap="square" lIns="186472" tIns="149178" rIns="186472" bIns="149178" numCol="1" spcCol="0" rtlCol="0" fromWordArt="0" anchor="t" anchorCtr="0" forceAA="0" compatLnSpc="1">
            <a:prstTxWarp prst="textNoShape">
              <a:avLst/>
            </a:prstTxWarp>
            <a:noAutofit/>
          </a:bodyPr>
          <a:lstStyle/>
          <a:p>
            <a:pPr algn="ctr" defTabSz="950743" fontAlgn="base">
              <a:lnSpc>
                <a:spcPct val="90000"/>
              </a:lnSpc>
              <a:spcBef>
                <a:spcPct val="0"/>
              </a:spcBef>
              <a:spcAft>
                <a:spcPct val="0"/>
              </a:spcAft>
              <a:defRPr/>
            </a:pPr>
            <a:endParaRPr lang="en-US" sz="2447"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Freeform 55"/>
          <p:cNvSpPr>
            <a:spLocks/>
          </p:cNvSpPr>
          <p:nvPr/>
        </p:nvSpPr>
        <p:spPr bwMode="auto">
          <a:xfrm>
            <a:off x="3701473" y="6697752"/>
            <a:ext cx="1112987" cy="181463"/>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91403" tIns="45701" rIns="91403" bIns="45701" numCol="1" anchor="t" anchorCtr="0" compatLnSpc="1">
            <a:prstTxWarp prst="textNoShape">
              <a:avLst/>
            </a:prstTxWarp>
          </a:bodyPr>
          <a:lstStyle/>
          <a:p>
            <a:pPr defTabSz="931857">
              <a:defRPr/>
            </a:pPr>
            <a:endParaRPr lang="en-US" sz="1835" kern="0">
              <a:solidFill>
                <a:srgbClr val="000000"/>
              </a:solidFill>
            </a:endParaRPr>
          </a:p>
        </p:txBody>
      </p:sp>
      <p:grpSp>
        <p:nvGrpSpPr>
          <p:cNvPr id="41" name="Group 110"/>
          <p:cNvGrpSpPr/>
          <p:nvPr/>
        </p:nvGrpSpPr>
        <p:grpSpPr>
          <a:xfrm>
            <a:off x="3496188" y="5572363"/>
            <a:ext cx="943586" cy="1306233"/>
            <a:chOff x="13103226" y="2775830"/>
            <a:chExt cx="1039812" cy="1407232"/>
          </a:xfrm>
        </p:grpSpPr>
        <p:sp>
          <p:nvSpPr>
            <p:cNvPr id="42" name="Rectangle 5"/>
            <p:cNvSpPr>
              <a:spLocks noChangeArrowheads="1"/>
            </p:cNvSpPr>
            <p:nvPr/>
          </p:nvSpPr>
          <p:spPr bwMode="auto">
            <a:xfrm>
              <a:off x="13103226" y="2775830"/>
              <a:ext cx="1039812" cy="1407232"/>
            </a:xfrm>
            <a:prstGeom prst="rect">
              <a:avLst/>
            </a:prstGeom>
            <a:solidFill>
              <a:srgbClr val="68217A"/>
            </a:solidFill>
            <a:ln>
              <a:noFill/>
            </a:ln>
          </p:spPr>
          <p:txBody>
            <a:bodyPr vert="horz" wrap="square" lIns="93236" tIns="46618" rIns="93236" bIns="46618" numCol="1" anchor="t" anchorCtr="0" compatLnSpc="1">
              <a:prstTxWarp prst="textNoShape">
                <a:avLst/>
              </a:prstTxWarp>
            </a:bodyPr>
            <a:lstStyle/>
            <a:p>
              <a:pPr defTabSz="932317">
                <a:defRPr/>
              </a:pPr>
              <a:endParaRPr lang="en-US" sz="1835" kern="0">
                <a:solidFill>
                  <a:srgbClr val="505050"/>
                </a:solidFill>
              </a:endParaRPr>
            </a:p>
          </p:txBody>
        </p:sp>
        <p:sp>
          <p:nvSpPr>
            <p:cNvPr id="43"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36" tIns="46618" rIns="93236" bIns="46618" numCol="1" anchor="t" anchorCtr="0" compatLnSpc="1">
              <a:prstTxWarp prst="textNoShape">
                <a:avLst/>
              </a:prstTxWarp>
            </a:bodyPr>
            <a:lstStyle/>
            <a:p>
              <a:pPr defTabSz="932317">
                <a:defRPr/>
              </a:pPr>
              <a:endParaRPr lang="en-US" sz="1835" kern="0">
                <a:solidFill>
                  <a:srgbClr val="505050"/>
                </a:solidFill>
              </a:endParaRPr>
            </a:p>
          </p:txBody>
        </p:sp>
        <p:sp>
          <p:nvSpPr>
            <p:cNvPr id="44"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36" tIns="46618" rIns="93236" bIns="46618" numCol="1" anchor="t" anchorCtr="0" compatLnSpc="1">
              <a:prstTxWarp prst="textNoShape">
                <a:avLst/>
              </a:prstTxWarp>
            </a:bodyPr>
            <a:lstStyle/>
            <a:p>
              <a:pPr defTabSz="932317">
                <a:defRPr/>
              </a:pPr>
              <a:endParaRPr lang="en-US" sz="1835" kern="0">
                <a:solidFill>
                  <a:srgbClr val="505050"/>
                </a:solidFill>
              </a:endParaRPr>
            </a:p>
          </p:txBody>
        </p:sp>
        <p:sp>
          <p:nvSpPr>
            <p:cNvPr id="45"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36" tIns="46618" rIns="93236" bIns="46618" numCol="1" anchor="t" anchorCtr="0" compatLnSpc="1">
              <a:prstTxWarp prst="textNoShape">
                <a:avLst/>
              </a:prstTxWarp>
            </a:bodyPr>
            <a:lstStyle/>
            <a:p>
              <a:pPr defTabSz="932317">
                <a:defRPr/>
              </a:pPr>
              <a:endParaRPr lang="en-US" sz="1835" kern="0">
                <a:solidFill>
                  <a:srgbClr val="505050"/>
                </a:solidFill>
              </a:endParaRPr>
            </a:p>
          </p:txBody>
        </p:sp>
        <p:sp>
          <p:nvSpPr>
            <p:cNvPr id="46"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36" tIns="46618" rIns="93236" bIns="46618" numCol="1" anchor="t" anchorCtr="0" compatLnSpc="1">
              <a:prstTxWarp prst="textNoShape">
                <a:avLst/>
              </a:prstTxWarp>
            </a:bodyPr>
            <a:lstStyle/>
            <a:p>
              <a:pPr defTabSz="932317">
                <a:defRPr/>
              </a:pPr>
              <a:endParaRPr lang="en-US" sz="1835" kern="0">
                <a:solidFill>
                  <a:srgbClr val="505050"/>
                </a:solidFill>
              </a:endParaRPr>
            </a:p>
          </p:txBody>
        </p:sp>
        <p:sp>
          <p:nvSpPr>
            <p:cNvPr id="47"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3236" tIns="46618" rIns="93236" bIns="46618" numCol="1" anchor="t" anchorCtr="0" compatLnSpc="1">
              <a:prstTxWarp prst="textNoShape">
                <a:avLst/>
              </a:prstTxWarp>
            </a:bodyPr>
            <a:lstStyle/>
            <a:p>
              <a:pPr defTabSz="932317">
                <a:defRPr/>
              </a:pPr>
              <a:endParaRPr lang="en-US" sz="1835" kern="0">
                <a:solidFill>
                  <a:srgbClr val="505050"/>
                </a:solidFill>
              </a:endParaRPr>
            </a:p>
          </p:txBody>
        </p:sp>
        <p:sp>
          <p:nvSpPr>
            <p:cNvPr id="48"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3236" tIns="46618" rIns="93236" bIns="46618" numCol="1" anchor="t" anchorCtr="0" compatLnSpc="1">
              <a:prstTxWarp prst="textNoShape">
                <a:avLst/>
              </a:prstTxWarp>
            </a:bodyPr>
            <a:lstStyle/>
            <a:p>
              <a:pPr defTabSz="932317">
                <a:defRPr/>
              </a:pPr>
              <a:endParaRPr lang="en-US" sz="1835" kern="0">
                <a:solidFill>
                  <a:srgbClr val="505050"/>
                </a:solidFill>
              </a:endParaRPr>
            </a:p>
          </p:txBody>
        </p:sp>
        <p:sp>
          <p:nvSpPr>
            <p:cNvPr id="49"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3236" tIns="46618" rIns="93236" bIns="46618" numCol="1" anchor="t" anchorCtr="0" compatLnSpc="1">
              <a:prstTxWarp prst="textNoShape">
                <a:avLst/>
              </a:prstTxWarp>
            </a:bodyPr>
            <a:lstStyle/>
            <a:p>
              <a:pPr defTabSz="932317">
                <a:defRPr/>
              </a:pPr>
              <a:endParaRPr lang="en-US" sz="1835" kern="0">
                <a:solidFill>
                  <a:srgbClr val="505050"/>
                </a:solidFill>
              </a:endParaRPr>
            </a:p>
          </p:txBody>
        </p:sp>
        <p:sp>
          <p:nvSpPr>
            <p:cNvPr id="50"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3236" tIns="46618" rIns="93236" bIns="46618" numCol="1" anchor="t" anchorCtr="0" compatLnSpc="1">
              <a:prstTxWarp prst="textNoShape">
                <a:avLst/>
              </a:prstTxWarp>
            </a:bodyPr>
            <a:lstStyle/>
            <a:p>
              <a:pPr defTabSz="932317">
                <a:defRPr/>
              </a:pPr>
              <a:endParaRPr lang="en-US" sz="1835" kern="0">
                <a:solidFill>
                  <a:srgbClr val="505050"/>
                </a:solidFill>
              </a:endParaRPr>
            </a:p>
          </p:txBody>
        </p:sp>
      </p:grpSp>
      <p:sp>
        <p:nvSpPr>
          <p:cNvPr id="51" name="Oval 50"/>
          <p:cNvSpPr/>
          <p:nvPr/>
        </p:nvSpPr>
        <p:spPr bwMode="auto">
          <a:xfrm>
            <a:off x="4711548" y="6315105"/>
            <a:ext cx="889790" cy="136129"/>
          </a:xfrm>
          <a:prstGeom prst="ellipse">
            <a:avLst/>
          </a:prstGeom>
          <a:noFill/>
          <a:ln w="28575" cap="flat" cmpd="sng" algn="ctr">
            <a:solidFill>
              <a:srgbClr val="0072C6"/>
            </a:solidFill>
            <a:prstDash val="dash"/>
            <a:headEnd type="none" w="med" len="med"/>
            <a:tailEnd type="none" w="med" len="med"/>
          </a:ln>
          <a:effectLst/>
        </p:spPr>
        <p:txBody>
          <a:bodyPr rot="0" spcFirstLastPara="0" vertOverflow="overflow" horzOverflow="overflow" vert="horz" wrap="square" lIns="186472" tIns="149178" rIns="186472" bIns="149178" numCol="1" spcCol="0" rtlCol="0" fromWordArt="0" anchor="t" anchorCtr="0" forceAA="0" compatLnSpc="1">
            <a:prstTxWarp prst="textNoShape">
              <a:avLst/>
            </a:prstTxWarp>
            <a:noAutofit/>
          </a:bodyPr>
          <a:lstStyle/>
          <a:p>
            <a:pPr algn="ctr" defTabSz="950743" fontAlgn="base">
              <a:lnSpc>
                <a:spcPct val="90000"/>
              </a:lnSpc>
              <a:spcBef>
                <a:spcPct val="0"/>
              </a:spcBef>
              <a:spcAft>
                <a:spcPct val="0"/>
              </a:spcAft>
              <a:defRPr/>
            </a:pPr>
            <a:endParaRPr lang="en-US" sz="2447"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2" name="Freeform 51"/>
          <p:cNvSpPr>
            <a:spLocks/>
          </p:cNvSpPr>
          <p:nvPr/>
        </p:nvSpPr>
        <p:spPr bwMode="auto">
          <a:xfrm>
            <a:off x="4963491" y="6248153"/>
            <a:ext cx="662598" cy="142870"/>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91403" tIns="45701" rIns="91403" bIns="45701" numCol="1" anchor="t" anchorCtr="0" compatLnSpc="1">
            <a:prstTxWarp prst="textNoShape">
              <a:avLst/>
            </a:prstTxWarp>
          </a:bodyPr>
          <a:lstStyle/>
          <a:p>
            <a:pPr defTabSz="931857">
              <a:defRPr/>
            </a:pPr>
            <a:endParaRPr lang="en-US" sz="1835" kern="0">
              <a:solidFill>
                <a:srgbClr val="000000"/>
              </a:solidFill>
            </a:endParaRPr>
          </a:p>
        </p:txBody>
      </p:sp>
      <p:grpSp>
        <p:nvGrpSpPr>
          <p:cNvPr id="53" name="Group 130"/>
          <p:cNvGrpSpPr/>
          <p:nvPr/>
        </p:nvGrpSpPr>
        <p:grpSpPr>
          <a:xfrm>
            <a:off x="4869123" y="5658041"/>
            <a:ext cx="528629" cy="731797"/>
            <a:chOff x="13103226" y="2775830"/>
            <a:chExt cx="1039812" cy="1407232"/>
          </a:xfrm>
        </p:grpSpPr>
        <p:sp>
          <p:nvSpPr>
            <p:cNvPr id="54" name="Rectangle 5"/>
            <p:cNvSpPr>
              <a:spLocks noChangeArrowheads="1"/>
            </p:cNvSpPr>
            <p:nvPr/>
          </p:nvSpPr>
          <p:spPr bwMode="auto">
            <a:xfrm>
              <a:off x="13103226" y="2775830"/>
              <a:ext cx="1039812" cy="1407232"/>
            </a:xfrm>
            <a:prstGeom prst="rect">
              <a:avLst/>
            </a:prstGeom>
            <a:solidFill>
              <a:srgbClr val="DC3C00"/>
            </a:solidFill>
            <a:ln>
              <a:noFill/>
            </a:ln>
          </p:spPr>
          <p:txBody>
            <a:bodyPr vert="horz" wrap="square" lIns="93236" tIns="46618" rIns="93236" bIns="46618" numCol="1" anchor="t" anchorCtr="0" compatLnSpc="1">
              <a:prstTxWarp prst="textNoShape">
                <a:avLst/>
              </a:prstTxWarp>
            </a:bodyPr>
            <a:lstStyle/>
            <a:p>
              <a:pPr defTabSz="932317">
                <a:defRPr/>
              </a:pPr>
              <a:endParaRPr lang="en-US" sz="1835" kern="0">
                <a:solidFill>
                  <a:srgbClr val="505050"/>
                </a:solidFill>
              </a:endParaRPr>
            </a:p>
          </p:txBody>
        </p:sp>
        <p:sp>
          <p:nvSpPr>
            <p:cNvPr id="55"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36" tIns="46618" rIns="93236" bIns="46618" numCol="1" anchor="t" anchorCtr="0" compatLnSpc="1">
              <a:prstTxWarp prst="textNoShape">
                <a:avLst/>
              </a:prstTxWarp>
            </a:bodyPr>
            <a:lstStyle/>
            <a:p>
              <a:pPr defTabSz="932317">
                <a:defRPr/>
              </a:pPr>
              <a:endParaRPr lang="en-US" sz="1835" kern="0">
                <a:solidFill>
                  <a:srgbClr val="505050"/>
                </a:solidFill>
              </a:endParaRPr>
            </a:p>
          </p:txBody>
        </p:sp>
        <p:sp>
          <p:nvSpPr>
            <p:cNvPr id="56"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36" tIns="46618" rIns="93236" bIns="46618" numCol="1" anchor="t" anchorCtr="0" compatLnSpc="1">
              <a:prstTxWarp prst="textNoShape">
                <a:avLst/>
              </a:prstTxWarp>
            </a:bodyPr>
            <a:lstStyle/>
            <a:p>
              <a:pPr defTabSz="932317">
                <a:defRPr/>
              </a:pPr>
              <a:endParaRPr lang="en-US" sz="1835" kern="0">
                <a:solidFill>
                  <a:srgbClr val="505050"/>
                </a:solidFill>
              </a:endParaRPr>
            </a:p>
          </p:txBody>
        </p:sp>
        <p:sp>
          <p:nvSpPr>
            <p:cNvPr id="57"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36" tIns="46618" rIns="93236" bIns="46618" numCol="1" anchor="t" anchorCtr="0" compatLnSpc="1">
              <a:prstTxWarp prst="textNoShape">
                <a:avLst/>
              </a:prstTxWarp>
            </a:bodyPr>
            <a:lstStyle/>
            <a:p>
              <a:pPr defTabSz="932317">
                <a:defRPr/>
              </a:pPr>
              <a:endParaRPr lang="en-US" sz="1835" kern="0">
                <a:solidFill>
                  <a:srgbClr val="505050"/>
                </a:solidFill>
              </a:endParaRPr>
            </a:p>
          </p:txBody>
        </p:sp>
        <p:sp>
          <p:nvSpPr>
            <p:cNvPr id="58"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36" tIns="46618" rIns="93236" bIns="46618" numCol="1" anchor="t" anchorCtr="0" compatLnSpc="1">
              <a:prstTxWarp prst="textNoShape">
                <a:avLst/>
              </a:prstTxWarp>
            </a:bodyPr>
            <a:lstStyle/>
            <a:p>
              <a:pPr defTabSz="932317">
                <a:defRPr/>
              </a:pPr>
              <a:endParaRPr lang="en-US" sz="1835" kern="0">
                <a:solidFill>
                  <a:srgbClr val="505050"/>
                </a:solidFill>
              </a:endParaRPr>
            </a:p>
          </p:txBody>
        </p:sp>
        <p:sp>
          <p:nvSpPr>
            <p:cNvPr id="59"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3236" tIns="46618" rIns="93236" bIns="46618" numCol="1" anchor="t" anchorCtr="0" compatLnSpc="1">
              <a:prstTxWarp prst="textNoShape">
                <a:avLst/>
              </a:prstTxWarp>
            </a:bodyPr>
            <a:lstStyle/>
            <a:p>
              <a:pPr defTabSz="932317">
                <a:defRPr/>
              </a:pPr>
              <a:endParaRPr lang="en-US" sz="1835" kern="0">
                <a:solidFill>
                  <a:srgbClr val="505050"/>
                </a:solidFill>
              </a:endParaRPr>
            </a:p>
          </p:txBody>
        </p:sp>
        <p:sp>
          <p:nvSpPr>
            <p:cNvPr id="60"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3236" tIns="46618" rIns="93236" bIns="46618" numCol="1" anchor="t" anchorCtr="0" compatLnSpc="1">
              <a:prstTxWarp prst="textNoShape">
                <a:avLst/>
              </a:prstTxWarp>
            </a:bodyPr>
            <a:lstStyle/>
            <a:p>
              <a:pPr defTabSz="932317">
                <a:defRPr/>
              </a:pPr>
              <a:endParaRPr lang="en-US" sz="1835" kern="0">
                <a:solidFill>
                  <a:srgbClr val="505050"/>
                </a:solidFill>
              </a:endParaRPr>
            </a:p>
          </p:txBody>
        </p:sp>
        <p:sp>
          <p:nvSpPr>
            <p:cNvPr id="61"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3236" tIns="46618" rIns="93236" bIns="46618" numCol="1" anchor="t" anchorCtr="0" compatLnSpc="1">
              <a:prstTxWarp prst="textNoShape">
                <a:avLst/>
              </a:prstTxWarp>
            </a:bodyPr>
            <a:lstStyle/>
            <a:p>
              <a:pPr defTabSz="932317">
                <a:defRPr/>
              </a:pPr>
              <a:endParaRPr lang="en-US" sz="1835" kern="0">
                <a:solidFill>
                  <a:srgbClr val="505050"/>
                </a:solidFill>
              </a:endParaRPr>
            </a:p>
          </p:txBody>
        </p:sp>
        <p:sp>
          <p:nvSpPr>
            <p:cNvPr id="62"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3236" tIns="46618" rIns="93236" bIns="46618" numCol="1" anchor="t" anchorCtr="0" compatLnSpc="1">
              <a:prstTxWarp prst="textNoShape">
                <a:avLst/>
              </a:prstTxWarp>
            </a:bodyPr>
            <a:lstStyle/>
            <a:p>
              <a:pPr defTabSz="932317">
                <a:defRPr/>
              </a:pPr>
              <a:endParaRPr lang="en-US" sz="1835" kern="0">
                <a:solidFill>
                  <a:srgbClr val="505050"/>
                </a:solidFill>
              </a:endParaRPr>
            </a:p>
          </p:txBody>
        </p:sp>
      </p:grpSp>
      <p:grpSp>
        <p:nvGrpSpPr>
          <p:cNvPr id="63" name="Group 150"/>
          <p:cNvGrpSpPr/>
          <p:nvPr/>
        </p:nvGrpSpPr>
        <p:grpSpPr>
          <a:xfrm>
            <a:off x="2450580" y="6027135"/>
            <a:ext cx="178205" cy="345403"/>
            <a:chOff x="8003343" y="6072433"/>
            <a:chExt cx="145517" cy="282045"/>
          </a:xfrm>
        </p:grpSpPr>
        <p:sp>
          <p:nvSpPr>
            <p:cNvPr id="64"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31857">
                <a:defRPr/>
              </a:pPr>
              <a:endParaRPr lang="en-US" sz="1835" kern="0">
                <a:solidFill>
                  <a:srgbClr val="000000"/>
                </a:solidFill>
              </a:endParaRPr>
            </a:p>
          </p:txBody>
        </p:sp>
        <p:sp>
          <p:nvSpPr>
            <p:cNvPr id="65"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91403" tIns="45701" rIns="91403" bIns="45701" numCol="1" anchor="t" anchorCtr="0" compatLnSpc="1">
              <a:prstTxWarp prst="textNoShape">
                <a:avLst/>
              </a:prstTxWarp>
            </a:bodyPr>
            <a:lstStyle/>
            <a:p>
              <a:pPr defTabSz="931857">
                <a:defRPr/>
              </a:pPr>
              <a:endParaRPr lang="en-US" sz="1835" kern="0">
                <a:solidFill>
                  <a:srgbClr val="000000"/>
                </a:solidFill>
              </a:endParaRPr>
            </a:p>
          </p:txBody>
        </p:sp>
        <p:sp>
          <p:nvSpPr>
            <p:cNvPr id="66"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91403" tIns="45701" rIns="91403" bIns="45701" numCol="1" anchor="t" anchorCtr="0" compatLnSpc="1">
              <a:prstTxWarp prst="textNoShape">
                <a:avLst/>
              </a:prstTxWarp>
            </a:bodyPr>
            <a:lstStyle/>
            <a:p>
              <a:pPr defTabSz="931857">
                <a:defRPr/>
              </a:pPr>
              <a:endParaRPr lang="en-US" sz="1835" kern="0">
                <a:solidFill>
                  <a:srgbClr val="000000"/>
                </a:solidFill>
              </a:endParaRPr>
            </a:p>
          </p:txBody>
        </p:sp>
      </p:grpSp>
      <p:grpSp>
        <p:nvGrpSpPr>
          <p:cNvPr id="67" name="Group 158"/>
          <p:cNvGrpSpPr/>
          <p:nvPr/>
        </p:nvGrpSpPr>
        <p:grpSpPr>
          <a:xfrm>
            <a:off x="572791" y="6365367"/>
            <a:ext cx="178205" cy="345403"/>
            <a:chOff x="8003343" y="6072433"/>
            <a:chExt cx="145517" cy="282045"/>
          </a:xfrm>
        </p:grpSpPr>
        <p:sp>
          <p:nvSpPr>
            <p:cNvPr id="68"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31857">
                <a:defRPr/>
              </a:pPr>
              <a:endParaRPr lang="en-US" sz="1835" kern="0">
                <a:solidFill>
                  <a:srgbClr val="000000"/>
                </a:solidFill>
              </a:endParaRPr>
            </a:p>
          </p:txBody>
        </p:sp>
        <p:sp>
          <p:nvSpPr>
            <p:cNvPr id="69"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91403" tIns="45701" rIns="91403" bIns="45701" numCol="1" anchor="t" anchorCtr="0" compatLnSpc="1">
              <a:prstTxWarp prst="textNoShape">
                <a:avLst/>
              </a:prstTxWarp>
            </a:bodyPr>
            <a:lstStyle/>
            <a:p>
              <a:pPr defTabSz="931857">
                <a:defRPr/>
              </a:pPr>
              <a:endParaRPr lang="en-US" sz="1835" kern="0">
                <a:solidFill>
                  <a:srgbClr val="000000"/>
                </a:solidFill>
              </a:endParaRPr>
            </a:p>
          </p:txBody>
        </p:sp>
        <p:sp>
          <p:nvSpPr>
            <p:cNvPr id="70"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91403" tIns="45701" rIns="91403" bIns="45701" numCol="1" anchor="t" anchorCtr="0" compatLnSpc="1">
              <a:prstTxWarp prst="textNoShape">
                <a:avLst/>
              </a:prstTxWarp>
            </a:bodyPr>
            <a:lstStyle/>
            <a:p>
              <a:pPr defTabSz="931857">
                <a:defRPr/>
              </a:pPr>
              <a:endParaRPr lang="en-US" sz="1835" kern="0">
                <a:solidFill>
                  <a:srgbClr val="000000"/>
                </a:solidFill>
              </a:endParaRPr>
            </a:p>
          </p:txBody>
        </p:sp>
      </p:grpSp>
      <p:grpSp>
        <p:nvGrpSpPr>
          <p:cNvPr id="71" name="Group 166"/>
          <p:cNvGrpSpPr/>
          <p:nvPr/>
        </p:nvGrpSpPr>
        <p:grpSpPr>
          <a:xfrm>
            <a:off x="6369431" y="6292336"/>
            <a:ext cx="214449" cy="415653"/>
            <a:chOff x="8003343" y="6072433"/>
            <a:chExt cx="145517" cy="282045"/>
          </a:xfrm>
        </p:grpSpPr>
        <p:sp>
          <p:nvSpPr>
            <p:cNvPr id="72"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31857">
                <a:defRPr/>
              </a:pPr>
              <a:endParaRPr lang="en-US" sz="1835" kern="0">
                <a:solidFill>
                  <a:srgbClr val="000000"/>
                </a:solidFill>
              </a:endParaRPr>
            </a:p>
          </p:txBody>
        </p:sp>
        <p:sp>
          <p:nvSpPr>
            <p:cNvPr id="73"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91403" tIns="45701" rIns="91403" bIns="45701" numCol="1" anchor="t" anchorCtr="0" compatLnSpc="1">
              <a:prstTxWarp prst="textNoShape">
                <a:avLst/>
              </a:prstTxWarp>
            </a:bodyPr>
            <a:lstStyle/>
            <a:p>
              <a:pPr defTabSz="931857">
                <a:defRPr/>
              </a:pPr>
              <a:endParaRPr lang="en-US" sz="1835" kern="0">
                <a:solidFill>
                  <a:srgbClr val="000000"/>
                </a:solidFill>
              </a:endParaRPr>
            </a:p>
          </p:txBody>
        </p:sp>
        <p:sp>
          <p:nvSpPr>
            <p:cNvPr id="74"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91403" tIns="45701" rIns="91403" bIns="45701" numCol="1" anchor="t" anchorCtr="0" compatLnSpc="1">
              <a:prstTxWarp prst="textNoShape">
                <a:avLst/>
              </a:prstTxWarp>
            </a:bodyPr>
            <a:lstStyle/>
            <a:p>
              <a:pPr defTabSz="931857">
                <a:defRPr/>
              </a:pPr>
              <a:endParaRPr lang="en-US" sz="1835" kern="0">
                <a:solidFill>
                  <a:srgbClr val="000000"/>
                </a:solidFill>
              </a:endParaRPr>
            </a:p>
          </p:txBody>
        </p:sp>
      </p:grpSp>
    </p:spTree>
    <p:extLst>
      <p:ext uri="{BB962C8B-B14F-4D97-AF65-F5344CB8AC3E}">
        <p14:creationId xmlns:p14="http://schemas.microsoft.com/office/powerpoint/2010/main" val="3160519379"/>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fr-FR" dirty="0" smtClean="0"/>
              <a:t>SQL ou </a:t>
            </a:r>
            <a:r>
              <a:rPr lang="fr-FR" dirty="0" err="1" smtClean="0"/>
              <a:t>noSQL</a:t>
            </a:r>
            <a:r>
              <a:rPr lang="fr-FR" dirty="0" smtClean="0"/>
              <a:t> ?</a:t>
            </a:r>
            <a:endParaRPr lang="fr-FR" dirty="0"/>
          </a:p>
        </p:txBody>
      </p:sp>
      <p:sp>
        <p:nvSpPr>
          <p:cNvPr id="8" name="Text Placeholder 2"/>
          <p:cNvSpPr txBox="1">
            <a:spLocks/>
          </p:cNvSpPr>
          <p:nvPr/>
        </p:nvSpPr>
        <p:spPr bwMode="auto">
          <a:xfrm>
            <a:off x="279335" y="3137222"/>
            <a:ext cx="6298942" cy="1091124"/>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72727">
                      <a:srgbClr val="FFFFFF"/>
                    </a:gs>
                    <a:gs pos="36000">
                      <a:srgbClr val="FFFFFF"/>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defRPr/>
            </a:pPr>
            <a:r>
              <a:rPr kumimoji="0" lang="en-US" sz="3200" b="0" i="0" u="none" strike="noStrike" kern="1200" cap="none" spc="0" normalizeH="0" baseline="0" noProof="0" dirty="0" smtClean="0">
                <a:ln>
                  <a:noFill/>
                </a:ln>
                <a:gradFill>
                  <a:gsLst>
                    <a:gs pos="72727">
                      <a:srgbClr val="FFFFFF"/>
                    </a:gs>
                    <a:gs pos="36000">
                      <a:srgbClr val="FFFFFF"/>
                    </a:gs>
                  </a:gsLst>
                  <a:lin ang="5400000" scaled="0"/>
                </a:gradFill>
                <a:effectLst/>
                <a:uLnTx/>
                <a:uFillTx/>
                <a:latin typeface="Segoe UI Light"/>
                <a:ea typeface="+mn-ea"/>
                <a:cs typeface="+mn-cs"/>
              </a:rPr>
              <a:t>Sebastien Pertus</a:t>
            </a:r>
          </a:p>
          <a:p>
            <a:pPr>
              <a:defRPr/>
            </a:pPr>
            <a:r>
              <a:rPr lang="en-US" sz="2400" smtClean="0"/>
              <a:t>    </a:t>
            </a:r>
            <a:r>
              <a:rPr lang="en-US" sz="2400" dirty="0"/>
              <a:t>@</a:t>
            </a:r>
            <a:r>
              <a:rPr lang="en-US" sz="2400" dirty="0" err="1"/>
              <a:t>sebastienpertus</a:t>
            </a:r>
            <a:endParaRPr lang="en-US" sz="2400" dirty="0" smtClean="0">
              <a:latin typeface="Segoe UI Light"/>
            </a:endParaRPr>
          </a:p>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defRPr/>
            </a:pPr>
            <a:endParaRPr kumimoji="0" lang="en-US" sz="2400" b="0" i="0" u="none" strike="noStrike" kern="1200" cap="none" spc="0" normalizeH="0" baseline="0" noProof="0" dirty="0" smtClean="0">
              <a:ln>
                <a:noFill/>
              </a:ln>
              <a:gradFill>
                <a:gsLst>
                  <a:gs pos="72727">
                    <a:srgbClr val="FFFFFF"/>
                  </a:gs>
                  <a:gs pos="36000">
                    <a:srgbClr val="FFFFFF"/>
                  </a:gs>
                </a:gsLst>
                <a:lin ang="5400000" scaled="0"/>
              </a:gradFill>
              <a:effectLst/>
              <a:uLnTx/>
              <a:uFillTx/>
              <a:latin typeface="Segoe UI Light"/>
            </a:endParaRPr>
          </a:p>
        </p:txBody>
      </p:sp>
      <p:pic>
        <p:nvPicPr>
          <p:cNvPr id="11" name="Picture 4" descr="https://g.twimg.com/Twitter_logo_white.png"/>
          <p:cNvPicPr>
            <a:picLocks noChangeAspect="1" noChangeArrowheads="1"/>
          </p:cNvPicPr>
          <p:nvPr/>
        </p:nvPicPr>
        <p:blipFill>
          <a:blip r:embed="rId2">
            <a:lum bright="70000" contrast="-70000"/>
            <a:extLst>
              <a:ext uri="{28A0092B-C50C-407E-A947-70E740481C1C}">
                <a14:useLocalDpi xmlns:a14="http://schemas.microsoft.com/office/drawing/2010/main" val="0"/>
              </a:ext>
            </a:extLst>
          </a:blip>
          <a:srcRect/>
          <a:stretch>
            <a:fillRect/>
          </a:stretch>
        </p:blipFill>
        <p:spPr bwMode="auto">
          <a:xfrm>
            <a:off x="440452" y="4716862"/>
            <a:ext cx="289060" cy="235004"/>
          </a:xfrm>
          <a:prstGeom prst="rect">
            <a:avLst/>
          </a:prstGeom>
          <a:noFill/>
          <a:extLst>
            <a:ext uri="{909E8E84-426E-40DD-AFC4-6F175D3DCCD1}">
              <a14:hiddenFill xmlns:a14="http://schemas.microsoft.com/office/drawing/2010/main">
                <a:solidFill>
                  <a:srgbClr val="FFFFFF"/>
                </a:solidFill>
              </a14:hiddenFill>
            </a:ext>
          </a:extLst>
        </p:spPr>
      </p:pic>
      <p:sp>
        <p:nvSpPr>
          <p:cNvPr id="6" name="Text Placeholder 2"/>
          <p:cNvSpPr txBox="1">
            <a:spLocks/>
          </p:cNvSpPr>
          <p:nvPr/>
        </p:nvSpPr>
        <p:spPr bwMode="auto">
          <a:xfrm>
            <a:off x="270618" y="4134330"/>
            <a:ext cx="6298942" cy="1091124"/>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72727">
                      <a:srgbClr val="FFFFFF"/>
                    </a:gs>
                    <a:gs pos="36000">
                      <a:srgbClr val="FFFFFF"/>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defRPr/>
            </a:pPr>
            <a:r>
              <a:rPr kumimoji="0" lang="en-US" sz="3200" b="0" i="0" u="none" strike="noStrike" kern="1200" cap="none" spc="0" normalizeH="0" baseline="0" noProof="0" dirty="0" smtClean="0">
                <a:ln>
                  <a:noFill/>
                </a:ln>
                <a:gradFill>
                  <a:gsLst>
                    <a:gs pos="72727">
                      <a:srgbClr val="FFFFFF"/>
                    </a:gs>
                    <a:gs pos="36000">
                      <a:srgbClr val="FFFFFF"/>
                    </a:gs>
                  </a:gsLst>
                  <a:lin ang="5400000" scaled="0"/>
                </a:gradFill>
                <a:effectLst/>
                <a:uLnTx/>
                <a:uFillTx/>
                <a:latin typeface="Segoe UI Light"/>
                <a:ea typeface="+mn-ea"/>
                <a:cs typeface="+mn-cs"/>
              </a:rPr>
              <a:t>Benjamin Talmard</a:t>
            </a:r>
          </a:p>
          <a:p>
            <a:pPr>
              <a:defRPr/>
            </a:pPr>
            <a:r>
              <a:rPr lang="en-US" sz="2400" smtClean="0">
                <a:latin typeface="Segoe UI Light"/>
              </a:rPr>
              <a:t>    @benjiiim</a:t>
            </a:r>
            <a:endParaRPr lang="en-US" sz="2400" dirty="0" smtClean="0">
              <a:latin typeface="Segoe UI Light"/>
            </a:endParaRPr>
          </a:p>
        </p:txBody>
      </p:sp>
      <p:pic>
        <p:nvPicPr>
          <p:cNvPr id="7" name="Picture 4" descr="https://g.twimg.com/Twitter_logo_white.png"/>
          <p:cNvPicPr>
            <a:picLocks noChangeAspect="1" noChangeArrowheads="1"/>
          </p:cNvPicPr>
          <p:nvPr/>
        </p:nvPicPr>
        <p:blipFill>
          <a:blip r:embed="rId2">
            <a:lum bright="70000" contrast="-70000"/>
            <a:extLst>
              <a:ext uri="{28A0092B-C50C-407E-A947-70E740481C1C}">
                <a14:useLocalDpi xmlns:a14="http://schemas.microsoft.com/office/drawing/2010/main" val="0"/>
              </a:ext>
            </a:extLst>
          </a:blip>
          <a:srcRect/>
          <a:stretch>
            <a:fillRect/>
          </a:stretch>
        </p:blipFill>
        <p:spPr bwMode="auto">
          <a:xfrm>
            <a:off x="429735" y="3734552"/>
            <a:ext cx="289060" cy="235004"/>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4" descr="https://g.twimg.com/Twitter_logo_white.png"/>
          <p:cNvPicPr>
            <a:picLocks noChangeAspect="1" noChangeArrowheads="1"/>
          </p:cNvPicPr>
          <p:nvPr/>
        </p:nvPicPr>
        <p:blipFill>
          <a:blip r:embed="rId2">
            <a:lum bright="70000" contrast="-70000"/>
            <a:extLst>
              <a:ext uri="{28A0092B-C50C-407E-A947-70E740481C1C}">
                <a14:useLocalDpi xmlns:a14="http://schemas.microsoft.com/office/drawing/2010/main" val="0"/>
              </a:ext>
            </a:extLst>
          </a:blip>
          <a:srcRect/>
          <a:stretch>
            <a:fillRect/>
          </a:stretch>
        </p:blipFill>
        <p:spPr bwMode="auto">
          <a:xfrm>
            <a:off x="431735" y="5674974"/>
            <a:ext cx="289060" cy="235004"/>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2"/>
          <p:cNvSpPr txBox="1">
            <a:spLocks/>
          </p:cNvSpPr>
          <p:nvPr/>
        </p:nvSpPr>
        <p:spPr bwMode="auto">
          <a:xfrm>
            <a:off x="261901" y="5092442"/>
            <a:ext cx="6298942" cy="1091124"/>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72727">
                      <a:srgbClr val="FFFFFF"/>
                    </a:gs>
                    <a:gs pos="36000">
                      <a:srgbClr val="FFFFFF"/>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defRPr/>
            </a:pPr>
            <a:r>
              <a:rPr kumimoji="0" lang="en-US" sz="3200" b="0" i="0" u="none" strike="noStrike" kern="1200" cap="none" spc="0" normalizeH="0" baseline="0" noProof="0" dirty="0" smtClean="0">
                <a:ln>
                  <a:noFill/>
                </a:ln>
                <a:gradFill>
                  <a:gsLst>
                    <a:gs pos="72727">
                      <a:srgbClr val="FFFFFF"/>
                    </a:gs>
                    <a:gs pos="36000">
                      <a:srgbClr val="FFFFFF"/>
                    </a:gs>
                  </a:gsLst>
                  <a:lin ang="5400000" scaled="0"/>
                </a:gradFill>
                <a:effectLst/>
                <a:uLnTx/>
                <a:uFillTx/>
                <a:latin typeface="Segoe UI Light"/>
                <a:ea typeface="+mn-ea"/>
                <a:cs typeface="+mn-cs"/>
              </a:rPr>
              <a:t>Stéphane Goudeau</a:t>
            </a:r>
          </a:p>
          <a:p>
            <a:pPr lvl="0">
              <a:defRPr/>
            </a:pPr>
            <a:r>
              <a:rPr lang="en-US" sz="2400" dirty="0"/>
              <a:t>    @stephgou66</a:t>
            </a:r>
            <a:endParaRPr kumimoji="0" lang="en-US" sz="2400" b="0" i="0" u="none" strike="noStrike" kern="1200" cap="none" spc="0" normalizeH="0" baseline="0" noProof="0" dirty="0" smtClean="0">
              <a:ln>
                <a:noFill/>
              </a:ln>
              <a:gradFill>
                <a:gsLst>
                  <a:gs pos="72727">
                    <a:srgbClr val="FFFFFF"/>
                  </a:gs>
                  <a:gs pos="36000">
                    <a:srgbClr val="FFFFFF"/>
                  </a:gs>
                </a:gsLst>
                <a:lin ang="5400000" scaled="0"/>
              </a:gradFill>
              <a:effectLst/>
              <a:uLnTx/>
              <a:uFillTx/>
              <a:latin typeface="Segoe UI Light"/>
            </a:endParaRPr>
          </a:p>
        </p:txBody>
      </p:sp>
    </p:spTree>
    <p:extLst>
      <p:ext uri="{BB962C8B-B14F-4D97-AF65-F5344CB8AC3E}">
        <p14:creationId xmlns:p14="http://schemas.microsoft.com/office/powerpoint/2010/main" val="4022027405"/>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QL Server 2016 Timeline</a:t>
            </a:r>
            <a:endParaRPr lang="en-US" dirty="0"/>
          </a:p>
        </p:txBody>
      </p:sp>
      <p:sp>
        <p:nvSpPr>
          <p:cNvPr id="6" name="Text Placeholder 5"/>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graphicFrame>
        <p:nvGraphicFramePr>
          <p:cNvPr id="3" name="Diagram 2"/>
          <p:cNvGraphicFramePr/>
          <p:nvPr>
            <p:extLst>
              <p:ext uri="{D42A27DB-BD31-4B8C-83A1-F6EECF244321}">
                <p14:modId xmlns:p14="http://schemas.microsoft.com/office/powerpoint/2010/main" val="1637419547"/>
              </p:ext>
            </p:extLst>
          </p:nvPr>
        </p:nvGraphicFramePr>
        <p:xfrm>
          <a:off x="640753" y="1557493"/>
          <a:ext cx="11522674" cy="453260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796304368"/>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p:cNvSpPr txBox="1"/>
          <p:nvPr/>
        </p:nvSpPr>
        <p:spPr>
          <a:xfrm>
            <a:off x="464626" y="2126070"/>
            <a:ext cx="3657600" cy="3657600"/>
          </a:xfrm>
          <a:prstGeom prst="rect">
            <a:avLst/>
          </a:prstGeom>
          <a:solidFill>
            <a:srgbClr val="C00000"/>
          </a:solidFill>
        </p:spPr>
        <p:txBody>
          <a:bodyPr wrap="square" lIns="182880" tIns="146304" rIns="182880" bIns="146304" rtlCol="0">
            <a:noAutofit/>
          </a:bodyPr>
          <a:lstStyle>
            <a:defPPr>
              <a:defRPr lang="en-US"/>
            </a:defPPr>
            <a:lvl1pPr defTabSz="932688">
              <a:lnSpc>
                <a:spcPct val="90000"/>
              </a:lnSpc>
              <a:defRPr sz="4000" spc="-30">
                <a:gradFill>
                  <a:gsLst>
                    <a:gs pos="77483">
                      <a:srgbClr val="FFFFFF"/>
                    </a:gs>
                    <a:gs pos="62252">
                      <a:srgbClr val="FFFFFF"/>
                    </a:gs>
                  </a:gsLst>
                  <a:lin ang="5400000" scaled="0"/>
                </a:gradFill>
                <a:latin typeface="Segoe UI Light"/>
              </a:defRPr>
            </a:lvl1pPr>
          </a:lstStyle>
          <a:p>
            <a:pPr defTabSz="932133"/>
            <a:r>
              <a:rPr lang="en-US">
                <a:ln>
                  <a:solidFill>
                    <a:srgbClr val="FFFFFF">
                      <a:alpha val="0"/>
                    </a:srgbClr>
                  </a:solidFill>
                </a:ln>
                <a:gradFill>
                  <a:gsLst>
                    <a:gs pos="0">
                      <a:srgbClr val="FFFFFF"/>
                    </a:gs>
                    <a:gs pos="100000">
                      <a:srgbClr val="FFFFFF"/>
                    </a:gs>
                  </a:gsLst>
                  <a:lin ang="5400000" scaled="0"/>
                </a:gradFill>
                <a:ea typeface="Segoe UI" pitchFamily="34" charset="0"/>
                <a:cs typeface="Segoe UI" pitchFamily="34" charset="0"/>
              </a:rPr>
              <a:t>Performance critique</a:t>
            </a:r>
            <a:endParaRPr lang="en-US" dirty="0">
              <a:ln>
                <a:solidFill>
                  <a:srgbClr val="FFFFFF">
                    <a:alpha val="0"/>
                  </a:srgbClr>
                </a:solidFill>
              </a:ln>
              <a:gradFill>
                <a:gsLst>
                  <a:gs pos="0">
                    <a:srgbClr val="FFFFFF"/>
                  </a:gs>
                  <a:gs pos="100000">
                    <a:srgbClr val="FFFFFF"/>
                  </a:gs>
                </a:gsLst>
                <a:lin ang="5400000" scaled="0"/>
              </a:gradFill>
              <a:ea typeface="Segoe UI" pitchFamily="34" charset="0"/>
              <a:cs typeface="Segoe UI" pitchFamily="34" charset="0"/>
            </a:endParaRPr>
          </a:p>
        </p:txBody>
      </p:sp>
      <p:sp>
        <p:nvSpPr>
          <p:cNvPr id="32" name="Title 4"/>
          <p:cNvSpPr txBox="1">
            <a:spLocks/>
          </p:cNvSpPr>
          <p:nvPr/>
        </p:nvSpPr>
        <p:spPr>
          <a:xfrm>
            <a:off x="316907" y="741852"/>
            <a:ext cx="11887200" cy="946413"/>
          </a:xfrm>
          <a:prstGeom prst="rect">
            <a:avLst/>
          </a:prstGeom>
        </p:spPr>
        <p:txBody>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endParaRPr lang="en-US" sz="6000" dirty="0" smtClean="0">
              <a:solidFill>
                <a:srgbClr val="505050"/>
              </a:solidFill>
            </a:endParaRPr>
          </a:p>
        </p:txBody>
      </p:sp>
      <p:grpSp>
        <p:nvGrpSpPr>
          <p:cNvPr id="113" name="Group 112"/>
          <p:cNvGrpSpPr/>
          <p:nvPr/>
        </p:nvGrpSpPr>
        <p:grpSpPr>
          <a:xfrm>
            <a:off x="1586195" y="3983494"/>
            <a:ext cx="1414462" cy="1414463"/>
            <a:chOff x="1428494" y="3983494"/>
            <a:chExt cx="1414462" cy="1414463"/>
          </a:xfrm>
        </p:grpSpPr>
        <p:sp>
          <p:nvSpPr>
            <p:cNvPr id="109" name="Donut 108"/>
            <p:cNvSpPr/>
            <p:nvPr/>
          </p:nvSpPr>
          <p:spPr bwMode="auto">
            <a:xfrm>
              <a:off x="1428494" y="3983494"/>
              <a:ext cx="1414462" cy="1414462"/>
            </a:xfrm>
            <a:prstGeom prst="donut">
              <a:avLst>
                <a:gd name="adj" fmla="val 7423"/>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a:lnSpc>
                  <a:spcPct val="90000"/>
                </a:lnSpc>
                <a:buFont typeface="Wingdings 3" panose="05040102010807070707" pitchFamily="18" charset="2"/>
                <a:buChar char="Æ"/>
              </a:pPr>
              <a:endParaRPr lang="en-IN" sz="2000" b="1" dirty="0" err="1" smtClean="0">
                <a:solidFill>
                  <a:srgbClr val="FFFFFF"/>
                </a:solidFill>
                <a:latin typeface="Segoe UI Light"/>
                <a:ea typeface="Segoe UI" pitchFamily="34" charset="0"/>
                <a:cs typeface="Segoe UI" pitchFamily="34" charset="0"/>
              </a:endParaRPr>
            </a:p>
          </p:txBody>
        </p:sp>
        <p:grpSp>
          <p:nvGrpSpPr>
            <p:cNvPr id="111" name="Group 110"/>
            <p:cNvGrpSpPr/>
            <p:nvPr/>
          </p:nvGrpSpPr>
          <p:grpSpPr>
            <a:xfrm>
              <a:off x="1621657" y="4173291"/>
              <a:ext cx="1006705" cy="796614"/>
              <a:chOff x="1621657" y="4173291"/>
              <a:chExt cx="1006705" cy="796614"/>
            </a:xfrm>
          </p:grpSpPr>
          <p:sp>
            <p:nvSpPr>
              <p:cNvPr id="99" name="Freeform 5"/>
              <p:cNvSpPr>
                <a:spLocks/>
              </p:cNvSpPr>
              <p:nvPr/>
            </p:nvSpPr>
            <p:spPr bwMode="auto">
              <a:xfrm rot="18900000">
                <a:off x="1864473" y="4183165"/>
                <a:ext cx="300038" cy="280988"/>
              </a:xfrm>
              <a:custGeom>
                <a:avLst/>
                <a:gdLst>
                  <a:gd name="T0" fmla="*/ 53 w 53"/>
                  <a:gd name="T1" fmla="*/ 22 h 49"/>
                  <a:gd name="T2" fmla="*/ 2 w 53"/>
                  <a:gd name="T3" fmla="*/ 0 h 49"/>
                  <a:gd name="T4" fmla="*/ 0 w 53"/>
                  <a:gd name="T5" fmla="*/ 37 h 49"/>
                  <a:gd name="T6" fmla="*/ 28 w 53"/>
                  <a:gd name="T7" fmla="*/ 49 h 49"/>
                  <a:gd name="T8" fmla="*/ 53 w 53"/>
                  <a:gd name="T9" fmla="*/ 22 h 49"/>
                </a:gdLst>
                <a:ahLst/>
                <a:cxnLst>
                  <a:cxn ang="0">
                    <a:pos x="T0" y="T1"/>
                  </a:cxn>
                  <a:cxn ang="0">
                    <a:pos x="T2" y="T3"/>
                  </a:cxn>
                  <a:cxn ang="0">
                    <a:pos x="T4" y="T5"/>
                  </a:cxn>
                  <a:cxn ang="0">
                    <a:pos x="T6" y="T7"/>
                  </a:cxn>
                  <a:cxn ang="0">
                    <a:pos x="T8" y="T9"/>
                  </a:cxn>
                </a:cxnLst>
                <a:rect l="0" t="0" r="r" b="b"/>
                <a:pathLst>
                  <a:path w="53" h="49">
                    <a:moveTo>
                      <a:pt x="53" y="22"/>
                    </a:moveTo>
                    <a:cubicBezTo>
                      <a:pt x="39" y="9"/>
                      <a:pt x="21" y="2"/>
                      <a:pt x="2" y="0"/>
                    </a:cubicBezTo>
                    <a:cubicBezTo>
                      <a:pt x="0" y="37"/>
                      <a:pt x="0" y="37"/>
                      <a:pt x="0" y="37"/>
                    </a:cubicBezTo>
                    <a:cubicBezTo>
                      <a:pt x="10" y="38"/>
                      <a:pt x="20" y="42"/>
                      <a:pt x="28" y="49"/>
                    </a:cubicBezTo>
                    <a:lnTo>
                      <a:pt x="53" y="22"/>
                    </a:lnTo>
                    <a:close/>
                  </a:path>
                </a:pathLst>
              </a:custGeom>
              <a:solidFill>
                <a:schemeClr val="accent1">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100" name="Freeform 6"/>
              <p:cNvSpPr>
                <a:spLocks/>
              </p:cNvSpPr>
              <p:nvPr/>
            </p:nvSpPr>
            <p:spPr bwMode="auto">
              <a:xfrm rot="18900000">
                <a:off x="2124042" y="4173291"/>
                <a:ext cx="280988" cy="302420"/>
              </a:xfrm>
              <a:custGeom>
                <a:avLst/>
                <a:gdLst>
                  <a:gd name="T0" fmla="*/ 12 w 49"/>
                  <a:gd name="T1" fmla="*/ 53 h 53"/>
                  <a:gd name="T2" fmla="*/ 49 w 49"/>
                  <a:gd name="T3" fmla="*/ 51 h 53"/>
                  <a:gd name="T4" fmla="*/ 27 w 49"/>
                  <a:gd name="T5" fmla="*/ 0 h 53"/>
                  <a:gd name="T6" fmla="*/ 0 w 49"/>
                  <a:gd name="T7" fmla="*/ 24 h 53"/>
                  <a:gd name="T8" fmla="*/ 12 w 49"/>
                  <a:gd name="T9" fmla="*/ 53 h 53"/>
                </a:gdLst>
                <a:ahLst/>
                <a:cxnLst>
                  <a:cxn ang="0">
                    <a:pos x="T0" y="T1"/>
                  </a:cxn>
                  <a:cxn ang="0">
                    <a:pos x="T2" y="T3"/>
                  </a:cxn>
                  <a:cxn ang="0">
                    <a:pos x="T4" y="T5"/>
                  </a:cxn>
                  <a:cxn ang="0">
                    <a:pos x="T6" y="T7"/>
                  </a:cxn>
                  <a:cxn ang="0">
                    <a:pos x="T8" y="T9"/>
                  </a:cxn>
                </a:cxnLst>
                <a:rect l="0" t="0" r="r" b="b"/>
                <a:pathLst>
                  <a:path w="49" h="53">
                    <a:moveTo>
                      <a:pt x="12" y="53"/>
                    </a:moveTo>
                    <a:cubicBezTo>
                      <a:pt x="49" y="51"/>
                      <a:pt x="49" y="51"/>
                      <a:pt x="49" y="51"/>
                    </a:cubicBezTo>
                    <a:cubicBezTo>
                      <a:pt x="47" y="32"/>
                      <a:pt x="40" y="14"/>
                      <a:pt x="27" y="0"/>
                    </a:cubicBezTo>
                    <a:cubicBezTo>
                      <a:pt x="0" y="24"/>
                      <a:pt x="0" y="24"/>
                      <a:pt x="0" y="24"/>
                    </a:cubicBezTo>
                    <a:cubicBezTo>
                      <a:pt x="7" y="32"/>
                      <a:pt x="11" y="43"/>
                      <a:pt x="12" y="53"/>
                    </a:cubicBez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grpSp>
            <p:nvGrpSpPr>
              <p:cNvPr id="110" name="Group 109"/>
              <p:cNvGrpSpPr/>
              <p:nvPr/>
            </p:nvGrpSpPr>
            <p:grpSpPr>
              <a:xfrm>
                <a:off x="1621657" y="4397457"/>
                <a:ext cx="1006705" cy="572448"/>
                <a:chOff x="1621657" y="4397457"/>
                <a:chExt cx="1006705" cy="572448"/>
              </a:xfrm>
            </p:grpSpPr>
            <p:sp>
              <p:nvSpPr>
                <p:cNvPr id="101" name="Freeform 7"/>
                <p:cNvSpPr>
                  <a:spLocks/>
                </p:cNvSpPr>
                <p:nvPr/>
              </p:nvSpPr>
              <p:spPr bwMode="auto">
                <a:xfrm rot="18900000">
                  <a:off x="1621657" y="4424790"/>
                  <a:ext cx="302420" cy="280988"/>
                </a:xfrm>
                <a:custGeom>
                  <a:avLst/>
                  <a:gdLst>
                    <a:gd name="T0" fmla="*/ 53 w 53"/>
                    <a:gd name="T1" fmla="*/ 37 h 49"/>
                    <a:gd name="T2" fmla="*/ 51 w 53"/>
                    <a:gd name="T3" fmla="*/ 0 h 49"/>
                    <a:gd name="T4" fmla="*/ 0 w 53"/>
                    <a:gd name="T5" fmla="*/ 21 h 49"/>
                    <a:gd name="T6" fmla="*/ 24 w 53"/>
                    <a:gd name="T7" fmla="*/ 49 h 49"/>
                    <a:gd name="T8" fmla="*/ 53 w 53"/>
                    <a:gd name="T9" fmla="*/ 37 h 49"/>
                  </a:gdLst>
                  <a:ahLst/>
                  <a:cxnLst>
                    <a:cxn ang="0">
                      <a:pos x="T0" y="T1"/>
                    </a:cxn>
                    <a:cxn ang="0">
                      <a:pos x="T2" y="T3"/>
                    </a:cxn>
                    <a:cxn ang="0">
                      <a:pos x="T4" y="T5"/>
                    </a:cxn>
                    <a:cxn ang="0">
                      <a:pos x="T6" y="T7"/>
                    </a:cxn>
                    <a:cxn ang="0">
                      <a:pos x="T8" y="T9"/>
                    </a:cxn>
                  </a:cxnLst>
                  <a:rect l="0" t="0" r="r" b="b"/>
                  <a:pathLst>
                    <a:path w="53" h="49">
                      <a:moveTo>
                        <a:pt x="53" y="37"/>
                      </a:moveTo>
                      <a:cubicBezTo>
                        <a:pt x="51" y="0"/>
                        <a:pt x="51" y="0"/>
                        <a:pt x="51" y="0"/>
                      </a:cubicBezTo>
                      <a:cubicBezTo>
                        <a:pt x="32" y="1"/>
                        <a:pt x="14" y="9"/>
                        <a:pt x="0" y="21"/>
                      </a:cubicBezTo>
                      <a:cubicBezTo>
                        <a:pt x="24" y="49"/>
                        <a:pt x="24" y="49"/>
                        <a:pt x="24" y="49"/>
                      </a:cubicBezTo>
                      <a:cubicBezTo>
                        <a:pt x="32" y="42"/>
                        <a:pt x="43" y="38"/>
                        <a:pt x="53" y="37"/>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102" name="Freeform 8"/>
                <p:cNvSpPr>
                  <a:spLocks/>
                </p:cNvSpPr>
                <p:nvPr/>
              </p:nvSpPr>
              <p:spPr bwMode="auto">
                <a:xfrm rot="18900000">
                  <a:off x="1637773" y="4667485"/>
                  <a:ext cx="278607" cy="302420"/>
                </a:xfrm>
                <a:custGeom>
                  <a:avLst/>
                  <a:gdLst>
                    <a:gd name="T0" fmla="*/ 48 w 49"/>
                    <a:gd name="T1" fmla="*/ 23 h 53"/>
                    <a:gd name="T2" fmla="*/ 21 w 49"/>
                    <a:gd name="T3" fmla="*/ 0 h 53"/>
                    <a:gd name="T4" fmla="*/ 0 w 49"/>
                    <a:gd name="T5" fmla="*/ 51 h 53"/>
                    <a:gd name="T6" fmla="*/ 37 w 49"/>
                    <a:gd name="T7" fmla="*/ 53 h 53"/>
                    <a:gd name="T8" fmla="*/ 49 w 49"/>
                    <a:gd name="T9" fmla="*/ 24 h 53"/>
                    <a:gd name="T10" fmla="*/ 48 w 49"/>
                    <a:gd name="T11" fmla="*/ 23 h 53"/>
                  </a:gdLst>
                  <a:ahLst/>
                  <a:cxnLst>
                    <a:cxn ang="0">
                      <a:pos x="T0" y="T1"/>
                    </a:cxn>
                    <a:cxn ang="0">
                      <a:pos x="T2" y="T3"/>
                    </a:cxn>
                    <a:cxn ang="0">
                      <a:pos x="T4" y="T5"/>
                    </a:cxn>
                    <a:cxn ang="0">
                      <a:pos x="T6" y="T7"/>
                    </a:cxn>
                    <a:cxn ang="0">
                      <a:pos x="T8" y="T9"/>
                    </a:cxn>
                    <a:cxn ang="0">
                      <a:pos x="T10" y="T11"/>
                    </a:cxn>
                  </a:cxnLst>
                  <a:rect l="0" t="0" r="r" b="b"/>
                  <a:pathLst>
                    <a:path w="49" h="53">
                      <a:moveTo>
                        <a:pt x="48" y="23"/>
                      </a:moveTo>
                      <a:cubicBezTo>
                        <a:pt x="21" y="0"/>
                        <a:pt x="21" y="0"/>
                        <a:pt x="21" y="0"/>
                      </a:cubicBezTo>
                      <a:cubicBezTo>
                        <a:pt x="8" y="14"/>
                        <a:pt x="1" y="32"/>
                        <a:pt x="0" y="51"/>
                      </a:cubicBezTo>
                      <a:cubicBezTo>
                        <a:pt x="37" y="53"/>
                        <a:pt x="37" y="53"/>
                        <a:pt x="37" y="53"/>
                      </a:cubicBezTo>
                      <a:cubicBezTo>
                        <a:pt x="38" y="42"/>
                        <a:pt x="42" y="32"/>
                        <a:pt x="49" y="24"/>
                      </a:cubicBezTo>
                      <a:cubicBezTo>
                        <a:pt x="48" y="23"/>
                        <a:pt x="48" y="23"/>
                        <a:pt x="48" y="2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132" name="Freeform 131"/>
                <p:cNvSpPr>
                  <a:spLocks/>
                </p:cNvSpPr>
                <p:nvPr/>
              </p:nvSpPr>
              <p:spPr bwMode="auto">
                <a:xfrm rot="18900000">
                  <a:off x="2155256" y="4397457"/>
                  <a:ext cx="473106" cy="380327"/>
                </a:xfrm>
                <a:custGeom>
                  <a:avLst/>
                  <a:gdLst>
                    <a:gd name="connsiteX0" fmla="*/ 42335 w 473106"/>
                    <a:gd name="connsiteY0" fmla="*/ 21859 h 380327"/>
                    <a:gd name="connsiteX1" fmla="*/ 61057 w 473106"/>
                    <a:gd name="connsiteY1" fmla="*/ 49049 h 380327"/>
                    <a:gd name="connsiteX2" fmla="*/ 64322 w 473106"/>
                    <a:gd name="connsiteY2" fmla="*/ 64322 h 380327"/>
                    <a:gd name="connsiteX3" fmla="*/ 0 w 473106"/>
                    <a:gd name="connsiteY3" fmla="*/ 0 h 380327"/>
                    <a:gd name="connsiteX4" fmla="*/ 15056 w 473106"/>
                    <a:gd name="connsiteY4" fmla="*/ 3198 h 380327"/>
                    <a:gd name="connsiteX5" fmla="*/ 42335 w 473106"/>
                    <a:gd name="connsiteY5" fmla="*/ 21859 h 380327"/>
                    <a:gd name="connsiteX6" fmla="*/ 473106 w 473106"/>
                    <a:gd name="connsiteY6" fmla="*/ 104320 h 380327"/>
                    <a:gd name="connsiteX7" fmla="*/ 376111 w 473106"/>
                    <a:gd name="connsiteY7" fmla="*/ 371609 h 380327"/>
                    <a:gd name="connsiteX8" fmla="*/ 380327 w 473106"/>
                    <a:gd name="connsiteY8" fmla="*/ 380327 h 380327"/>
                    <a:gd name="connsiteX9" fmla="*/ 222557 w 473106"/>
                    <a:gd name="connsiteY9" fmla="*/ 222557 h 380327"/>
                    <a:gd name="connsiteX10" fmla="*/ 248449 w 473106"/>
                    <a:gd name="connsiteY10" fmla="*/ 160479 h 380327"/>
                    <a:gd name="connsiteX11" fmla="*/ 262000 w 473106"/>
                    <a:gd name="connsiteY11" fmla="*/ 92946 h 380327"/>
                    <a:gd name="connsiteX12" fmla="*/ 473106 w 473106"/>
                    <a:gd name="connsiteY12" fmla="*/ 104320 h 380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3106" h="380327">
                      <a:moveTo>
                        <a:pt x="42335" y="21859"/>
                      </a:moveTo>
                      <a:cubicBezTo>
                        <a:pt x="50181" y="29678"/>
                        <a:pt x="56599" y="38919"/>
                        <a:pt x="61057" y="49049"/>
                      </a:cubicBezTo>
                      <a:lnTo>
                        <a:pt x="64322" y="64322"/>
                      </a:lnTo>
                      <a:lnTo>
                        <a:pt x="0" y="0"/>
                      </a:lnTo>
                      <a:lnTo>
                        <a:pt x="15056" y="3198"/>
                      </a:lnTo>
                      <a:cubicBezTo>
                        <a:pt x="25218" y="7641"/>
                        <a:pt x="34490" y="14039"/>
                        <a:pt x="42335" y="21859"/>
                      </a:cubicBezTo>
                      <a:close/>
                      <a:moveTo>
                        <a:pt x="473106" y="104320"/>
                      </a:moveTo>
                      <a:cubicBezTo>
                        <a:pt x="467401" y="200999"/>
                        <a:pt x="433167" y="297678"/>
                        <a:pt x="376111" y="371609"/>
                      </a:cubicBezTo>
                      <a:lnTo>
                        <a:pt x="380327" y="380327"/>
                      </a:lnTo>
                      <a:lnTo>
                        <a:pt x="222557" y="222557"/>
                      </a:lnTo>
                      <a:lnTo>
                        <a:pt x="248449" y="160479"/>
                      </a:lnTo>
                      <a:cubicBezTo>
                        <a:pt x="254868" y="138442"/>
                        <a:pt x="259147" y="115694"/>
                        <a:pt x="262000" y="92946"/>
                      </a:cubicBezTo>
                      <a:cubicBezTo>
                        <a:pt x="262000" y="92946"/>
                        <a:pt x="262000" y="92946"/>
                        <a:pt x="473106" y="104320"/>
                      </a:cubicBezTo>
                      <a:close/>
                    </a:path>
                  </a:pathLst>
                </a:custGeom>
                <a:solidFill>
                  <a:srgbClr val="0088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IN">
                    <a:solidFill>
                      <a:srgbClr val="000000"/>
                    </a:solidFill>
                  </a:endParaRPr>
                </a:p>
              </p:txBody>
            </p:sp>
            <p:sp>
              <p:nvSpPr>
                <p:cNvPr id="131" name="Freeform 130"/>
                <p:cNvSpPr>
                  <a:spLocks/>
                </p:cNvSpPr>
                <p:nvPr/>
              </p:nvSpPr>
              <p:spPr bwMode="auto">
                <a:xfrm rot="19008074">
                  <a:off x="2111413" y="4447007"/>
                  <a:ext cx="491469" cy="477708"/>
                </a:xfrm>
                <a:custGeom>
                  <a:avLst/>
                  <a:gdLst>
                    <a:gd name="connsiteX0" fmla="*/ 145492 w 491469"/>
                    <a:gd name="connsiteY0" fmla="*/ 25592 h 477708"/>
                    <a:gd name="connsiteX1" fmla="*/ 171167 w 491469"/>
                    <a:gd name="connsiteY1" fmla="*/ 85305 h 477708"/>
                    <a:gd name="connsiteX2" fmla="*/ 325218 w 491469"/>
                    <a:gd name="connsiteY2" fmla="*/ 227480 h 477708"/>
                    <a:gd name="connsiteX3" fmla="*/ 325539 w 491469"/>
                    <a:gd name="connsiteY3" fmla="*/ 226709 h 477708"/>
                    <a:gd name="connsiteX4" fmla="*/ 484040 w 491469"/>
                    <a:gd name="connsiteY4" fmla="*/ 385210 h 477708"/>
                    <a:gd name="connsiteX5" fmla="*/ 488807 w 491469"/>
                    <a:gd name="connsiteY5" fmla="*/ 395069 h 477708"/>
                    <a:gd name="connsiteX6" fmla="*/ 473563 w 491469"/>
                    <a:gd name="connsiteY6" fmla="*/ 460647 h 477708"/>
                    <a:gd name="connsiteX7" fmla="*/ 387979 w 491469"/>
                    <a:gd name="connsiteY7" fmla="*/ 460647 h 477708"/>
                    <a:gd name="connsiteX8" fmla="*/ 85584 w 491469"/>
                    <a:gd name="connsiteY8" fmla="*/ 170610 h 477708"/>
                    <a:gd name="connsiteX9" fmla="*/ 0 w 491469"/>
                    <a:gd name="connsiteY9" fmla="*/ 85305 h 477708"/>
                    <a:gd name="connsiteX10" fmla="*/ 85584 w 491469"/>
                    <a:gd name="connsiteY10" fmla="*/ 0 h 477708"/>
                    <a:gd name="connsiteX11" fmla="*/ 145492 w 491469"/>
                    <a:gd name="connsiteY11" fmla="*/ 25592 h 477708"/>
                    <a:gd name="connsiteX0" fmla="*/ 145492 w 491469"/>
                    <a:gd name="connsiteY0" fmla="*/ 25592 h 477708"/>
                    <a:gd name="connsiteX1" fmla="*/ 171167 w 491469"/>
                    <a:gd name="connsiteY1" fmla="*/ 85305 h 477708"/>
                    <a:gd name="connsiteX2" fmla="*/ 325218 w 491469"/>
                    <a:gd name="connsiteY2" fmla="*/ 227480 h 477708"/>
                    <a:gd name="connsiteX3" fmla="*/ 484040 w 491469"/>
                    <a:gd name="connsiteY3" fmla="*/ 385210 h 477708"/>
                    <a:gd name="connsiteX4" fmla="*/ 488807 w 491469"/>
                    <a:gd name="connsiteY4" fmla="*/ 395069 h 477708"/>
                    <a:gd name="connsiteX5" fmla="*/ 473563 w 491469"/>
                    <a:gd name="connsiteY5" fmla="*/ 460647 h 477708"/>
                    <a:gd name="connsiteX6" fmla="*/ 387979 w 491469"/>
                    <a:gd name="connsiteY6" fmla="*/ 460647 h 477708"/>
                    <a:gd name="connsiteX7" fmla="*/ 85584 w 491469"/>
                    <a:gd name="connsiteY7" fmla="*/ 170610 h 477708"/>
                    <a:gd name="connsiteX8" fmla="*/ 0 w 491469"/>
                    <a:gd name="connsiteY8" fmla="*/ 85305 h 477708"/>
                    <a:gd name="connsiteX9" fmla="*/ 85584 w 491469"/>
                    <a:gd name="connsiteY9" fmla="*/ 0 h 477708"/>
                    <a:gd name="connsiteX10" fmla="*/ 145492 w 491469"/>
                    <a:gd name="connsiteY10" fmla="*/ 25592 h 477708"/>
                    <a:gd name="connsiteX0" fmla="*/ 145492 w 491469"/>
                    <a:gd name="connsiteY0" fmla="*/ 25592 h 477708"/>
                    <a:gd name="connsiteX1" fmla="*/ 171167 w 491469"/>
                    <a:gd name="connsiteY1" fmla="*/ 85305 h 477708"/>
                    <a:gd name="connsiteX2" fmla="*/ 484040 w 491469"/>
                    <a:gd name="connsiteY2" fmla="*/ 385210 h 477708"/>
                    <a:gd name="connsiteX3" fmla="*/ 488807 w 491469"/>
                    <a:gd name="connsiteY3" fmla="*/ 395069 h 477708"/>
                    <a:gd name="connsiteX4" fmla="*/ 473563 w 491469"/>
                    <a:gd name="connsiteY4" fmla="*/ 460647 h 477708"/>
                    <a:gd name="connsiteX5" fmla="*/ 387979 w 491469"/>
                    <a:gd name="connsiteY5" fmla="*/ 460647 h 477708"/>
                    <a:gd name="connsiteX6" fmla="*/ 85584 w 491469"/>
                    <a:gd name="connsiteY6" fmla="*/ 170610 h 477708"/>
                    <a:gd name="connsiteX7" fmla="*/ 0 w 491469"/>
                    <a:gd name="connsiteY7" fmla="*/ 85305 h 477708"/>
                    <a:gd name="connsiteX8" fmla="*/ 85584 w 491469"/>
                    <a:gd name="connsiteY8" fmla="*/ 0 h 477708"/>
                    <a:gd name="connsiteX9" fmla="*/ 145492 w 491469"/>
                    <a:gd name="connsiteY9" fmla="*/ 25592 h 477708"/>
                    <a:gd name="connsiteX0" fmla="*/ 145492 w 491469"/>
                    <a:gd name="connsiteY0" fmla="*/ 25592 h 477708"/>
                    <a:gd name="connsiteX1" fmla="*/ 171167 w 491469"/>
                    <a:gd name="connsiteY1" fmla="*/ 85305 h 477708"/>
                    <a:gd name="connsiteX2" fmla="*/ 488807 w 491469"/>
                    <a:gd name="connsiteY2" fmla="*/ 395069 h 477708"/>
                    <a:gd name="connsiteX3" fmla="*/ 473563 w 491469"/>
                    <a:gd name="connsiteY3" fmla="*/ 460647 h 477708"/>
                    <a:gd name="connsiteX4" fmla="*/ 387979 w 491469"/>
                    <a:gd name="connsiteY4" fmla="*/ 460647 h 477708"/>
                    <a:gd name="connsiteX5" fmla="*/ 85584 w 491469"/>
                    <a:gd name="connsiteY5" fmla="*/ 170610 h 477708"/>
                    <a:gd name="connsiteX6" fmla="*/ 0 w 491469"/>
                    <a:gd name="connsiteY6" fmla="*/ 85305 h 477708"/>
                    <a:gd name="connsiteX7" fmla="*/ 85584 w 491469"/>
                    <a:gd name="connsiteY7" fmla="*/ 0 h 477708"/>
                    <a:gd name="connsiteX8" fmla="*/ 145492 w 491469"/>
                    <a:gd name="connsiteY8" fmla="*/ 25592 h 477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1469" h="477708">
                      <a:moveTo>
                        <a:pt x="145492" y="25592"/>
                      </a:moveTo>
                      <a:cubicBezTo>
                        <a:pt x="161183" y="41231"/>
                        <a:pt x="171167" y="62557"/>
                        <a:pt x="171167" y="85305"/>
                      </a:cubicBezTo>
                      <a:lnTo>
                        <a:pt x="488807" y="395069"/>
                      </a:lnTo>
                      <a:cubicBezTo>
                        <a:pt x="494959" y="416928"/>
                        <a:pt x="490679" y="443586"/>
                        <a:pt x="473563" y="460647"/>
                      </a:cubicBezTo>
                      <a:cubicBezTo>
                        <a:pt x="450740" y="483395"/>
                        <a:pt x="410801" y="483395"/>
                        <a:pt x="387979" y="460647"/>
                      </a:cubicBezTo>
                      <a:lnTo>
                        <a:pt x="85584" y="170610"/>
                      </a:lnTo>
                      <a:cubicBezTo>
                        <a:pt x="39939" y="170610"/>
                        <a:pt x="0" y="136488"/>
                        <a:pt x="0" y="85305"/>
                      </a:cubicBezTo>
                      <a:cubicBezTo>
                        <a:pt x="0" y="39809"/>
                        <a:pt x="39939" y="0"/>
                        <a:pt x="85584" y="0"/>
                      </a:cubicBezTo>
                      <a:cubicBezTo>
                        <a:pt x="108406" y="0"/>
                        <a:pt x="129802" y="9952"/>
                        <a:pt x="145492" y="2559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IN">
                    <a:solidFill>
                      <a:srgbClr val="000000"/>
                    </a:solidFill>
                  </a:endParaRPr>
                </a:p>
              </p:txBody>
            </p:sp>
          </p:grpSp>
        </p:grpSp>
        <p:sp>
          <p:nvSpPr>
            <p:cNvPr id="144" name="Freeform 143"/>
            <p:cNvSpPr/>
            <p:nvPr/>
          </p:nvSpPr>
          <p:spPr bwMode="auto">
            <a:xfrm>
              <a:off x="1791732" y="4041568"/>
              <a:ext cx="1051224" cy="1356389"/>
            </a:xfrm>
            <a:custGeom>
              <a:avLst/>
              <a:gdLst>
                <a:gd name="connsiteX0" fmla="*/ 623876 w 1051224"/>
                <a:gd name="connsiteY0" fmla="*/ 0 h 1356389"/>
                <a:gd name="connsiteX1" fmla="*/ 739413 w 1051224"/>
                <a:gd name="connsiteY1" fmla="*/ 62711 h 1356389"/>
                <a:gd name="connsiteX2" fmla="*/ 1051224 w 1051224"/>
                <a:gd name="connsiteY2" fmla="*/ 649158 h 1356389"/>
                <a:gd name="connsiteX3" fmla="*/ 343993 w 1051224"/>
                <a:gd name="connsiteY3" fmla="*/ 1356389 h 1356389"/>
                <a:gd name="connsiteX4" fmla="*/ 68707 w 1051224"/>
                <a:gd name="connsiteY4" fmla="*/ 1300812 h 1356389"/>
                <a:gd name="connsiteX5" fmla="*/ 0 w 1051224"/>
                <a:gd name="connsiteY5" fmla="*/ 1263518 h 1356389"/>
                <a:gd name="connsiteX6" fmla="*/ 46310 w 1051224"/>
                <a:gd name="connsiteY6" fmla="*/ 1169727 h 1356389"/>
                <a:gd name="connsiteX7" fmla="*/ 109576 w 1051224"/>
                <a:gd name="connsiteY7" fmla="*/ 1204067 h 1356389"/>
                <a:gd name="connsiteX8" fmla="*/ 343993 w 1051224"/>
                <a:gd name="connsiteY8" fmla="*/ 1251393 h 1356389"/>
                <a:gd name="connsiteX9" fmla="*/ 946228 w 1051224"/>
                <a:gd name="connsiteY9" fmla="*/ 649158 h 1356389"/>
                <a:gd name="connsiteX10" fmla="*/ 578410 w 1051224"/>
                <a:gd name="connsiteY10" fmla="*/ 94250 h 1356389"/>
                <a:gd name="connsiteX11" fmla="*/ 577481 w 1051224"/>
                <a:gd name="connsiteY11" fmla="*/ 93961 h 1356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51224" h="1356389">
                  <a:moveTo>
                    <a:pt x="623876" y="0"/>
                  </a:moveTo>
                  <a:lnTo>
                    <a:pt x="739413" y="62711"/>
                  </a:lnTo>
                  <a:cubicBezTo>
                    <a:pt x="927537" y="189806"/>
                    <a:pt x="1051224" y="405038"/>
                    <a:pt x="1051224" y="649158"/>
                  </a:cubicBezTo>
                  <a:cubicBezTo>
                    <a:pt x="1051224" y="1039751"/>
                    <a:pt x="734586" y="1356389"/>
                    <a:pt x="343993" y="1356389"/>
                  </a:cubicBezTo>
                  <a:cubicBezTo>
                    <a:pt x="246345" y="1356389"/>
                    <a:pt x="153319" y="1336599"/>
                    <a:pt x="68707" y="1300812"/>
                  </a:cubicBezTo>
                  <a:lnTo>
                    <a:pt x="0" y="1263518"/>
                  </a:lnTo>
                  <a:lnTo>
                    <a:pt x="46310" y="1169727"/>
                  </a:lnTo>
                  <a:lnTo>
                    <a:pt x="109576" y="1204067"/>
                  </a:lnTo>
                  <a:cubicBezTo>
                    <a:pt x="181627" y="1234541"/>
                    <a:pt x="260842" y="1251393"/>
                    <a:pt x="343993" y="1251393"/>
                  </a:cubicBezTo>
                  <a:cubicBezTo>
                    <a:pt x="676598" y="1251393"/>
                    <a:pt x="946228" y="981763"/>
                    <a:pt x="946228" y="649158"/>
                  </a:cubicBezTo>
                  <a:cubicBezTo>
                    <a:pt x="946228" y="399705"/>
                    <a:pt x="794561" y="185674"/>
                    <a:pt x="578410" y="94250"/>
                  </a:cubicBezTo>
                  <a:lnTo>
                    <a:pt x="577481" y="9396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a:lnSpc>
                  <a:spcPct val="90000"/>
                </a:lnSpc>
                <a:buFont typeface="Wingdings 3" panose="05040102010807070707" pitchFamily="18" charset="2"/>
                <a:buChar char="Æ"/>
              </a:pPr>
              <a:endParaRPr lang="en-IN" sz="2000" b="1" dirty="0" err="1" smtClean="0">
                <a:solidFill>
                  <a:srgbClr val="FFFFFF"/>
                </a:solidFill>
                <a:latin typeface="Segoe UI Light"/>
                <a:ea typeface="Segoe UI" pitchFamily="34" charset="0"/>
                <a:cs typeface="Segoe UI" pitchFamily="34" charset="0"/>
              </a:endParaRPr>
            </a:p>
          </p:txBody>
        </p:sp>
      </p:grpSp>
      <p:grpSp>
        <p:nvGrpSpPr>
          <p:cNvPr id="3" name="Group 2"/>
          <p:cNvGrpSpPr/>
          <p:nvPr/>
        </p:nvGrpSpPr>
        <p:grpSpPr>
          <a:xfrm>
            <a:off x="4197176" y="2126069"/>
            <a:ext cx="7390150" cy="3657600"/>
            <a:chOff x="4197176" y="2126069"/>
            <a:chExt cx="7390150" cy="3657600"/>
          </a:xfrm>
        </p:grpSpPr>
        <p:sp>
          <p:nvSpPr>
            <p:cNvPr id="25" name="TextBox 24"/>
            <p:cNvSpPr txBox="1"/>
            <p:nvPr/>
          </p:nvSpPr>
          <p:spPr>
            <a:xfrm>
              <a:off x="7929726" y="2126069"/>
              <a:ext cx="3657600" cy="3657600"/>
            </a:xfrm>
            <a:prstGeom prst="rect">
              <a:avLst/>
            </a:prstGeom>
            <a:solidFill>
              <a:schemeClr val="accent1"/>
            </a:solidFill>
          </p:spPr>
          <p:txBody>
            <a:bodyPr wrap="square" lIns="182880" tIns="146304" rIns="182880" bIns="146304" rtlCol="0">
              <a:noAutofit/>
            </a:bodyPr>
            <a:lstStyle/>
            <a:p>
              <a:pPr defTabSz="932688">
                <a:lnSpc>
                  <a:spcPct val="90000"/>
                </a:lnSpc>
              </a:pPr>
              <a:r>
                <a:rPr lang="en-US" sz="4000" spc="-30" dirty="0" err="1" smtClean="0">
                  <a:gradFill>
                    <a:gsLst>
                      <a:gs pos="77483">
                        <a:srgbClr val="FFFFFF"/>
                      </a:gs>
                      <a:gs pos="62252">
                        <a:srgbClr val="FFFFFF"/>
                      </a:gs>
                    </a:gsLst>
                    <a:lin ang="5400000" scaled="0"/>
                  </a:gradFill>
                  <a:latin typeface="Segoe UI Light"/>
                </a:rPr>
                <a:t>Scénarios</a:t>
              </a:r>
              <a:r>
                <a:rPr lang="en-US" sz="4000" spc="-30" dirty="0" smtClean="0">
                  <a:gradFill>
                    <a:gsLst>
                      <a:gs pos="77483">
                        <a:srgbClr val="FFFFFF"/>
                      </a:gs>
                      <a:gs pos="62252">
                        <a:srgbClr val="FFFFFF"/>
                      </a:gs>
                    </a:gsLst>
                    <a:lin ang="5400000" scaled="0"/>
                  </a:gradFill>
                  <a:latin typeface="Segoe UI Light"/>
                </a:rPr>
                <a:t> </a:t>
              </a:r>
              <a:r>
                <a:rPr lang="en-US" sz="4000" spc="-30" dirty="0" err="1" smtClean="0">
                  <a:gradFill>
                    <a:gsLst>
                      <a:gs pos="77483">
                        <a:srgbClr val="FFFFFF"/>
                      </a:gs>
                      <a:gs pos="62252">
                        <a:srgbClr val="FFFFFF"/>
                      </a:gs>
                    </a:gsLst>
                    <a:lin ang="5400000" scaled="0"/>
                  </a:gradFill>
                  <a:latin typeface="Segoe UI Light"/>
                </a:rPr>
                <a:t>Hybride</a:t>
              </a:r>
              <a:endParaRPr lang="en-US" sz="4000" spc="-30" dirty="0">
                <a:gradFill>
                  <a:gsLst>
                    <a:gs pos="77483">
                      <a:srgbClr val="FFFFFF"/>
                    </a:gs>
                    <a:gs pos="62252">
                      <a:srgbClr val="FFFFFF"/>
                    </a:gs>
                  </a:gsLst>
                  <a:lin ang="5400000" scaled="0"/>
                </a:gradFill>
                <a:latin typeface="Segoe UI Light"/>
              </a:endParaRPr>
            </a:p>
          </p:txBody>
        </p:sp>
        <p:sp>
          <p:nvSpPr>
            <p:cNvPr id="36" name="TextBox 35"/>
            <p:cNvSpPr txBox="1"/>
            <p:nvPr/>
          </p:nvSpPr>
          <p:spPr>
            <a:xfrm>
              <a:off x="4197176" y="2126070"/>
              <a:ext cx="3657600" cy="3657599"/>
            </a:xfrm>
            <a:prstGeom prst="rect">
              <a:avLst/>
            </a:prstGeom>
            <a:solidFill>
              <a:schemeClr val="accent5"/>
            </a:solidFill>
          </p:spPr>
          <p:txBody>
            <a:bodyPr wrap="square" lIns="182880" tIns="146304" rIns="182880" bIns="146304" rtlCol="0">
              <a:noAutofit/>
            </a:bodyPr>
            <a:lstStyle/>
            <a:p>
              <a:pPr defTabSz="932688">
                <a:lnSpc>
                  <a:spcPct val="90000"/>
                </a:lnSpc>
              </a:pPr>
              <a:r>
                <a:rPr lang="en-US" sz="4000" spc="-30" dirty="0" smtClean="0">
                  <a:gradFill>
                    <a:gsLst>
                      <a:gs pos="77483">
                        <a:srgbClr val="FFFFFF"/>
                      </a:gs>
                      <a:gs pos="62252">
                        <a:srgbClr val="FFFFFF"/>
                      </a:gs>
                    </a:gsLst>
                    <a:lin ang="5400000" scaled="0"/>
                  </a:gradFill>
                  <a:latin typeface="Segoe UI Light"/>
                </a:rPr>
                <a:t>Analyses des </a:t>
              </a:r>
              <a:r>
                <a:rPr lang="en-US" sz="4000" spc="-30" dirty="0" err="1" smtClean="0">
                  <a:gradFill>
                    <a:gsLst>
                      <a:gs pos="77483">
                        <a:srgbClr val="FFFFFF"/>
                      </a:gs>
                      <a:gs pos="62252">
                        <a:srgbClr val="FFFFFF"/>
                      </a:gs>
                    </a:gsLst>
                    <a:lin ang="5400000" scaled="0"/>
                  </a:gradFill>
                  <a:latin typeface="Segoe UI Light"/>
                </a:rPr>
                <a:t>données</a:t>
              </a:r>
              <a:endParaRPr lang="en-US" sz="2800" b="1" spc="-30" dirty="0">
                <a:gradFill>
                  <a:gsLst>
                    <a:gs pos="2917">
                      <a:srgbClr val="FFFFFF"/>
                    </a:gs>
                    <a:gs pos="100000">
                      <a:srgbClr val="FFFFFF"/>
                    </a:gs>
                  </a:gsLst>
                  <a:lin ang="5400000" scaled="0"/>
                </a:gradFill>
                <a:latin typeface="Segoe UI Light"/>
              </a:endParaRPr>
            </a:p>
          </p:txBody>
        </p:sp>
        <p:grpSp>
          <p:nvGrpSpPr>
            <p:cNvPr id="2" name="Group 1"/>
            <p:cNvGrpSpPr/>
            <p:nvPr/>
          </p:nvGrpSpPr>
          <p:grpSpPr>
            <a:xfrm>
              <a:off x="5252628" y="3882326"/>
              <a:ext cx="5800606" cy="1666783"/>
              <a:chOff x="5252628" y="3882326"/>
              <a:chExt cx="5800606" cy="1666783"/>
            </a:xfrm>
          </p:grpSpPr>
          <p:sp>
            <p:nvSpPr>
              <p:cNvPr id="119" name="Freeform 118"/>
              <p:cNvSpPr/>
              <p:nvPr/>
            </p:nvSpPr>
            <p:spPr bwMode="auto">
              <a:xfrm>
                <a:off x="8512352" y="3954868"/>
                <a:ext cx="2540882" cy="1594241"/>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chemeClr val="bg1">
                  <a:alpha val="2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pPr>
                <a:endParaRPr lang="en-IN" sz="2000" b="1" dirty="0" smtClean="0">
                  <a:solidFill>
                    <a:srgbClr val="FFFFFF"/>
                  </a:solidFill>
                  <a:latin typeface="Segoe UI Light"/>
                  <a:ea typeface="Segoe UI" pitchFamily="34" charset="0"/>
                  <a:cs typeface="Segoe UI" pitchFamily="34" charset="0"/>
                </a:endParaRPr>
              </a:p>
            </p:txBody>
          </p:sp>
          <p:grpSp>
            <p:nvGrpSpPr>
              <p:cNvPr id="148" name="Group 147"/>
              <p:cNvGrpSpPr/>
              <p:nvPr/>
            </p:nvGrpSpPr>
            <p:grpSpPr>
              <a:xfrm>
                <a:off x="5252628" y="3882326"/>
                <a:ext cx="1620171" cy="1620172"/>
                <a:chOff x="11092177" y="4747627"/>
                <a:chExt cx="540526" cy="540526"/>
              </a:xfrm>
            </p:grpSpPr>
            <p:sp>
              <p:nvSpPr>
                <p:cNvPr id="149" name="Freeform 186"/>
                <p:cNvSpPr>
                  <a:spLocks/>
                </p:cNvSpPr>
                <p:nvPr/>
              </p:nvSpPr>
              <p:spPr bwMode="auto">
                <a:xfrm>
                  <a:off x="11092177" y="4747627"/>
                  <a:ext cx="540526" cy="540526"/>
                </a:xfrm>
                <a:prstGeom prst="ellipse">
                  <a:avLst/>
                </a:prstGeom>
                <a:solidFill>
                  <a:schemeClr val="bg1">
                    <a:alpha val="28000"/>
                  </a:schemeClr>
                </a:solidFill>
                <a:ln>
                  <a:noFill/>
                </a:ln>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150" name="Freeform 187"/>
                <p:cNvSpPr>
                  <a:spLocks noEditPoints="1"/>
                </p:cNvSpPr>
                <p:nvPr/>
              </p:nvSpPr>
              <p:spPr bwMode="auto">
                <a:xfrm>
                  <a:off x="11185499" y="4841873"/>
                  <a:ext cx="352959" cy="352035"/>
                </a:xfrm>
                <a:prstGeom prst="ellipse">
                  <a:avLst/>
                </a:prstGeom>
                <a:solidFill>
                  <a:schemeClr val="bg1">
                    <a:alpha val="51000"/>
                  </a:schemeClr>
                </a:solidFill>
                <a:ln>
                  <a:noFill/>
                </a:ln>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grpSp>
              <p:nvGrpSpPr>
                <p:cNvPr id="151" name="Group 150"/>
                <p:cNvGrpSpPr/>
                <p:nvPr/>
              </p:nvGrpSpPr>
              <p:grpSpPr>
                <a:xfrm>
                  <a:off x="11258851" y="4915585"/>
                  <a:ext cx="207178" cy="289828"/>
                  <a:chOff x="-2260600" y="4106863"/>
                  <a:chExt cx="298450" cy="417513"/>
                </a:xfrm>
              </p:grpSpPr>
              <p:sp>
                <p:nvSpPr>
                  <p:cNvPr id="152" name="Freeform 188"/>
                  <p:cNvSpPr>
                    <a:spLocks/>
                  </p:cNvSpPr>
                  <p:nvPr/>
                </p:nvSpPr>
                <p:spPr bwMode="auto">
                  <a:xfrm>
                    <a:off x="-2260600" y="4106863"/>
                    <a:ext cx="298450" cy="376238"/>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153" name="Freeform 192"/>
                  <p:cNvSpPr>
                    <a:spLocks noEditPoints="1"/>
                  </p:cNvSpPr>
                  <p:nvPr/>
                </p:nvSpPr>
                <p:spPr bwMode="auto">
                  <a:xfrm>
                    <a:off x="-2260600" y="4254501"/>
                    <a:ext cx="230188" cy="198438"/>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EA8C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154" name="Rectangle 194"/>
                  <p:cNvSpPr>
                    <a:spLocks noChangeArrowheads="1"/>
                  </p:cNvSpPr>
                  <p:nvPr/>
                </p:nvSpPr>
                <p:spPr bwMode="auto">
                  <a:xfrm>
                    <a:off x="-2168525" y="4452938"/>
                    <a:ext cx="114300" cy="71438"/>
                  </a:xfrm>
                  <a:prstGeom prst="rect">
                    <a:avLst/>
                  </a:prstGeom>
                  <a:solidFill>
                    <a:schemeClr val="bg2">
                      <a:lumMod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156" name="Freeform 193"/>
                  <p:cNvSpPr>
                    <a:spLocks/>
                  </p:cNvSpPr>
                  <p:nvPr/>
                </p:nvSpPr>
                <p:spPr bwMode="auto">
                  <a:xfrm>
                    <a:off x="-2260600" y="4179888"/>
                    <a:ext cx="230188" cy="276225"/>
                  </a:xfrm>
                  <a:custGeom>
                    <a:avLst/>
                    <a:gdLst>
                      <a:gd name="T0" fmla="*/ 28 w 308"/>
                      <a:gd name="T1" fmla="*/ 0 h 370"/>
                      <a:gd name="T2" fmla="*/ 0 w 308"/>
                      <a:gd name="T3" fmla="*/ 100 h 370"/>
                      <a:gd name="T4" fmla="*/ 0 w 308"/>
                      <a:gd name="T5" fmla="*/ 100 h 370"/>
                      <a:gd name="T6" fmla="*/ 0 w 308"/>
                      <a:gd name="T7" fmla="*/ 100 h 370"/>
                      <a:gd name="T8" fmla="*/ 0 w 308"/>
                      <a:gd name="T9" fmla="*/ 100 h 370"/>
                      <a:gd name="T10" fmla="*/ 0 w 308"/>
                      <a:gd name="T11" fmla="*/ 100 h 370"/>
                      <a:gd name="T12" fmla="*/ 0 w 308"/>
                      <a:gd name="T13" fmla="*/ 100 h 370"/>
                      <a:gd name="T14" fmla="*/ 0 w 308"/>
                      <a:gd name="T15" fmla="*/ 101 h 370"/>
                      <a:gd name="T16" fmla="*/ 0 w 308"/>
                      <a:gd name="T17" fmla="*/ 101 h 370"/>
                      <a:gd name="T18" fmla="*/ 60 w 308"/>
                      <a:gd name="T19" fmla="*/ 243 h 370"/>
                      <a:gd name="T20" fmla="*/ 60 w 308"/>
                      <a:gd name="T21" fmla="*/ 243 h 370"/>
                      <a:gd name="T22" fmla="*/ 60 w 308"/>
                      <a:gd name="T23" fmla="*/ 243 h 370"/>
                      <a:gd name="T24" fmla="*/ 60 w 308"/>
                      <a:gd name="T25" fmla="*/ 243 h 370"/>
                      <a:gd name="T26" fmla="*/ 122 w 308"/>
                      <a:gd name="T27" fmla="*/ 370 h 370"/>
                      <a:gd name="T28" fmla="*/ 276 w 308"/>
                      <a:gd name="T29" fmla="*/ 367 h 370"/>
                      <a:gd name="T30" fmla="*/ 276 w 308"/>
                      <a:gd name="T31" fmla="*/ 367 h 370"/>
                      <a:gd name="T32" fmla="*/ 276 w 308"/>
                      <a:gd name="T33" fmla="*/ 367 h 370"/>
                      <a:gd name="T34" fmla="*/ 276 w 308"/>
                      <a:gd name="T35" fmla="*/ 361 h 370"/>
                      <a:gd name="T36" fmla="*/ 308 w 308"/>
                      <a:gd name="T37" fmla="*/ 280 h 370"/>
                      <a:gd name="T38" fmla="*/ 28 w 308"/>
                      <a:gd name="T39"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70">
                        <a:moveTo>
                          <a:pt x="28" y="0"/>
                        </a:moveTo>
                        <a:cubicBezTo>
                          <a:pt x="10" y="29"/>
                          <a:pt x="0" y="63"/>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1"/>
                          <a:pt x="0" y="101"/>
                          <a:pt x="0" y="101"/>
                        </a:cubicBezTo>
                        <a:cubicBezTo>
                          <a:pt x="0" y="101"/>
                          <a:pt x="0" y="101"/>
                          <a:pt x="0" y="101"/>
                        </a:cubicBezTo>
                        <a:cubicBezTo>
                          <a:pt x="0" y="157"/>
                          <a:pt x="23" y="207"/>
                          <a:pt x="60" y="243"/>
                        </a:cubicBezTo>
                        <a:cubicBezTo>
                          <a:pt x="60" y="243"/>
                          <a:pt x="60" y="243"/>
                          <a:pt x="60" y="243"/>
                        </a:cubicBezTo>
                        <a:cubicBezTo>
                          <a:pt x="60" y="243"/>
                          <a:pt x="60" y="243"/>
                          <a:pt x="60" y="243"/>
                        </a:cubicBezTo>
                        <a:cubicBezTo>
                          <a:pt x="60" y="243"/>
                          <a:pt x="60" y="243"/>
                          <a:pt x="60" y="243"/>
                        </a:cubicBezTo>
                        <a:cubicBezTo>
                          <a:pt x="120" y="304"/>
                          <a:pt x="122" y="370"/>
                          <a:pt x="122" y="370"/>
                        </a:cubicBezTo>
                        <a:cubicBezTo>
                          <a:pt x="276" y="367"/>
                          <a:pt x="276" y="367"/>
                          <a:pt x="276" y="367"/>
                        </a:cubicBezTo>
                        <a:cubicBezTo>
                          <a:pt x="276" y="367"/>
                          <a:pt x="276" y="367"/>
                          <a:pt x="276" y="367"/>
                        </a:cubicBezTo>
                        <a:cubicBezTo>
                          <a:pt x="276" y="367"/>
                          <a:pt x="276" y="367"/>
                          <a:pt x="276" y="367"/>
                        </a:cubicBezTo>
                        <a:cubicBezTo>
                          <a:pt x="276" y="366"/>
                          <a:pt x="276" y="364"/>
                          <a:pt x="276" y="361"/>
                        </a:cubicBezTo>
                        <a:cubicBezTo>
                          <a:pt x="279" y="346"/>
                          <a:pt x="286" y="314"/>
                          <a:pt x="308" y="280"/>
                        </a:cubicBezTo>
                        <a:cubicBezTo>
                          <a:pt x="28" y="0"/>
                          <a:pt x="28" y="0"/>
                          <a:pt x="28" y="0"/>
                        </a:cubicBezTo>
                      </a:path>
                    </a:pathLst>
                  </a:custGeom>
                  <a:solidFill>
                    <a:srgbClr val="F2F2F2">
                      <a:alpha val="49000"/>
                    </a:srgbClr>
                  </a:solidFill>
                  <a:ln>
                    <a:noFill/>
                  </a:ln>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grpSp>
          </p:grpSp>
          <p:sp>
            <p:nvSpPr>
              <p:cNvPr id="120" name="Freeform 119"/>
              <p:cNvSpPr>
                <a:spLocks noChangeAspect="1"/>
              </p:cNvSpPr>
              <p:nvPr/>
            </p:nvSpPr>
            <p:spPr bwMode="auto">
              <a:xfrm>
                <a:off x="8887465" y="4250219"/>
                <a:ext cx="1787491" cy="1131942"/>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chemeClr val="bg1">
                  <a:alpha val="4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pPr>
                <a:endParaRPr lang="en-IN" sz="2000" b="1" dirty="0" smtClean="0">
                  <a:solidFill>
                    <a:srgbClr val="FFFFFF"/>
                  </a:solidFill>
                  <a:latin typeface="Segoe UI Light"/>
                  <a:ea typeface="Segoe UI" pitchFamily="34" charset="0"/>
                  <a:cs typeface="Segoe UI" pitchFamily="34" charset="0"/>
                </a:endParaRPr>
              </a:p>
            </p:txBody>
          </p:sp>
          <p:sp>
            <p:nvSpPr>
              <p:cNvPr id="121" name="Freeform 120"/>
              <p:cNvSpPr>
                <a:spLocks noChangeAspect="1"/>
              </p:cNvSpPr>
              <p:nvPr/>
            </p:nvSpPr>
            <p:spPr bwMode="auto">
              <a:xfrm>
                <a:off x="9217419" y="4491382"/>
                <a:ext cx="1130749" cy="716056"/>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chemeClr val="bg1">
                  <a:alpha val="3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pPr>
                <a:endParaRPr lang="en-IN" sz="2000" b="1" dirty="0" smtClean="0">
                  <a:solidFill>
                    <a:srgbClr val="FFFFFF"/>
                  </a:solidFill>
                  <a:latin typeface="Segoe UI Light"/>
                  <a:ea typeface="Segoe UI" pitchFamily="34" charset="0"/>
                  <a:cs typeface="Segoe UI" pitchFamily="34" charset="0"/>
                </a:endParaRPr>
              </a:p>
            </p:txBody>
          </p:sp>
          <p:sp>
            <p:nvSpPr>
              <p:cNvPr id="122" name="Freeform 121"/>
              <p:cNvSpPr>
                <a:spLocks noChangeAspect="1"/>
              </p:cNvSpPr>
              <p:nvPr/>
            </p:nvSpPr>
            <p:spPr bwMode="auto">
              <a:xfrm>
                <a:off x="9458905" y="4676098"/>
                <a:ext cx="647777" cy="410210"/>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chemeClr val="bg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pPr>
                <a:endParaRPr lang="en-IN" sz="2000" b="1" dirty="0" smtClean="0">
                  <a:solidFill>
                    <a:srgbClr val="FFFFFF"/>
                  </a:solidFill>
                  <a:latin typeface="Segoe UI Light"/>
                  <a:ea typeface="Segoe UI" pitchFamily="34" charset="0"/>
                  <a:cs typeface="Segoe UI" pitchFamily="34" charset="0"/>
                </a:endParaRPr>
              </a:p>
            </p:txBody>
          </p:sp>
        </p:grpSp>
      </p:grpSp>
      <p:sp>
        <p:nvSpPr>
          <p:cNvPr id="4" name="Title 3"/>
          <p:cNvSpPr>
            <a:spLocks noGrp="1"/>
          </p:cNvSpPr>
          <p:nvPr>
            <p:ph type="title"/>
          </p:nvPr>
        </p:nvSpPr>
        <p:spPr/>
        <p:txBody>
          <a:bodyPr/>
          <a:lstStyle/>
          <a:p>
            <a:r>
              <a:rPr lang="fr-FR" dirty="0" smtClean="0"/>
              <a:t>SQL Server 2016</a:t>
            </a:r>
            <a:endParaRPr lang="fr-FR" dirty="0"/>
          </a:p>
        </p:txBody>
      </p:sp>
      <p:sp>
        <p:nvSpPr>
          <p:cNvPr id="7" name="Text Placeholder 6"/>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spTree>
    <p:extLst>
      <p:ext uri="{BB962C8B-B14F-4D97-AF65-F5344CB8AC3E}">
        <p14:creationId xmlns:p14="http://schemas.microsoft.com/office/powerpoint/2010/main" val="3385443473"/>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9" name="Rectangle 168"/>
          <p:cNvSpPr/>
          <p:nvPr/>
        </p:nvSpPr>
        <p:spPr bwMode="auto">
          <a:xfrm>
            <a:off x="405598" y="2006599"/>
            <a:ext cx="7193729" cy="434125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1954"/>
            <a:endParaRPr lang="en-US" dirty="0">
              <a:ln>
                <a:solidFill>
                  <a:srgbClr val="FFFFFF">
                    <a:alpha val="0"/>
                  </a:srgbClr>
                </a:solidFill>
              </a:ln>
              <a:solidFill>
                <a:srgbClr val="C00000"/>
              </a:solidFill>
              <a:latin typeface="Segoe UI Light"/>
              <a:ea typeface="Segoe UI" pitchFamily="34" charset="0"/>
              <a:cs typeface="Segoe UI" pitchFamily="34" charset="0"/>
            </a:endParaRPr>
          </a:p>
        </p:txBody>
      </p:sp>
      <p:grpSp>
        <p:nvGrpSpPr>
          <p:cNvPr id="347" name="Group 346"/>
          <p:cNvGrpSpPr/>
          <p:nvPr/>
        </p:nvGrpSpPr>
        <p:grpSpPr>
          <a:xfrm>
            <a:off x="988290" y="3950534"/>
            <a:ext cx="1481293" cy="1601550"/>
            <a:chOff x="4396740" y="1322030"/>
            <a:chExt cx="4371164" cy="4726034"/>
          </a:xfrm>
        </p:grpSpPr>
        <p:sp>
          <p:nvSpPr>
            <p:cNvPr id="348" name="Freeform 347"/>
            <p:cNvSpPr/>
            <p:nvPr/>
          </p:nvSpPr>
          <p:spPr>
            <a:xfrm>
              <a:off x="4396740" y="3644741"/>
              <a:ext cx="3879533" cy="2087880"/>
            </a:xfrm>
            <a:custGeom>
              <a:avLst/>
              <a:gdLst>
                <a:gd name="connsiteX0" fmla="*/ 1264920 w 3855720"/>
                <a:gd name="connsiteY0" fmla="*/ 0 h 2087880"/>
                <a:gd name="connsiteX1" fmla="*/ 0 w 3855720"/>
                <a:gd name="connsiteY1" fmla="*/ 975360 h 2087880"/>
                <a:gd name="connsiteX2" fmla="*/ 2674620 w 3855720"/>
                <a:gd name="connsiteY2" fmla="*/ 2087880 h 2087880"/>
                <a:gd name="connsiteX3" fmla="*/ 3855720 w 3855720"/>
                <a:gd name="connsiteY3" fmla="*/ 1234440 h 2087880"/>
                <a:gd name="connsiteX4" fmla="*/ 1264920 w 3855720"/>
                <a:gd name="connsiteY4" fmla="*/ 0 h 2087880"/>
                <a:gd name="connsiteX0" fmla="*/ 1264920 w 3879533"/>
                <a:gd name="connsiteY0" fmla="*/ 0 h 2087880"/>
                <a:gd name="connsiteX1" fmla="*/ 0 w 3879533"/>
                <a:gd name="connsiteY1" fmla="*/ 975360 h 2087880"/>
                <a:gd name="connsiteX2" fmla="*/ 2674620 w 3879533"/>
                <a:gd name="connsiteY2" fmla="*/ 2087880 h 2087880"/>
                <a:gd name="connsiteX3" fmla="*/ 3879533 w 3879533"/>
                <a:gd name="connsiteY3" fmla="*/ 1239203 h 2087880"/>
                <a:gd name="connsiteX4" fmla="*/ 1264920 w 3879533"/>
                <a:gd name="connsiteY4" fmla="*/ 0 h 20878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79533" h="2087880">
                  <a:moveTo>
                    <a:pt x="1264920" y="0"/>
                  </a:moveTo>
                  <a:lnTo>
                    <a:pt x="0" y="975360"/>
                  </a:lnTo>
                  <a:lnTo>
                    <a:pt x="2674620" y="2087880"/>
                  </a:lnTo>
                  <a:lnTo>
                    <a:pt x="3879533" y="1239203"/>
                  </a:lnTo>
                  <a:lnTo>
                    <a:pt x="126492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FFFF"/>
                </a:solidFill>
              </a:endParaRPr>
            </a:p>
          </p:txBody>
        </p:sp>
        <p:sp>
          <p:nvSpPr>
            <p:cNvPr id="349" name="Freeform 348"/>
            <p:cNvSpPr/>
            <p:nvPr/>
          </p:nvSpPr>
          <p:spPr>
            <a:xfrm>
              <a:off x="4399302" y="4619624"/>
              <a:ext cx="2656818" cy="1428440"/>
            </a:xfrm>
            <a:custGeom>
              <a:avLst/>
              <a:gdLst>
                <a:gd name="connsiteX0" fmla="*/ 0 w 2656818"/>
                <a:gd name="connsiteY0" fmla="*/ 0 h 1428440"/>
                <a:gd name="connsiteX1" fmla="*/ 2656818 w 2656818"/>
                <a:gd name="connsiteY1" fmla="*/ 1102700 h 1428440"/>
                <a:gd name="connsiteX2" fmla="*/ 2656818 w 2656818"/>
                <a:gd name="connsiteY2" fmla="*/ 1428440 h 1428440"/>
                <a:gd name="connsiteX3" fmla="*/ 8390 w 2656818"/>
                <a:gd name="connsiteY3" fmla="*/ 1044416 h 1428440"/>
                <a:gd name="connsiteX4" fmla="*/ 0 w 2656818"/>
                <a:gd name="connsiteY4" fmla="*/ 0 h 1428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6818" h="1428440">
                  <a:moveTo>
                    <a:pt x="0" y="0"/>
                  </a:moveTo>
                  <a:lnTo>
                    <a:pt x="2656818" y="1102700"/>
                  </a:lnTo>
                  <a:lnTo>
                    <a:pt x="2656818" y="1428440"/>
                  </a:lnTo>
                  <a:lnTo>
                    <a:pt x="8390" y="1044416"/>
                  </a:lnTo>
                  <a:cubicBezTo>
                    <a:pt x="7181" y="695484"/>
                    <a:pt x="1209" y="348932"/>
                    <a:pt x="0" y="0"/>
                  </a:cubicBezTo>
                  <a:close/>
                </a:path>
              </a:pathLst>
            </a:cu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FFFF"/>
                </a:solidFill>
              </a:endParaRPr>
            </a:p>
          </p:txBody>
        </p:sp>
        <p:sp>
          <p:nvSpPr>
            <p:cNvPr id="350" name="Freeform 349"/>
            <p:cNvSpPr/>
            <p:nvPr/>
          </p:nvSpPr>
          <p:spPr>
            <a:xfrm>
              <a:off x="7056120" y="4884422"/>
              <a:ext cx="1211580" cy="1162003"/>
            </a:xfrm>
            <a:custGeom>
              <a:avLst/>
              <a:gdLst>
                <a:gd name="connsiteX0" fmla="*/ 1211580 w 1211580"/>
                <a:gd name="connsiteY0" fmla="*/ 0 h 1162003"/>
                <a:gd name="connsiteX1" fmla="*/ 1211580 w 1211580"/>
                <a:gd name="connsiteY1" fmla="*/ 297180 h 1162003"/>
                <a:gd name="connsiteX2" fmla="*/ 0 w 1211580"/>
                <a:gd name="connsiteY2" fmla="*/ 1162003 h 1162003"/>
                <a:gd name="connsiteX3" fmla="*/ 0 w 1211580"/>
                <a:gd name="connsiteY3" fmla="*/ 837498 h 1162003"/>
              </a:gdLst>
              <a:ahLst/>
              <a:cxnLst>
                <a:cxn ang="0">
                  <a:pos x="connsiteX0" y="connsiteY0"/>
                </a:cxn>
                <a:cxn ang="0">
                  <a:pos x="connsiteX1" y="connsiteY1"/>
                </a:cxn>
                <a:cxn ang="0">
                  <a:pos x="connsiteX2" y="connsiteY2"/>
                </a:cxn>
                <a:cxn ang="0">
                  <a:pos x="connsiteX3" y="connsiteY3"/>
                </a:cxn>
              </a:cxnLst>
              <a:rect l="l" t="t" r="r" b="b"/>
              <a:pathLst>
                <a:path w="1211580" h="1162003">
                  <a:moveTo>
                    <a:pt x="1211580" y="0"/>
                  </a:moveTo>
                  <a:lnTo>
                    <a:pt x="1211580" y="297180"/>
                  </a:lnTo>
                  <a:lnTo>
                    <a:pt x="0" y="1162003"/>
                  </a:lnTo>
                  <a:lnTo>
                    <a:pt x="0" y="837498"/>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FFFF"/>
                </a:solidFill>
              </a:endParaRPr>
            </a:p>
          </p:txBody>
        </p:sp>
        <p:sp>
          <p:nvSpPr>
            <p:cNvPr id="351" name="Freeform 350"/>
            <p:cNvSpPr/>
            <p:nvPr/>
          </p:nvSpPr>
          <p:spPr>
            <a:xfrm>
              <a:off x="5029200" y="4424361"/>
              <a:ext cx="1758791" cy="1008664"/>
            </a:xfrm>
            <a:custGeom>
              <a:avLst/>
              <a:gdLst>
                <a:gd name="connsiteX0" fmla="*/ 0 w 1758791"/>
                <a:gd name="connsiteY0" fmla="*/ 0 h 1008664"/>
                <a:gd name="connsiteX1" fmla="*/ 1758791 w 1758791"/>
                <a:gd name="connsiteY1" fmla="*/ 901075 h 1008664"/>
                <a:gd name="connsiteX2" fmla="*/ 1758791 w 1758791"/>
                <a:gd name="connsiteY2" fmla="*/ 1008664 h 1008664"/>
                <a:gd name="connsiteX3" fmla="*/ 952 w 1758791"/>
                <a:gd name="connsiteY3" fmla="*/ 237173 h 1008664"/>
                <a:gd name="connsiteX4" fmla="*/ 0 w 1758791"/>
                <a:gd name="connsiteY4" fmla="*/ 0 h 10086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8791" h="1008664">
                  <a:moveTo>
                    <a:pt x="0" y="0"/>
                  </a:moveTo>
                  <a:lnTo>
                    <a:pt x="1758791" y="901075"/>
                  </a:lnTo>
                  <a:lnTo>
                    <a:pt x="1758791" y="1008664"/>
                  </a:lnTo>
                  <a:lnTo>
                    <a:pt x="952" y="237173"/>
                  </a:lnTo>
                  <a:cubicBezTo>
                    <a:pt x="635" y="143828"/>
                    <a:pt x="317" y="93345"/>
                    <a:pt x="0" y="0"/>
                  </a:cubicBez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FFFF"/>
                </a:solidFill>
              </a:endParaRPr>
            </a:p>
          </p:txBody>
        </p:sp>
        <p:sp>
          <p:nvSpPr>
            <p:cNvPr id="352" name="Freeform 351"/>
            <p:cNvSpPr/>
            <p:nvPr/>
          </p:nvSpPr>
          <p:spPr>
            <a:xfrm>
              <a:off x="6787991" y="5207128"/>
              <a:ext cx="211456" cy="221934"/>
            </a:xfrm>
            <a:custGeom>
              <a:avLst/>
              <a:gdLst>
                <a:gd name="connsiteX0" fmla="*/ 211456 w 211456"/>
                <a:gd name="connsiteY0" fmla="*/ 0 h 207210"/>
                <a:gd name="connsiteX1" fmla="*/ 192039 w 211456"/>
                <a:gd name="connsiteY1" fmla="*/ 106203 h 207210"/>
                <a:gd name="connsiteX2" fmla="*/ 0 w 211456"/>
                <a:gd name="connsiteY2" fmla="*/ 207210 h 207210"/>
                <a:gd name="connsiteX3" fmla="*/ 0 w 211456"/>
                <a:gd name="connsiteY3" fmla="*/ 114482 h 207210"/>
                <a:gd name="connsiteX0" fmla="*/ 211456 w 211456"/>
                <a:gd name="connsiteY0" fmla="*/ 0 h 207210"/>
                <a:gd name="connsiteX1" fmla="*/ 196801 w 211456"/>
                <a:gd name="connsiteY1" fmla="*/ 95087 h 207210"/>
                <a:gd name="connsiteX2" fmla="*/ 0 w 211456"/>
                <a:gd name="connsiteY2" fmla="*/ 207210 h 207210"/>
                <a:gd name="connsiteX3" fmla="*/ 0 w 211456"/>
                <a:gd name="connsiteY3" fmla="*/ 114482 h 207210"/>
                <a:gd name="connsiteX4" fmla="*/ 211456 w 211456"/>
                <a:gd name="connsiteY4" fmla="*/ 0 h 207210"/>
                <a:gd name="connsiteX0" fmla="*/ 211456 w 211456"/>
                <a:gd name="connsiteY0" fmla="*/ 0 h 207210"/>
                <a:gd name="connsiteX1" fmla="*/ 206326 w 211456"/>
                <a:gd name="connsiteY1" fmla="*/ 88417 h 207210"/>
                <a:gd name="connsiteX2" fmla="*/ 0 w 211456"/>
                <a:gd name="connsiteY2" fmla="*/ 207210 h 207210"/>
                <a:gd name="connsiteX3" fmla="*/ 0 w 211456"/>
                <a:gd name="connsiteY3" fmla="*/ 114482 h 207210"/>
                <a:gd name="connsiteX4" fmla="*/ 211456 w 211456"/>
                <a:gd name="connsiteY4" fmla="*/ 0 h 207210"/>
                <a:gd name="connsiteX0" fmla="*/ 211456 w 211456"/>
                <a:gd name="connsiteY0" fmla="*/ 0 h 207210"/>
                <a:gd name="connsiteX1" fmla="*/ 206326 w 211456"/>
                <a:gd name="connsiteY1" fmla="*/ 88417 h 207210"/>
                <a:gd name="connsiteX2" fmla="*/ 0 w 211456"/>
                <a:gd name="connsiteY2" fmla="*/ 207210 h 207210"/>
                <a:gd name="connsiteX3" fmla="*/ 0 w 211456"/>
                <a:gd name="connsiteY3" fmla="*/ 114482 h 207210"/>
                <a:gd name="connsiteX4" fmla="*/ 211456 w 211456"/>
                <a:gd name="connsiteY4" fmla="*/ 0 h 207210"/>
                <a:gd name="connsiteX0" fmla="*/ 211456 w 211456"/>
                <a:gd name="connsiteY0" fmla="*/ 0 h 207210"/>
                <a:gd name="connsiteX1" fmla="*/ 206326 w 211456"/>
                <a:gd name="connsiteY1" fmla="*/ 88417 h 207210"/>
                <a:gd name="connsiteX2" fmla="*/ 0 w 211456"/>
                <a:gd name="connsiteY2" fmla="*/ 207210 h 207210"/>
                <a:gd name="connsiteX3" fmla="*/ 0 w 211456"/>
                <a:gd name="connsiteY3" fmla="*/ 114482 h 207210"/>
                <a:gd name="connsiteX4" fmla="*/ 211456 w 211456"/>
                <a:gd name="connsiteY4" fmla="*/ 0 h 207210"/>
                <a:gd name="connsiteX0" fmla="*/ 211456 w 211456"/>
                <a:gd name="connsiteY0" fmla="*/ 0 h 207210"/>
                <a:gd name="connsiteX1" fmla="*/ 208707 w 211456"/>
                <a:gd name="connsiteY1" fmla="*/ 86194 h 207210"/>
                <a:gd name="connsiteX2" fmla="*/ 0 w 211456"/>
                <a:gd name="connsiteY2" fmla="*/ 207210 h 207210"/>
                <a:gd name="connsiteX3" fmla="*/ 0 w 211456"/>
                <a:gd name="connsiteY3" fmla="*/ 114482 h 207210"/>
                <a:gd name="connsiteX4" fmla="*/ 211456 w 211456"/>
                <a:gd name="connsiteY4" fmla="*/ 0 h 2072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456" h="207210">
                  <a:moveTo>
                    <a:pt x="211456" y="0"/>
                  </a:moveTo>
                  <a:cubicBezTo>
                    <a:pt x="210540" y="28731"/>
                    <a:pt x="209623" y="57463"/>
                    <a:pt x="208707" y="86194"/>
                  </a:cubicBezTo>
                  <a:lnTo>
                    <a:pt x="0" y="207210"/>
                  </a:lnTo>
                  <a:lnTo>
                    <a:pt x="0" y="114482"/>
                  </a:lnTo>
                  <a:lnTo>
                    <a:pt x="211456" y="0"/>
                  </a:lnTo>
                  <a:close/>
                </a:path>
              </a:pathLst>
            </a:cu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rgbClr val="FFFFFF"/>
                </a:solidFill>
              </a:endParaRPr>
            </a:p>
          </p:txBody>
        </p:sp>
        <p:sp>
          <p:nvSpPr>
            <p:cNvPr id="353" name="Freeform 352"/>
            <p:cNvSpPr/>
            <p:nvPr/>
          </p:nvSpPr>
          <p:spPr>
            <a:xfrm>
              <a:off x="5025866" y="4263389"/>
              <a:ext cx="1969294" cy="1065847"/>
            </a:xfrm>
            <a:custGeom>
              <a:avLst/>
              <a:gdLst>
                <a:gd name="connsiteX0" fmla="*/ 0 w 2019300"/>
                <a:gd name="connsiteY0" fmla="*/ 91440 h 1051560"/>
                <a:gd name="connsiteX1" fmla="*/ 259080 w 2019300"/>
                <a:gd name="connsiteY1" fmla="*/ 0 h 1051560"/>
                <a:gd name="connsiteX2" fmla="*/ 2019300 w 2019300"/>
                <a:gd name="connsiteY2" fmla="*/ 944880 h 1051560"/>
                <a:gd name="connsiteX3" fmla="*/ 1783080 w 2019300"/>
                <a:gd name="connsiteY3" fmla="*/ 1051560 h 1051560"/>
                <a:gd name="connsiteX4" fmla="*/ 0 w 2019300"/>
                <a:gd name="connsiteY4" fmla="*/ 91440 h 1051560"/>
                <a:gd name="connsiteX0" fmla="*/ 0 w 2000250"/>
                <a:gd name="connsiteY0" fmla="*/ 98584 h 1051560"/>
                <a:gd name="connsiteX1" fmla="*/ 240030 w 2000250"/>
                <a:gd name="connsiteY1" fmla="*/ 0 h 1051560"/>
                <a:gd name="connsiteX2" fmla="*/ 2000250 w 2000250"/>
                <a:gd name="connsiteY2" fmla="*/ 944880 h 1051560"/>
                <a:gd name="connsiteX3" fmla="*/ 1764030 w 2000250"/>
                <a:gd name="connsiteY3" fmla="*/ 1051560 h 1051560"/>
                <a:gd name="connsiteX4" fmla="*/ 0 w 2000250"/>
                <a:gd name="connsiteY4" fmla="*/ 98584 h 1051560"/>
                <a:gd name="connsiteX0" fmla="*/ 0 w 1997869"/>
                <a:gd name="connsiteY0" fmla="*/ 143827 h 1051560"/>
                <a:gd name="connsiteX1" fmla="*/ 237649 w 1997869"/>
                <a:gd name="connsiteY1" fmla="*/ 0 h 1051560"/>
                <a:gd name="connsiteX2" fmla="*/ 1997869 w 1997869"/>
                <a:gd name="connsiteY2" fmla="*/ 944880 h 1051560"/>
                <a:gd name="connsiteX3" fmla="*/ 1761649 w 1997869"/>
                <a:gd name="connsiteY3" fmla="*/ 1051560 h 1051560"/>
                <a:gd name="connsiteX4" fmla="*/ 0 w 1997869"/>
                <a:gd name="connsiteY4" fmla="*/ 143827 h 1051560"/>
                <a:gd name="connsiteX0" fmla="*/ 0 w 1997869"/>
                <a:gd name="connsiteY0" fmla="*/ 162877 h 1070610"/>
                <a:gd name="connsiteX1" fmla="*/ 197168 w 1997869"/>
                <a:gd name="connsiteY1" fmla="*/ 0 h 1070610"/>
                <a:gd name="connsiteX2" fmla="*/ 1997869 w 1997869"/>
                <a:gd name="connsiteY2" fmla="*/ 963930 h 1070610"/>
                <a:gd name="connsiteX3" fmla="*/ 1761649 w 1997869"/>
                <a:gd name="connsiteY3" fmla="*/ 1070610 h 1070610"/>
                <a:gd name="connsiteX4" fmla="*/ 0 w 1997869"/>
                <a:gd name="connsiteY4" fmla="*/ 162877 h 1070610"/>
                <a:gd name="connsiteX0" fmla="*/ 0 w 1959769"/>
                <a:gd name="connsiteY0" fmla="*/ 162877 h 1070610"/>
                <a:gd name="connsiteX1" fmla="*/ 197168 w 1959769"/>
                <a:gd name="connsiteY1" fmla="*/ 0 h 1070610"/>
                <a:gd name="connsiteX2" fmla="*/ 1959769 w 1959769"/>
                <a:gd name="connsiteY2" fmla="*/ 942498 h 1070610"/>
                <a:gd name="connsiteX3" fmla="*/ 1761649 w 1959769"/>
                <a:gd name="connsiteY3" fmla="*/ 1070610 h 1070610"/>
                <a:gd name="connsiteX4" fmla="*/ 0 w 1959769"/>
                <a:gd name="connsiteY4" fmla="*/ 162877 h 1070610"/>
                <a:gd name="connsiteX0" fmla="*/ 0 w 1959769"/>
                <a:gd name="connsiteY0" fmla="*/ 162877 h 1061085"/>
                <a:gd name="connsiteX1" fmla="*/ 197168 w 1959769"/>
                <a:gd name="connsiteY1" fmla="*/ 0 h 1061085"/>
                <a:gd name="connsiteX2" fmla="*/ 1959769 w 1959769"/>
                <a:gd name="connsiteY2" fmla="*/ 942498 h 1061085"/>
                <a:gd name="connsiteX3" fmla="*/ 1759268 w 1959769"/>
                <a:gd name="connsiteY3" fmla="*/ 1061085 h 1061085"/>
                <a:gd name="connsiteX4" fmla="*/ 0 w 1959769"/>
                <a:gd name="connsiteY4" fmla="*/ 162877 h 1061085"/>
                <a:gd name="connsiteX0" fmla="*/ 0 w 1959769"/>
                <a:gd name="connsiteY0" fmla="*/ 162877 h 1053941"/>
                <a:gd name="connsiteX1" fmla="*/ 197168 w 1959769"/>
                <a:gd name="connsiteY1" fmla="*/ 0 h 1053941"/>
                <a:gd name="connsiteX2" fmla="*/ 1959769 w 1959769"/>
                <a:gd name="connsiteY2" fmla="*/ 942498 h 1053941"/>
                <a:gd name="connsiteX3" fmla="*/ 1742599 w 1959769"/>
                <a:gd name="connsiteY3" fmla="*/ 1053941 h 1053941"/>
                <a:gd name="connsiteX4" fmla="*/ 0 w 1959769"/>
                <a:gd name="connsiteY4" fmla="*/ 162877 h 1053941"/>
                <a:gd name="connsiteX0" fmla="*/ 0 w 1959769"/>
                <a:gd name="connsiteY0" fmla="*/ 162877 h 1065847"/>
                <a:gd name="connsiteX1" fmla="*/ 197168 w 1959769"/>
                <a:gd name="connsiteY1" fmla="*/ 0 h 1065847"/>
                <a:gd name="connsiteX2" fmla="*/ 1959769 w 1959769"/>
                <a:gd name="connsiteY2" fmla="*/ 942498 h 1065847"/>
                <a:gd name="connsiteX3" fmla="*/ 1754506 w 1959769"/>
                <a:gd name="connsiteY3" fmla="*/ 1065847 h 1065847"/>
                <a:gd name="connsiteX4" fmla="*/ 0 w 1959769"/>
                <a:gd name="connsiteY4" fmla="*/ 162877 h 1065847"/>
                <a:gd name="connsiteX0" fmla="*/ 0 w 1969294"/>
                <a:gd name="connsiteY0" fmla="*/ 156527 h 1065847"/>
                <a:gd name="connsiteX1" fmla="*/ 206693 w 1969294"/>
                <a:gd name="connsiteY1" fmla="*/ 0 h 1065847"/>
                <a:gd name="connsiteX2" fmla="*/ 1969294 w 1969294"/>
                <a:gd name="connsiteY2" fmla="*/ 942498 h 1065847"/>
                <a:gd name="connsiteX3" fmla="*/ 1764031 w 1969294"/>
                <a:gd name="connsiteY3" fmla="*/ 1065847 h 1065847"/>
                <a:gd name="connsiteX4" fmla="*/ 0 w 1969294"/>
                <a:gd name="connsiteY4" fmla="*/ 156527 h 10658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69294" h="1065847">
                  <a:moveTo>
                    <a:pt x="0" y="156527"/>
                  </a:moveTo>
                  <a:lnTo>
                    <a:pt x="206693" y="0"/>
                  </a:lnTo>
                  <a:lnTo>
                    <a:pt x="1969294" y="942498"/>
                  </a:lnTo>
                  <a:lnTo>
                    <a:pt x="1764031" y="1065847"/>
                  </a:lnTo>
                  <a:lnTo>
                    <a:pt x="0" y="156527"/>
                  </a:lnTo>
                  <a:close/>
                </a:path>
              </a:pathLst>
            </a:custGeom>
            <a:solidFill>
              <a:srgbClr val="4E93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FFFF"/>
                </a:solidFill>
              </a:endParaRPr>
            </a:p>
          </p:txBody>
        </p:sp>
        <p:sp>
          <p:nvSpPr>
            <p:cNvPr id="354" name="Freeform 353"/>
            <p:cNvSpPr/>
            <p:nvPr/>
          </p:nvSpPr>
          <p:spPr>
            <a:xfrm>
              <a:off x="5099679" y="4329508"/>
              <a:ext cx="1833567" cy="953489"/>
            </a:xfrm>
            <a:custGeom>
              <a:avLst/>
              <a:gdLst>
                <a:gd name="connsiteX0" fmla="*/ 0 w 2019300"/>
                <a:gd name="connsiteY0" fmla="*/ 91440 h 1051560"/>
                <a:gd name="connsiteX1" fmla="*/ 259080 w 2019300"/>
                <a:gd name="connsiteY1" fmla="*/ 0 h 1051560"/>
                <a:gd name="connsiteX2" fmla="*/ 2019300 w 2019300"/>
                <a:gd name="connsiteY2" fmla="*/ 944880 h 1051560"/>
                <a:gd name="connsiteX3" fmla="*/ 1783080 w 2019300"/>
                <a:gd name="connsiteY3" fmla="*/ 1051560 h 1051560"/>
                <a:gd name="connsiteX4" fmla="*/ 0 w 2019300"/>
                <a:gd name="connsiteY4" fmla="*/ 91440 h 1051560"/>
                <a:gd name="connsiteX0" fmla="*/ 0 w 2000250"/>
                <a:gd name="connsiteY0" fmla="*/ 98584 h 1051560"/>
                <a:gd name="connsiteX1" fmla="*/ 240030 w 2000250"/>
                <a:gd name="connsiteY1" fmla="*/ 0 h 1051560"/>
                <a:gd name="connsiteX2" fmla="*/ 2000250 w 2000250"/>
                <a:gd name="connsiteY2" fmla="*/ 944880 h 1051560"/>
                <a:gd name="connsiteX3" fmla="*/ 1764030 w 2000250"/>
                <a:gd name="connsiteY3" fmla="*/ 1051560 h 1051560"/>
                <a:gd name="connsiteX4" fmla="*/ 0 w 2000250"/>
                <a:gd name="connsiteY4" fmla="*/ 98584 h 1051560"/>
                <a:gd name="connsiteX0" fmla="*/ 0 w 1997869"/>
                <a:gd name="connsiteY0" fmla="*/ 143827 h 1051560"/>
                <a:gd name="connsiteX1" fmla="*/ 237649 w 1997869"/>
                <a:gd name="connsiteY1" fmla="*/ 0 h 1051560"/>
                <a:gd name="connsiteX2" fmla="*/ 1997869 w 1997869"/>
                <a:gd name="connsiteY2" fmla="*/ 944880 h 1051560"/>
                <a:gd name="connsiteX3" fmla="*/ 1761649 w 1997869"/>
                <a:gd name="connsiteY3" fmla="*/ 1051560 h 1051560"/>
                <a:gd name="connsiteX4" fmla="*/ 0 w 1997869"/>
                <a:gd name="connsiteY4" fmla="*/ 143827 h 1051560"/>
                <a:gd name="connsiteX0" fmla="*/ 0 w 1997869"/>
                <a:gd name="connsiteY0" fmla="*/ 162877 h 1070610"/>
                <a:gd name="connsiteX1" fmla="*/ 197168 w 1997869"/>
                <a:gd name="connsiteY1" fmla="*/ 0 h 1070610"/>
                <a:gd name="connsiteX2" fmla="*/ 1997869 w 1997869"/>
                <a:gd name="connsiteY2" fmla="*/ 963930 h 1070610"/>
                <a:gd name="connsiteX3" fmla="*/ 1761649 w 1997869"/>
                <a:gd name="connsiteY3" fmla="*/ 1070610 h 1070610"/>
                <a:gd name="connsiteX4" fmla="*/ 0 w 1997869"/>
                <a:gd name="connsiteY4" fmla="*/ 162877 h 1070610"/>
                <a:gd name="connsiteX0" fmla="*/ 0 w 1959769"/>
                <a:gd name="connsiteY0" fmla="*/ 162877 h 1070610"/>
                <a:gd name="connsiteX1" fmla="*/ 197168 w 1959769"/>
                <a:gd name="connsiteY1" fmla="*/ 0 h 1070610"/>
                <a:gd name="connsiteX2" fmla="*/ 1959769 w 1959769"/>
                <a:gd name="connsiteY2" fmla="*/ 942498 h 1070610"/>
                <a:gd name="connsiteX3" fmla="*/ 1761649 w 1959769"/>
                <a:gd name="connsiteY3" fmla="*/ 1070610 h 1070610"/>
                <a:gd name="connsiteX4" fmla="*/ 0 w 1959769"/>
                <a:gd name="connsiteY4" fmla="*/ 162877 h 1070610"/>
                <a:gd name="connsiteX0" fmla="*/ 0 w 1959769"/>
                <a:gd name="connsiteY0" fmla="*/ 162877 h 1061085"/>
                <a:gd name="connsiteX1" fmla="*/ 197168 w 1959769"/>
                <a:gd name="connsiteY1" fmla="*/ 0 h 1061085"/>
                <a:gd name="connsiteX2" fmla="*/ 1959769 w 1959769"/>
                <a:gd name="connsiteY2" fmla="*/ 942498 h 1061085"/>
                <a:gd name="connsiteX3" fmla="*/ 1759268 w 1959769"/>
                <a:gd name="connsiteY3" fmla="*/ 1061085 h 1061085"/>
                <a:gd name="connsiteX4" fmla="*/ 0 w 1959769"/>
                <a:gd name="connsiteY4" fmla="*/ 162877 h 1061085"/>
                <a:gd name="connsiteX0" fmla="*/ 0 w 1959769"/>
                <a:gd name="connsiteY0" fmla="*/ 162877 h 1053941"/>
                <a:gd name="connsiteX1" fmla="*/ 197168 w 1959769"/>
                <a:gd name="connsiteY1" fmla="*/ 0 h 1053941"/>
                <a:gd name="connsiteX2" fmla="*/ 1959769 w 1959769"/>
                <a:gd name="connsiteY2" fmla="*/ 942498 h 1053941"/>
                <a:gd name="connsiteX3" fmla="*/ 1742599 w 1959769"/>
                <a:gd name="connsiteY3" fmla="*/ 1053941 h 1053941"/>
                <a:gd name="connsiteX4" fmla="*/ 0 w 1959769"/>
                <a:gd name="connsiteY4" fmla="*/ 162877 h 1053941"/>
                <a:gd name="connsiteX0" fmla="*/ 0 w 1959769"/>
                <a:gd name="connsiteY0" fmla="*/ 162877 h 1065847"/>
                <a:gd name="connsiteX1" fmla="*/ 197168 w 1959769"/>
                <a:gd name="connsiteY1" fmla="*/ 0 h 1065847"/>
                <a:gd name="connsiteX2" fmla="*/ 1959769 w 1959769"/>
                <a:gd name="connsiteY2" fmla="*/ 942498 h 1065847"/>
                <a:gd name="connsiteX3" fmla="*/ 1754506 w 1959769"/>
                <a:gd name="connsiteY3" fmla="*/ 1065847 h 1065847"/>
                <a:gd name="connsiteX4" fmla="*/ 0 w 1959769"/>
                <a:gd name="connsiteY4" fmla="*/ 162877 h 1065847"/>
                <a:gd name="connsiteX0" fmla="*/ 0 w 1969294"/>
                <a:gd name="connsiteY0" fmla="*/ 156527 h 1065847"/>
                <a:gd name="connsiteX1" fmla="*/ 206693 w 1969294"/>
                <a:gd name="connsiteY1" fmla="*/ 0 h 1065847"/>
                <a:gd name="connsiteX2" fmla="*/ 1969294 w 1969294"/>
                <a:gd name="connsiteY2" fmla="*/ 942498 h 1065847"/>
                <a:gd name="connsiteX3" fmla="*/ 1764031 w 1969294"/>
                <a:gd name="connsiteY3" fmla="*/ 1065847 h 1065847"/>
                <a:gd name="connsiteX4" fmla="*/ 0 w 1969294"/>
                <a:gd name="connsiteY4" fmla="*/ 156527 h 1065847"/>
                <a:gd name="connsiteX0" fmla="*/ 0 w 1969294"/>
                <a:gd name="connsiteY0" fmla="*/ 58102 h 967422"/>
                <a:gd name="connsiteX1" fmla="*/ 86043 w 1969294"/>
                <a:gd name="connsiteY1" fmla="*/ 0 h 967422"/>
                <a:gd name="connsiteX2" fmla="*/ 1969294 w 1969294"/>
                <a:gd name="connsiteY2" fmla="*/ 844073 h 967422"/>
                <a:gd name="connsiteX3" fmla="*/ 1764031 w 1969294"/>
                <a:gd name="connsiteY3" fmla="*/ 967422 h 967422"/>
                <a:gd name="connsiteX4" fmla="*/ 0 w 1969294"/>
                <a:gd name="connsiteY4" fmla="*/ 58102 h 967422"/>
                <a:gd name="connsiteX0" fmla="*/ 0 w 1842294"/>
                <a:gd name="connsiteY0" fmla="*/ 58102 h 967422"/>
                <a:gd name="connsiteX1" fmla="*/ 86043 w 1842294"/>
                <a:gd name="connsiteY1" fmla="*/ 0 h 967422"/>
                <a:gd name="connsiteX2" fmla="*/ 1842294 w 1842294"/>
                <a:gd name="connsiteY2" fmla="*/ 923448 h 967422"/>
                <a:gd name="connsiteX3" fmla="*/ 1764031 w 1842294"/>
                <a:gd name="connsiteY3" fmla="*/ 967422 h 967422"/>
                <a:gd name="connsiteX4" fmla="*/ 0 w 1842294"/>
                <a:gd name="connsiteY4" fmla="*/ 58102 h 967422"/>
                <a:gd name="connsiteX0" fmla="*/ 0 w 1842294"/>
                <a:gd name="connsiteY0" fmla="*/ 61468 h 970788"/>
                <a:gd name="connsiteX1" fmla="*/ 75946 w 1842294"/>
                <a:gd name="connsiteY1" fmla="*/ 0 h 970788"/>
                <a:gd name="connsiteX2" fmla="*/ 1842294 w 1842294"/>
                <a:gd name="connsiteY2" fmla="*/ 926814 h 970788"/>
                <a:gd name="connsiteX3" fmla="*/ 1764031 w 1842294"/>
                <a:gd name="connsiteY3" fmla="*/ 970788 h 970788"/>
                <a:gd name="connsiteX4" fmla="*/ 0 w 1842294"/>
                <a:gd name="connsiteY4" fmla="*/ 61468 h 970788"/>
                <a:gd name="connsiteX0" fmla="*/ 0 w 1842294"/>
                <a:gd name="connsiteY0" fmla="*/ 35449 h 944769"/>
                <a:gd name="connsiteX1" fmla="*/ 54662 w 1842294"/>
                <a:gd name="connsiteY1" fmla="*/ 0 h 944769"/>
                <a:gd name="connsiteX2" fmla="*/ 1842294 w 1842294"/>
                <a:gd name="connsiteY2" fmla="*/ 900795 h 944769"/>
                <a:gd name="connsiteX3" fmla="*/ 1764031 w 1842294"/>
                <a:gd name="connsiteY3" fmla="*/ 944769 h 944769"/>
                <a:gd name="connsiteX4" fmla="*/ 0 w 1842294"/>
                <a:gd name="connsiteY4" fmla="*/ 35449 h 944769"/>
                <a:gd name="connsiteX0" fmla="*/ 0 w 1821010"/>
                <a:gd name="connsiteY0" fmla="*/ 35449 h 944769"/>
                <a:gd name="connsiteX1" fmla="*/ 54662 w 1821010"/>
                <a:gd name="connsiteY1" fmla="*/ 0 h 944769"/>
                <a:gd name="connsiteX2" fmla="*/ 1821010 w 1821010"/>
                <a:gd name="connsiteY2" fmla="*/ 910257 h 944769"/>
                <a:gd name="connsiteX3" fmla="*/ 1764031 w 1821010"/>
                <a:gd name="connsiteY3" fmla="*/ 944769 h 944769"/>
                <a:gd name="connsiteX4" fmla="*/ 0 w 1821010"/>
                <a:gd name="connsiteY4" fmla="*/ 35449 h 944769"/>
                <a:gd name="connsiteX0" fmla="*/ 0 w 1821010"/>
                <a:gd name="connsiteY0" fmla="*/ 37814 h 947134"/>
                <a:gd name="connsiteX1" fmla="*/ 52297 w 1821010"/>
                <a:gd name="connsiteY1" fmla="*/ 0 h 947134"/>
                <a:gd name="connsiteX2" fmla="*/ 1821010 w 1821010"/>
                <a:gd name="connsiteY2" fmla="*/ 912622 h 947134"/>
                <a:gd name="connsiteX3" fmla="*/ 1764031 w 1821010"/>
                <a:gd name="connsiteY3" fmla="*/ 947134 h 947134"/>
                <a:gd name="connsiteX4" fmla="*/ 0 w 1821010"/>
                <a:gd name="connsiteY4" fmla="*/ 37814 h 9471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1010" h="947134">
                  <a:moveTo>
                    <a:pt x="0" y="37814"/>
                  </a:moveTo>
                  <a:lnTo>
                    <a:pt x="52297" y="0"/>
                  </a:lnTo>
                  <a:lnTo>
                    <a:pt x="1821010" y="912622"/>
                  </a:lnTo>
                  <a:lnTo>
                    <a:pt x="1764031" y="947134"/>
                  </a:lnTo>
                  <a:lnTo>
                    <a:pt x="0" y="37814"/>
                  </a:lnTo>
                  <a:close/>
                </a:path>
              </a:pathLst>
            </a:cu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rgbClr val="FFFFFF"/>
                </a:solidFill>
              </a:endParaRPr>
            </a:p>
          </p:txBody>
        </p:sp>
        <p:sp>
          <p:nvSpPr>
            <p:cNvPr id="355" name="Freeform 354"/>
            <p:cNvSpPr/>
            <p:nvPr/>
          </p:nvSpPr>
          <p:spPr>
            <a:xfrm>
              <a:off x="5296367" y="3465513"/>
              <a:ext cx="1660312" cy="1750352"/>
            </a:xfrm>
            <a:custGeom>
              <a:avLst/>
              <a:gdLst>
                <a:gd name="connsiteX0" fmla="*/ 335280 w 1905000"/>
                <a:gd name="connsiteY0" fmla="*/ 0 h 1828800"/>
                <a:gd name="connsiteX1" fmla="*/ 0 w 1905000"/>
                <a:gd name="connsiteY1" fmla="*/ 1051560 h 1828800"/>
                <a:gd name="connsiteX2" fmla="*/ 1638300 w 1905000"/>
                <a:gd name="connsiteY2" fmla="*/ 1828800 h 1828800"/>
                <a:gd name="connsiteX3" fmla="*/ 1905000 w 1905000"/>
                <a:gd name="connsiteY3" fmla="*/ 807720 h 1828800"/>
                <a:gd name="connsiteX4" fmla="*/ 335280 w 1905000"/>
                <a:gd name="connsiteY4" fmla="*/ 0 h 1828800"/>
                <a:gd name="connsiteX0" fmla="*/ 335280 w 1905000"/>
                <a:gd name="connsiteY0" fmla="*/ 0 h 1752600"/>
                <a:gd name="connsiteX1" fmla="*/ 0 w 1905000"/>
                <a:gd name="connsiteY1" fmla="*/ 1051560 h 1752600"/>
                <a:gd name="connsiteX2" fmla="*/ 1546860 w 1905000"/>
                <a:gd name="connsiteY2" fmla="*/ 1752600 h 1752600"/>
                <a:gd name="connsiteX3" fmla="*/ 1905000 w 1905000"/>
                <a:gd name="connsiteY3" fmla="*/ 807720 h 1752600"/>
                <a:gd name="connsiteX4" fmla="*/ 335280 w 1905000"/>
                <a:gd name="connsiteY4" fmla="*/ 0 h 1752600"/>
                <a:gd name="connsiteX0" fmla="*/ 335280 w 1927860"/>
                <a:gd name="connsiteY0" fmla="*/ 0 h 1752600"/>
                <a:gd name="connsiteX1" fmla="*/ 0 w 1927860"/>
                <a:gd name="connsiteY1" fmla="*/ 1051560 h 1752600"/>
                <a:gd name="connsiteX2" fmla="*/ 1546860 w 1927860"/>
                <a:gd name="connsiteY2" fmla="*/ 1752600 h 1752600"/>
                <a:gd name="connsiteX3" fmla="*/ 1927860 w 1927860"/>
                <a:gd name="connsiteY3" fmla="*/ 807720 h 1752600"/>
                <a:gd name="connsiteX4" fmla="*/ 335280 w 1927860"/>
                <a:gd name="connsiteY4" fmla="*/ 0 h 1752600"/>
                <a:gd name="connsiteX0" fmla="*/ 335280 w 1981200"/>
                <a:gd name="connsiteY0" fmla="*/ 0 h 1752600"/>
                <a:gd name="connsiteX1" fmla="*/ 0 w 1981200"/>
                <a:gd name="connsiteY1" fmla="*/ 1051560 h 1752600"/>
                <a:gd name="connsiteX2" fmla="*/ 1546860 w 1981200"/>
                <a:gd name="connsiteY2" fmla="*/ 1752600 h 1752600"/>
                <a:gd name="connsiteX3" fmla="*/ 1981200 w 1981200"/>
                <a:gd name="connsiteY3" fmla="*/ 815340 h 1752600"/>
                <a:gd name="connsiteX4" fmla="*/ 335280 w 1981200"/>
                <a:gd name="connsiteY4" fmla="*/ 0 h 1752600"/>
                <a:gd name="connsiteX0" fmla="*/ 441960 w 1981200"/>
                <a:gd name="connsiteY0" fmla="*/ 0 h 1691640"/>
                <a:gd name="connsiteX1" fmla="*/ 0 w 1981200"/>
                <a:gd name="connsiteY1" fmla="*/ 990600 h 1691640"/>
                <a:gd name="connsiteX2" fmla="*/ 1546860 w 1981200"/>
                <a:gd name="connsiteY2" fmla="*/ 1691640 h 1691640"/>
                <a:gd name="connsiteX3" fmla="*/ 1981200 w 1981200"/>
                <a:gd name="connsiteY3" fmla="*/ 754380 h 1691640"/>
                <a:gd name="connsiteX4" fmla="*/ 441960 w 1981200"/>
                <a:gd name="connsiteY4" fmla="*/ 0 h 1691640"/>
                <a:gd name="connsiteX0" fmla="*/ 441960 w 1996440"/>
                <a:gd name="connsiteY0" fmla="*/ 0 h 1691640"/>
                <a:gd name="connsiteX1" fmla="*/ 0 w 1996440"/>
                <a:gd name="connsiteY1" fmla="*/ 990600 h 1691640"/>
                <a:gd name="connsiteX2" fmla="*/ 1546860 w 1996440"/>
                <a:gd name="connsiteY2" fmla="*/ 1691640 h 1691640"/>
                <a:gd name="connsiteX3" fmla="*/ 1996440 w 1996440"/>
                <a:gd name="connsiteY3" fmla="*/ 769620 h 1691640"/>
                <a:gd name="connsiteX4" fmla="*/ 441960 w 1996440"/>
                <a:gd name="connsiteY4" fmla="*/ 0 h 1691640"/>
                <a:gd name="connsiteX0" fmla="*/ 434340 w 1988820"/>
                <a:gd name="connsiteY0" fmla="*/ 0 h 1691640"/>
                <a:gd name="connsiteX1" fmla="*/ 0 w 1988820"/>
                <a:gd name="connsiteY1" fmla="*/ 937260 h 1691640"/>
                <a:gd name="connsiteX2" fmla="*/ 1539240 w 1988820"/>
                <a:gd name="connsiteY2" fmla="*/ 1691640 h 1691640"/>
                <a:gd name="connsiteX3" fmla="*/ 1988820 w 1988820"/>
                <a:gd name="connsiteY3" fmla="*/ 769620 h 1691640"/>
                <a:gd name="connsiteX4" fmla="*/ 434340 w 1988820"/>
                <a:gd name="connsiteY4" fmla="*/ 0 h 1691640"/>
                <a:gd name="connsiteX0" fmla="*/ 464820 w 1988820"/>
                <a:gd name="connsiteY0" fmla="*/ 0 h 1676400"/>
                <a:gd name="connsiteX1" fmla="*/ 0 w 1988820"/>
                <a:gd name="connsiteY1" fmla="*/ 922020 h 1676400"/>
                <a:gd name="connsiteX2" fmla="*/ 1539240 w 1988820"/>
                <a:gd name="connsiteY2" fmla="*/ 1676400 h 1676400"/>
                <a:gd name="connsiteX3" fmla="*/ 1988820 w 1988820"/>
                <a:gd name="connsiteY3" fmla="*/ 754380 h 1676400"/>
                <a:gd name="connsiteX4" fmla="*/ 464820 w 1988820"/>
                <a:gd name="connsiteY4" fmla="*/ 0 h 1676400"/>
                <a:gd name="connsiteX0" fmla="*/ 464820 w 2011680"/>
                <a:gd name="connsiteY0" fmla="*/ 0 h 1676400"/>
                <a:gd name="connsiteX1" fmla="*/ 0 w 2011680"/>
                <a:gd name="connsiteY1" fmla="*/ 922020 h 1676400"/>
                <a:gd name="connsiteX2" fmla="*/ 1539240 w 2011680"/>
                <a:gd name="connsiteY2" fmla="*/ 1676400 h 1676400"/>
                <a:gd name="connsiteX3" fmla="*/ 2011680 w 2011680"/>
                <a:gd name="connsiteY3" fmla="*/ 784860 h 1676400"/>
                <a:gd name="connsiteX4" fmla="*/ 464820 w 2011680"/>
                <a:gd name="connsiteY4" fmla="*/ 0 h 1676400"/>
                <a:gd name="connsiteX0" fmla="*/ 464820 w 2011680"/>
                <a:gd name="connsiteY0" fmla="*/ 0 h 1689100"/>
                <a:gd name="connsiteX1" fmla="*/ 0 w 2011680"/>
                <a:gd name="connsiteY1" fmla="*/ 922020 h 1689100"/>
                <a:gd name="connsiteX2" fmla="*/ 1526540 w 2011680"/>
                <a:gd name="connsiteY2" fmla="*/ 1689100 h 1689100"/>
                <a:gd name="connsiteX3" fmla="*/ 2011680 w 2011680"/>
                <a:gd name="connsiteY3" fmla="*/ 784860 h 1689100"/>
                <a:gd name="connsiteX4" fmla="*/ 464820 w 2011680"/>
                <a:gd name="connsiteY4" fmla="*/ 0 h 1689100"/>
                <a:gd name="connsiteX0" fmla="*/ 462439 w 2009299"/>
                <a:gd name="connsiteY0" fmla="*/ 0 h 1689100"/>
                <a:gd name="connsiteX1" fmla="*/ 0 w 2009299"/>
                <a:gd name="connsiteY1" fmla="*/ 907733 h 1689100"/>
                <a:gd name="connsiteX2" fmla="*/ 1524159 w 2009299"/>
                <a:gd name="connsiteY2" fmla="*/ 1689100 h 1689100"/>
                <a:gd name="connsiteX3" fmla="*/ 2009299 w 2009299"/>
                <a:gd name="connsiteY3" fmla="*/ 784860 h 1689100"/>
                <a:gd name="connsiteX4" fmla="*/ 462439 w 2009299"/>
                <a:gd name="connsiteY4" fmla="*/ 0 h 1689100"/>
                <a:gd name="connsiteX0" fmla="*/ 460058 w 2006918"/>
                <a:gd name="connsiteY0" fmla="*/ 0 h 1689100"/>
                <a:gd name="connsiteX1" fmla="*/ 0 w 2006918"/>
                <a:gd name="connsiteY1" fmla="*/ 905351 h 1689100"/>
                <a:gd name="connsiteX2" fmla="*/ 1521778 w 2006918"/>
                <a:gd name="connsiteY2" fmla="*/ 1689100 h 1689100"/>
                <a:gd name="connsiteX3" fmla="*/ 2006918 w 2006918"/>
                <a:gd name="connsiteY3" fmla="*/ 784860 h 1689100"/>
                <a:gd name="connsiteX4" fmla="*/ 460058 w 2006918"/>
                <a:gd name="connsiteY4" fmla="*/ 0 h 1689100"/>
                <a:gd name="connsiteX0" fmla="*/ 177254 w 2006918"/>
                <a:gd name="connsiteY0" fmla="*/ 0 h 1726807"/>
                <a:gd name="connsiteX1" fmla="*/ 0 w 2006918"/>
                <a:gd name="connsiteY1" fmla="*/ 943058 h 1726807"/>
                <a:gd name="connsiteX2" fmla="*/ 1521778 w 2006918"/>
                <a:gd name="connsiteY2" fmla="*/ 1726807 h 1726807"/>
                <a:gd name="connsiteX3" fmla="*/ 2006918 w 2006918"/>
                <a:gd name="connsiteY3" fmla="*/ 822567 h 1726807"/>
                <a:gd name="connsiteX4" fmla="*/ 177254 w 2006918"/>
                <a:gd name="connsiteY4" fmla="*/ 0 h 1726807"/>
                <a:gd name="connsiteX0" fmla="*/ 177254 w 1676980"/>
                <a:gd name="connsiteY0" fmla="*/ 0 h 1726807"/>
                <a:gd name="connsiteX1" fmla="*/ 0 w 1676980"/>
                <a:gd name="connsiteY1" fmla="*/ 943058 h 1726807"/>
                <a:gd name="connsiteX2" fmla="*/ 1521778 w 1676980"/>
                <a:gd name="connsiteY2" fmla="*/ 1726807 h 1726807"/>
                <a:gd name="connsiteX3" fmla="*/ 1676980 w 1676980"/>
                <a:gd name="connsiteY3" fmla="*/ 794286 h 1726807"/>
                <a:gd name="connsiteX4" fmla="*/ 177254 w 1676980"/>
                <a:gd name="connsiteY4" fmla="*/ 0 h 1726807"/>
                <a:gd name="connsiteX0" fmla="*/ 177254 w 1676980"/>
                <a:gd name="connsiteY0" fmla="*/ 0 h 1707757"/>
                <a:gd name="connsiteX1" fmla="*/ 0 w 1676980"/>
                <a:gd name="connsiteY1" fmla="*/ 924008 h 1707757"/>
                <a:gd name="connsiteX2" fmla="*/ 1521778 w 1676980"/>
                <a:gd name="connsiteY2" fmla="*/ 1707757 h 1707757"/>
                <a:gd name="connsiteX3" fmla="*/ 1676980 w 1676980"/>
                <a:gd name="connsiteY3" fmla="*/ 775236 h 1707757"/>
                <a:gd name="connsiteX4" fmla="*/ 177254 w 1676980"/>
                <a:gd name="connsiteY4" fmla="*/ 0 h 1707757"/>
                <a:gd name="connsiteX0" fmla="*/ 145504 w 1676980"/>
                <a:gd name="connsiteY0" fmla="*/ 0 h 1682357"/>
                <a:gd name="connsiteX1" fmla="*/ 0 w 1676980"/>
                <a:gd name="connsiteY1" fmla="*/ 898608 h 1682357"/>
                <a:gd name="connsiteX2" fmla="*/ 1521778 w 1676980"/>
                <a:gd name="connsiteY2" fmla="*/ 1682357 h 1682357"/>
                <a:gd name="connsiteX3" fmla="*/ 1676980 w 1676980"/>
                <a:gd name="connsiteY3" fmla="*/ 749836 h 1682357"/>
                <a:gd name="connsiteX4" fmla="*/ 145504 w 1676980"/>
                <a:gd name="connsiteY4" fmla="*/ 0 h 1682357"/>
                <a:gd name="connsiteX0" fmla="*/ 128835 w 1676980"/>
                <a:gd name="connsiteY0" fmla="*/ 0 h 1677792"/>
                <a:gd name="connsiteX1" fmla="*/ 0 w 1676980"/>
                <a:gd name="connsiteY1" fmla="*/ 894043 h 1677792"/>
                <a:gd name="connsiteX2" fmla="*/ 1521778 w 1676980"/>
                <a:gd name="connsiteY2" fmla="*/ 1677792 h 1677792"/>
                <a:gd name="connsiteX3" fmla="*/ 1676980 w 1676980"/>
                <a:gd name="connsiteY3" fmla="*/ 745271 h 1677792"/>
                <a:gd name="connsiteX4" fmla="*/ 128835 w 1676980"/>
                <a:gd name="connsiteY4" fmla="*/ 0 h 1677792"/>
                <a:gd name="connsiteX0" fmla="*/ 116929 w 1665074"/>
                <a:gd name="connsiteY0" fmla="*/ 0 h 1677792"/>
                <a:gd name="connsiteX1" fmla="*/ 0 w 1665074"/>
                <a:gd name="connsiteY1" fmla="*/ 925998 h 1677792"/>
                <a:gd name="connsiteX2" fmla="*/ 1509872 w 1665074"/>
                <a:gd name="connsiteY2" fmla="*/ 1677792 h 1677792"/>
                <a:gd name="connsiteX3" fmla="*/ 1665074 w 1665074"/>
                <a:gd name="connsiteY3" fmla="*/ 745271 h 1677792"/>
                <a:gd name="connsiteX4" fmla="*/ 116929 w 1665074"/>
                <a:gd name="connsiteY4" fmla="*/ 0 h 1677792"/>
                <a:gd name="connsiteX0" fmla="*/ 112167 w 1660312"/>
                <a:gd name="connsiteY0" fmla="*/ 0 h 1677792"/>
                <a:gd name="connsiteX1" fmla="*/ 0 w 1660312"/>
                <a:gd name="connsiteY1" fmla="*/ 930563 h 1677792"/>
                <a:gd name="connsiteX2" fmla="*/ 1505110 w 1660312"/>
                <a:gd name="connsiteY2" fmla="*/ 1677792 h 1677792"/>
                <a:gd name="connsiteX3" fmla="*/ 1660312 w 1660312"/>
                <a:gd name="connsiteY3" fmla="*/ 745271 h 1677792"/>
                <a:gd name="connsiteX4" fmla="*/ 112167 w 1660312"/>
                <a:gd name="connsiteY4" fmla="*/ 0 h 16777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0312" h="1677792">
                  <a:moveTo>
                    <a:pt x="112167" y="0"/>
                  </a:moveTo>
                  <a:lnTo>
                    <a:pt x="0" y="930563"/>
                  </a:lnTo>
                  <a:lnTo>
                    <a:pt x="1505110" y="1677792"/>
                  </a:lnTo>
                  <a:lnTo>
                    <a:pt x="1660312" y="745271"/>
                  </a:lnTo>
                  <a:lnTo>
                    <a:pt x="112167" y="0"/>
                  </a:lnTo>
                  <a:close/>
                </a:path>
              </a:pathLst>
            </a:cu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FFFF"/>
                </a:solidFill>
              </a:endParaRPr>
            </a:p>
          </p:txBody>
        </p:sp>
        <p:grpSp>
          <p:nvGrpSpPr>
            <p:cNvPr id="356" name="Group 355"/>
            <p:cNvGrpSpPr/>
            <p:nvPr/>
          </p:nvGrpSpPr>
          <p:grpSpPr>
            <a:xfrm>
              <a:off x="5918025" y="1322030"/>
              <a:ext cx="2849879" cy="3212855"/>
              <a:chOff x="5883356" y="1329309"/>
              <a:chExt cx="2849879" cy="3212855"/>
            </a:xfrm>
          </p:grpSpPr>
          <p:sp>
            <p:nvSpPr>
              <p:cNvPr id="358" name="Freeform 357"/>
              <p:cNvSpPr/>
              <p:nvPr/>
            </p:nvSpPr>
            <p:spPr>
              <a:xfrm>
                <a:off x="5883356" y="2338959"/>
                <a:ext cx="1940242" cy="2203205"/>
              </a:xfrm>
              <a:custGeom>
                <a:avLst/>
                <a:gdLst>
                  <a:gd name="connsiteX0" fmla="*/ 1318260 w 1940242"/>
                  <a:gd name="connsiteY0" fmla="*/ 0 h 2203205"/>
                  <a:gd name="connsiteX1" fmla="*/ 1940242 w 1940242"/>
                  <a:gd name="connsiteY1" fmla="*/ 591502 h 2203205"/>
                  <a:gd name="connsiteX2" fmla="*/ 1760220 w 1940242"/>
                  <a:gd name="connsiteY2" fmla="*/ 815340 h 2203205"/>
                  <a:gd name="connsiteX3" fmla="*/ 1632585 w 1940242"/>
                  <a:gd name="connsiteY3" fmla="*/ 1394460 h 2203205"/>
                  <a:gd name="connsiteX4" fmla="*/ 1127760 w 1940242"/>
                  <a:gd name="connsiteY4" fmla="*/ 1950720 h 2203205"/>
                  <a:gd name="connsiteX5" fmla="*/ 620078 w 1940242"/>
                  <a:gd name="connsiteY5" fmla="*/ 2181225 h 2203205"/>
                  <a:gd name="connsiteX6" fmla="*/ 742599 w 1940242"/>
                  <a:gd name="connsiteY6" fmla="*/ 1828150 h 2203205"/>
                  <a:gd name="connsiteX7" fmla="*/ 753823 w 1940242"/>
                  <a:gd name="connsiteY7" fmla="*/ 1818854 h 2203205"/>
                  <a:gd name="connsiteX8" fmla="*/ 777239 w 1940242"/>
                  <a:gd name="connsiteY8" fmla="*/ 1821214 h 2203205"/>
                  <a:gd name="connsiteX9" fmla="*/ 1005839 w 1940242"/>
                  <a:gd name="connsiteY9" fmla="*/ 1592614 h 2203205"/>
                  <a:gd name="connsiteX10" fmla="*/ 777239 w 1940242"/>
                  <a:gd name="connsiteY10" fmla="*/ 1364014 h 2203205"/>
                  <a:gd name="connsiteX11" fmla="*/ 548639 w 1940242"/>
                  <a:gd name="connsiteY11" fmla="*/ 1592614 h 2203205"/>
                  <a:gd name="connsiteX12" fmla="*/ 553284 w 1940242"/>
                  <a:gd name="connsiteY12" fmla="*/ 1638685 h 2203205"/>
                  <a:gd name="connsiteX13" fmla="*/ 560151 w 1940242"/>
                  <a:gd name="connsiteY13" fmla="*/ 1660808 h 2203205"/>
                  <a:gd name="connsiteX14" fmla="*/ 551362 w 1940242"/>
                  <a:gd name="connsiteY14" fmla="*/ 1656619 h 2203205"/>
                  <a:gd name="connsiteX15" fmla="*/ 0 w 1940242"/>
                  <a:gd name="connsiteY15" fmla="*/ 1386840 h 2203205"/>
                  <a:gd name="connsiteX16" fmla="*/ 194310 w 1940242"/>
                  <a:gd name="connsiteY16" fmla="*/ 759142 h 2203205"/>
                  <a:gd name="connsiteX17" fmla="*/ 1318260 w 1940242"/>
                  <a:gd name="connsiteY17" fmla="*/ 0 h 2203205"/>
                  <a:gd name="connsiteX0" fmla="*/ 1318260 w 1940242"/>
                  <a:gd name="connsiteY0" fmla="*/ 0 h 2203205"/>
                  <a:gd name="connsiteX1" fmla="*/ 1940242 w 1940242"/>
                  <a:gd name="connsiteY1" fmla="*/ 591502 h 2203205"/>
                  <a:gd name="connsiteX2" fmla="*/ 1760220 w 1940242"/>
                  <a:gd name="connsiteY2" fmla="*/ 815340 h 2203205"/>
                  <a:gd name="connsiteX3" fmla="*/ 1632585 w 1940242"/>
                  <a:gd name="connsiteY3" fmla="*/ 1394460 h 2203205"/>
                  <a:gd name="connsiteX4" fmla="*/ 1127760 w 1940242"/>
                  <a:gd name="connsiteY4" fmla="*/ 1950720 h 2203205"/>
                  <a:gd name="connsiteX5" fmla="*/ 620078 w 1940242"/>
                  <a:gd name="connsiteY5" fmla="*/ 2181225 h 2203205"/>
                  <a:gd name="connsiteX6" fmla="*/ 742599 w 1940242"/>
                  <a:gd name="connsiteY6" fmla="*/ 1828150 h 2203205"/>
                  <a:gd name="connsiteX7" fmla="*/ 753823 w 1940242"/>
                  <a:gd name="connsiteY7" fmla="*/ 1818854 h 2203205"/>
                  <a:gd name="connsiteX8" fmla="*/ 777239 w 1940242"/>
                  <a:gd name="connsiteY8" fmla="*/ 1821214 h 2203205"/>
                  <a:gd name="connsiteX9" fmla="*/ 1005839 w 1940242"/>
                  <a:gd name="connsiteY9" fmla="*/ 1592614 h 2203205"/>
                  <a:gd name="connsiteX10" fmla="*/ 777239 w 1940242"/>
                  <a:gd name="connsiteY10" fmla="*/ 1364014 h 2203205"/>
                  <a:gd name="connsiteX11" fmla="*/ 548639 w 1940242"/>
                  <a:gd name="connsiteY11" fmla="*/ 1592614 h 2203205"/>
                  <a:gd name="connsiteX12" fmla="*/ 553284 w 1940242"/>
                  <a:gd name="connsiteY12" fmla="*/ 1638685 h 2203205"/>
                  <a:gd name="connsiteX13" fmla="*/ 560151 w 1940242"/>
                  <a:gd name="connsiteY13" fmla="*/ 1660808 h 2203205"/>
                  <a:gd name="connsiteX14" fmla="*/ 556124 w 1940242"/>
                  <a:gd name="connsiteY14" fmla="*/ 1668525 h 2203205"/>
                  <a:gd name="connsiteX15" fmla="*/ 0 w 1940242"/>
                  <a:gd name="connsiteY15" fmla="*/ 1386840 h 2203205"/>
                  <a:gd name="connsiteX16" fmla="*/ 194310 w 1940242"/>
                  <a:gd name="connsiteY16" fmla="*/ 759142 h 2203205"/>
                  <a:gd name="connsiteX17" fmla="*/ 1318260 w 1940242"/>
                  <a:gd name="connsiteY17" fmla="*/ 0 h 2203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40242" h="2203205">
                    <a:moveTo>
                      <a:pt x="1318260" y="0"/>
                    </a:moveTo>
                    <a:cubicBezTo>
                      <a:pt x="1554480" y="219710"/>
                      <a:pt x="1834515" y="477202"/>
                      <a:pt x="1940242" y="591502"/>
                    </a:cubicBezTo>
                    <a:cubicBezTo>
                      <a:pt x="1822132" y="686752"/>
                      <a:pt x="1805940" y="687070"/>
                      <a:pt x="1760220" y="815340"/>
                    </a:cubicBezTo>
                    <a:cubicBezTo>
                      <a:pt x="1714500" y="943610"/>
                      <a:pt x="1737995" y="1205230"/>
                      <a:pt x="1632585" y="1394460"/>
                    </a:cubicBezTo>
                    <a:cubicBezTo>
                      <a:pt x="1527175" y="1583690"/>
                      <a:pt x="1296511" y="1819593"/>
                      <a:pt x="1127760" y="1950720"/>
                    </a:cubicBezTo>
                    <a:cubicBezTo>
                      <a:pt x="959009" y="2081848"/>
                      <a:pt x="693103" y="2267267"/>
                      <a:pt x="620078" y="2181225"/>
                    </a:cubicBezTo>
                    <a:cubicBezTo>
                      <a:pt x="551617" y="2100561"/>
                      <a:pt x="461389" y="2067893"/>
                      <a:pt x="742599" y="1828150"/>
                    </a:cubicBezTo>
                    <a:lnTo>
                      <a:pt x="753823" y="1818854"/>
                    </a:lnTo>
                    <a:lnTo>
                      <a:pt x="777239" y="1821214"/>
                    </a:lnTo>
                    <a:cubicBezTo>
                      <a:pt x="903491" y="1821214"/>
                      <a:pt x="1005839" y="1718866"/>
                      <a:pt x="1005839" y="1592614"/>
                    </a:cubicBezTo>
                    <a:cubicBezTo>
                      <a:pt x="1005839" y="1466362"/>
                      <a:pt x="903491" y="1364014"/>
                      <a:pt x="777239" y="1364014"/>
                    </a:cubicBezTo>
                    <a:cubicBezTo>
                      <a:pt x="650987" y="1364014"/>
                      <a:pt x="548639" y="1466362"/>
                      <a:pt x="548639" y="1592614"/>
                    </a:cubicBezTo>
                    <a:cubicBezTo>
                      <a:pt x="548639" y="1608396"/>
                      <a:pt x="550238" y="1623804"/>
                      <a:pt x="553284" y="1638685"/>
                    </a:cubicBezTo>
                    <a:lnTo>
                      <a:pt x="560151" y="1660808"/>
                    </a:lnTo>
                    <a:cubicBezTo>
                      <a:pt x="557221" y="1659412"/>
                      <a:pt x="559054" y="1669921"/>
                      <a:pt x="556124" y="1668525"/>
                    </a:cubicBezTo>
                    <a:cubicBezTo>
                      <a:pt x="356493" y="1573297"/>
                      <a:pt x="96242" y="1438831"/>
                      <a:pt x="0" y="1386840"/>
                    </a:cubicBezTo>
                    <a:cubicBezTo>
                      <a:pt x="131762" y="1060768"/>
                      <a:pt x="131762" y="871219"/>
                      <a:pt x="194310" y="759142"/>
                    </a:cubicBezTo>
                    <a:cubicBezTo>
                      <a:pt x="256858" y="647065"/>
                      <a:pt x="1024890" y="266065"/>
                      <a:pt x="1318260" y="0"/>
                    </a:cubicBezTo>
                    <a:close/>
                  </a:path>
                </a:pathLst>
              </a:cu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FFFF"/>
                  </a:solidFill>
                </a:endParaRPr>
              </a:p>
            </p:txBody>
          </p:sp>
          <p:sp>
            <p:nvSpPr>
              <p:cNvPr id="359" name="Rectangle 358"/>
              <p:cNvSpPr/>
              <p:nvPr/>
            </p:nvSpPr>
            <p:spPr>
              <a:xfrm rot="2708766">
                <a:off x="7034685" y="2506929"/>
                <a:ext cx="1027172" cy="155189"/>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FFFF"/>
                  </a:solidFill>
                </a:endParaRPr>
              </a:p>
            </p:txBody>
          </p:sp>
          <p:sp>
            <p:nvSpPr>
              <p:cNvPr id="360" name="Freeform 359"/>
              <p:cNvSpPr/>
              <p:nvPr/>
            </p:nvSpPr>
            <p:spPr>
              <a:xfrm>
                <a:off x="7133035" y="1329309"/>
                <a:ext cx="1600200" cy="1606550"/>
              </a:xfrm>
              <a:custGeom>
                <a:avLst/>
                <a:gdLst>
                  <a:gd name="connsiteX0" fmla="*/ 0 w 1600200"/>
                  <a:gd name="connsiteY0" fmla="*/ 774700 h 1606550"/>
                  <a:gd name="connsiteX1" fmla="*/ 869950 w 1600200"/>
                  <a:gd name="connsiteY1" fmla="*/ 1606550 h 1606550"/>
                  <a:gd name="connsiteX2" fmla="*/ 1600200 w 1600200"/>
                  <a:gd name="connsiteY2" fmla="*/ 1016000 h 1606550"/>
                  <a:gd name="connsiteX3" fmla="*/ 844550 w 1600200"/>
                  <a:gd name="connsiteY3" fmla="*/ 0 h 1606550"/>
                  <a:gd name="connsiteX4" fmla="*/ 0 w 1600200"/>
                  <a:gd name="connsiteY4" fmla="*/ 774700 h 1606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1606550">
                    <a:moveTo>
                      <a:pt x="0" y="774700"/>
                    </a:moveTo>
                    <a:lnTo>
                      <a:pt x="869950" y="1606550"/>
                    </a:lnTo>
                    <a:lnTo>
                      <a:pt x="1600200" y="1016000"/>
                    </a:lnTo>
                    <a:lnTo>
                      <a:pt x="844550" y="0"/>
                    </a:lnTo>
                    <a:lnTo>
                      <a:pt x="0" y="774700"/>
                    </a:lnTo>
                    <a:close/>
                  </a:path>
                </a:pathLst>
              </a:cu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FFFF"/>
                  </a:solidFill>
                </a:endParaRPr>
              </a:p>
            </p:txBody>
          </p:sp>
          <p:sp>
            <p:nvSpPr>
              <p:cNvPr id="361" name="Oval 19"/>
              <p:cNvSpPr/>
              <p:nvPr/>
            </p:nvSpPr>
            <p:spPr>
              <a:xfrm rot="19663422">
                <a:off x="6476858" y="4281368"/>
                <a:ext cx="292201" cy="193787"/>
              </a:xfrm>
              <a:custGeom>
                <a:avLst/>
                <a:gdLst>
                  <a:gd name="connsiteX0" fmla="*/ 0 w 321945"/>
                  <a:gd name="connsiteY0" fmla="*/ 106680 h 213360"/>
                  <a:gd name="connsiteX1" fmla="*/ 160973 w 321945"/>
                  <a:gd name="connsiteY1" fmla="*/ 0 h 213360"/>
                  <a:gd name="connsiteX2" fmla="*/ 321946 w 321945"/>
                  <a:gd name="connsiteY2" fmla="*/ 106680 h 213360"/>
                  <a:gd name="connsiteX3" fmla="*/ 160973 w 321945"/>
                  <a:gd name="connsiteY3" fmla="*/ 213360 h 213360"/>
                  <a:gd name="connsiteX4" fmla="*/ 0 w 321945"/>
                  <a:gd name="connsiteY4" fmla="*/ 106680 h 213360"/>
                  <a:gd name="connsiteX0" fmla="*/ 361 w 322307"/>
                  <a:gd name="connsiteY0" fmla="*/ 106680 h 213360"/>
                  <a:gd name="connsiteX1" fmla="*/ 161334 w 322307"/>
                  <a:gd name="connsiteY1" fmla="*/ 0 h 213360"/>
                  <a:gd name="connsiteX2" fmla="*/ 322307 w 322307"/>
                  <a:gd name="connsiteY2" fmla="*/ 106680 h 213360"/>
                  <a:gd name="connsiteX3" fmla="*/ 161334 w 322307"/>
                  <a:gd name="connsiteY3" fmla="*/ 213360 h 213360"/>
                  <a:gd name="connsiteX4" fmla="*/ 361 w 322307"/>
                  <a:gd name="connsiteY4" fmla="*/ 106680 h 213360"/>
                  <a:gd name="connsiteX0" fmla="*/ 559 w 322505"/>
                  <a:gd name="connsiteY0" fmla="*/ 106942 h 213884"/>
                  <a:gd name="connsiteX1" fmla="*/ 161532 w 322505"/>
                  <a:gd name="connsiteY1" fmla="*/ 262 h 213884"/>
                  <a:gd name="connsiteX2" fmla="*/ 322505 w 322505"/>
                  <a:gd name="connsiteY2" fmla="*/ 106942 h 213884"/>
                  <a:gd name="connsiteX3" fmla="*/ 161532 w 322505"/>
                  <a:gd name="connsiteY3" fmla="*/ 213622 h 213884"/>
                  <a:gd name="connsiteX4" fmla="*/ 559 w 322505"/>
                  <a:gd name="connsiteY4" fmla="*/ 106942 h 2138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2505" h="213884">
                    <a:moveTo>
                      <a:pt x="559" y="106942"/>
                    </a:moveTo>
                    <a:cubicBezTo>
                      <a:pt x="-7495" y="-10573"/>
                      <a:pt x="72629" y="262"/>
                      <a:pt x="161532" y="262"/>
                    </a:cubicBezTo>
                    <a:cubicBezTo>
                      <a:pt x="250435" y="262"/>
                      <a:pt x="322505" y="48024"/>
                      <a:pt x="322505" y="106942"/>
                    </a:cubicBezTo>
                    <a:cubicBezTo>
                      <a:pt x="322505" y="165860"/>
                      <a:pt x="250435" y="213622"/>
                      <a:pt x="161532" y="213622"/>
                    </a:cubicBezTo>
                    <a:cubicBezTo>
                      <a:pt x="72629" y="213622"/>
                      <a:pt x="8613" y="224457"/>
                      <a:pt x="559" y="106942"/>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FFFF"/>
                  </a:solidFill>
                </a:endParaRPr>
              </a:p>
            </p:txBody>
          </p:sp>
        </p:grpSp>
        <p:sp>
          <p:nvSpPr>
            <p:cNvPr id="357" name="Freeform 356"/>
            <p:cNvSpPr/>
            <p:nvPr/>
          </p:nvSpPr>
          <p:spPr>
            <a:xfrm>
              <a:off x="6394863" y="4726186"/>
              <a:ext cx="381389" cy="402071"/>
            </a:xfrm>
            <a:custGeom>
              <a:avLst/>
              <a:gdLst>
                <a:gd name="connsiteX0" fmla="*/ 335280 w 1905000"/>
                <a:gd name="connsiteY0" fmla="*/ 0 h 1828800"/>
                <a:gd name="connsiteX1" fmla="*/ 0 w 1905000"/>
                <a:gd name="connsiteY1" fmla="*/ 1051560 h 1828800"/>
                <a:gd name="connsiteX2" fmla="*/ 1638300 w 1905000"/>
                <a:gd name="connsiteY2" fmla="*/ 1828800 h 1828800"/>
                <a:gd name="connsiteX3" fmla="*/ 1905000 w 1905000"/>
                <a:gd name="connsiteY3" fmla="*/ 807720 h 1828800"/>
                <a:gd name="connsiteX4" fmla="*/ 335280 w 1905000"/>
                <a:gd name="connsiteY4" fmla="*/ 0 h 1828800"/>
                <a:gd name="connsiteX0" fmla="*/ 335280 w 1905000"/>
                <a:gd name="connsiteY0" fmla="*/ 0 h 1752600"/>
                <a:gd name="connsiteX1" fmla="*/ 0 w 1905000"/>
                <a:gd name="connsiteY1" fmla="*/ 1051560 h 1752600"/>
                <a:gd name="connsiteX2" fmla="*/ 1546860 w 1905000"/>
                <a:gd name="connsiteY2" fmla="*/ 1752600 h 1752600"/>
                <a:gd name="connsiteX3" fmla="*/ 1905000 w 1905000"/>
                <a:gd name="connsiteY3" fmla="*/ 807720 h 1752600"/>
                <a:gd name="connsiteX4" fmla="*/ 335280 w 1905000"/>
                <a:gd name="connsiteY4" fmla="*/ 0 h 1752600"/>
                <a:gd name="connsiteX0" fmla="*/ 335280 w 1927860"/>
                <a:gd name="connsiteY0" fmla="*/ 0 h 1752600"/>
                <a:gd name="connsiteX1" fmla="*/ 0 w 1927860"/>
                <a:gd name="connsiteY1" fmla="*/ 1051560 h 1752600"/>
                <a:gd name="connsiteX2" fmla="*/ 1546860 w 1927860"/>
                <a:gd name="connsiteY2" fmla="*/ 1752600 h 1752600"/>
                <a:gd name="connsiteX3" fmla="*/ 1927860 w 1927860"/>
                <a:gd name="connsiteY3" fmla="*/ 807720 h 1752600"/>
                <a:gd name="connsiteX4" fmla="*/ 335280 w 1927860"/>
                <a:gd name="connsiteY4" fmla="*/ 0 h 1752600"/>
                <a:gd name="connsiteX0" fmla="*/ 335280 w 1981200"/>
                <a:gd name="connsiteY0" fmla="*/ 0 h 1752600"/>
                <a:gd name="connsiteX1" fmla="*/ 0 w 1981200"/>
                <a:gd name="connsiteY1" fmla="*/ 1051560 h 1752600"/>
                <a:gd name="connsiteX2" fmla="*/ 1546860 w 1981200"/>
                <a:gd name="connsiteY2" fmla="*/ 1752600 h 1752600"/>
                <a:gd name="connsiteX3" fmla="*/ 1981200 w 1981200"/>
                <a:gd name="connsiteY3" fmla="*/ 815340 h 1752600"/>
                <a:gd name="connsiteX4" fmla="*/ 335280 w 1981200"/>
                <a:gd name="connsiteY4" fmla="*/ 0 h 1752600"/>
                <a:gd name="connsiteX0" fmla="*/ 441960 w 1981200"/>
                <a:gd name="connsiteY0" fmla="*/ 0 h 1691640"/>
                <a:gd name="connsiteX1" fmla="*/ 0 w 1981200"/>
                <a:gd name="connsiteY1" fmla="*/ 990600 h 1691640"/>
                <a:gd name="connsiteX2" fmla="*/ 1546860 w 1981200"/>
                <a:gd name="connsiteY2" fmla="*/ 1691640 h 1691640"/>
                <a:gd name="connsiteX3" fmla="*/ 1981200 w 1981200"/>
                <a:gd name="connsiteY3" fmla="*/ 754380 h 1691640"/>
                <a:gd name="connsiteX4" fmla="*/ 441960 w 1981200"/>
                <a:gd name="connsiteY4" fmla="*/ 0 h 1691640"/>
                <a:gd name="connsiteX0" fmla="*/ 441960 w 1996440"/>
                <a:gd name="connsiteY0" fmla="*/ 0 h 1691640"/>
                <a:gd name="connsiteX1" fmla="*/ 0 w 1996440"/>
                <a:gd name="connsiteY1" fmla="*/ 990600 h 1691640"/>
                <a:gd name="connsiteX2" fmla="*/ 1546860 w 1996440"/>
                <a:gd name="connsiteY2" fmla="*/ 1691640 h 1691640"/>
                <a:gd name="connsiteX3" fmla="*/ 1996440 w 1996440"/>
                <a:gd name="connsiteY3" fmla="*/ 769620 h 1691640"/>
                <a:gd name="connsiteX4" fmla="*/ 441960 w 1996440"/>
                <a:gd name="connsiteY4" fmla="*/ 0 h 1691640"/>
                <a:gd name="connsiteX0" fmla="*/ 434340 w 1988820"/>
                <a:gd name="connsiteY0" fmla="*/ 0 h 1691640"/>
                <a:gd name="connsiteX1" fmla="*/ 0 w 1988820"/>
                <a:gd name="connsiteY1" fmla="*/ 937260 h 1691640"/>
                <a:gd name="connsiteX2" fmla="*/ 1539240 w 1988820"/>
                <a:gd name="connsiteY2" fmla="*/ 1691640 h 1691640"/>
                <a:gd name="connsiteX3" fmla="*/ 1988820 w 1988820"/>
                <a:gd name="connsiteY3" fmla="*/ 769620 h 1691640"/>
                <a:gd name="connsiteX4" fmla="*/ 434340 w 1988820"/>
                <a:gd name="connsiteY4" fmla="*/ 0 h 1691640"/>
                <a:gd name="connsiteX0" fmla="*/ 464820 w 1988820"/>
                <a:gd name="connsiteY0" fmla="*/ 0 h 1676400"/>
                <a:gd name="connsiteX1" fmla="*/ 0 w 1988820"/>
                <a:gd name="connsiteY1" fmla="*/ 922020 h 1676400"/>
                <a:gd name="connsiteX2" fmla="*/ 1539240 w 1988820"/>
                <a:gd name="connsiteY2" fmla="*/ 1676400 h 1676400"/>
                <a:gd name="connsiteX3" fmla="*/ 1988820 w 1988820"/>
                <a:gd name="connsiteY3" fmla="*/ 754380 h 1676400"/>
                <a:gd name="connsiteX4" fmla="*/ 464820 w 1988820"/>
                <a:gd name="connsiteY4" fmla="*/ 0 h 1676400"/>
                <a:gd name="connsiteX0" fmla="*/ 464820 w 2011680"/>
                <a:gd name="connsiteY0" fmla="*/ 0 h 1676400"/>
                <a:gd name="connsiteX1" fmla="*/ 0 w 2011680"/>
                <a:gd name="connsiteY1" fmla="*/ 922020 h 1676400"/>
                <a:gd name="connsiteX2" fmla="*/ 1539240 w 2011680"/>
                <a:gd name="connsiteY2" fmla="*/ 1676400 h 1676400"/>
                <a:gd name="connsiteX3" fmla="*/ 2011680 w 2011680"/>
                <a:gd name="connsiteY3" fmla="*/ 784860 h 1676400"/>
                <a:gd name="connsiteX4" fmla="*/ 464820 w 2011680"/>
                <a:gd name="connsiteY4" fmla="*/ 0 h 1676400"/>
                <a:gd name="connsiteX0" fmla="*/ 464820 w 2011680"/>
                <a:gd name="connsiteY0" fmla="*/ 0 h 1689100"/>
                <a:gd name="connsiteX1" fmla="*/ 0 w 2011680"/>
                <a:gd name="connsiteY1" fmla="*/ 922020 h 1689100"/>
                <a:gd name="connsiteX2" fmla="*/ 1526540 w 2011680"/>
                <a:gd name="connsiteY2" fmla="*/ 1689100 h 1689100"/>
                <a:gd name="connsiteX3" fmla="*/ 2011680 w 2011680"/>
                <a:gd name="connsiteY3" fmla="*/ 784860 h 1689100"/>
                <a:gd name="connsiteX4" fmla="*/ 464820 w 2011680"/>
                <a:gd name="connsiteY4" fmla="*/ 0 h 1689100"/>
                <a:gd name="connsiteX0" fmla="*/ 462439 w 2009299"/>
                <a:gd name="connsiteY0" fmla="*/ 0 h 1689100"/>
                <a:gd name="connsiteX1" fmla="*/ 0 w 2009299"/>
                <a:gd name="connsiteY1" fmla="*/ 907733 h 1689100"/>
                <a:gd name="connsiteX2" fmla="*/ 1524159 w 2009299"/>
                <a:gd name="connsiteY2" fmla="*/ 1689100 h 1689100"/>
                <a:gd name="connsiteX3" fmla="*/ 2009299 w 2009299"/>
                <a:gd name="connsiteY3" fmla="*/ 784860 h 1689100"/>
                <a:gd name="connsiteX4" fmla="*/ 462439 w 2009299"/>
                <a:gd name="connsiteY4" fmla="*/ 0 h 1689100"/>
                <a:gd name="connsiteX0" fmla="*/ 460058 w 2006918"/>
                <a:gd name="connsiteY0" fmla="*/ 0 h 1689100"/>
                <a:gd name="connsiteX1" fmla="*/ 0 w 2006918"/>
                <a:gd name="connsiteY1" fmla="*/ 905351 h 1689100"/>
                <a:gd name="connsiteX2" fmla="*/ 1521778 w 2006918"/>
                <a:gd name="connsiteY2" fmla="*/ 1689100 h 1689100"/>
                <a:gd name="connsiteX3" fmla="*/ 2006918 w 2006918"/>
                <a:gd name="connsiteY3" fmla="*/ 784860 h 1689100"/>
                <a:gd name="connsiteX4" fmla="*/ 460058 w 2006918"/>
                <a:gd name="connsiteY4" fmla="*/ 0 h 1689100"/>
                <a:gd name="connsiteX0" fmla="*/ 177254 w 2006918"/>
                <a:gd name="connsiteY0" fmla="*/ 0 h 1726807"/>
                <a:gd name="connsiteX1" fmla="*/ 0 w 2006918"/>
                <a:gd name="connsiteY1" fmla="*/ 943058 h 1726807"/>
                <a:gd name="connsiteX2" fmla="*/ 1521778 w 2006918"/>
                <a:gd name="connsiteY2" fmla="*/ 1726807 h 1726807"/>
                <a:gd name="connsiteX3" fmla="*/ 2006918 w 2006918"/>
                <a:gd name="connsiteY3" fmla="*/ 822567 h 1726807"/>
                <a:gd name="connsiteX4" fmla="*/ 177254 w 2006918"/>
                <a:gd name="connsiteY4" fmla="*/ 0 h 1726807"/>
                <a:gd name="connsiteX0" fmla="*/ 177254 w 1676980"/>
                <a:gd name="connsiteY0" fmla="*/ 0 h 1726807"/>
                <a:gd name="connsiteX1" fmla="*/ 0 w 1676980"/>
                <a:gd name="connsiteY1" fmla="*/ 943058 h 1726807"/>
                <a:gd name="connsiteX2" fmla="*/ 1521778 w 1676980"/>
                <a:gd name="connsiteY2" fmla="*/ 1726807 h 1726807"/>
                <a:gd name="connsiteX3" fmla="*/ 1676980 w 1676980"/>
                <a:gd name="connsiteY3" fmla="*/ 794286 h 1726807"/>
                <a:gd name="connsiteX4" fmla="*/ 177254 w 1676980"/>
                <a:gd name="connsiteY4" fmla="*/ 0 h 1726807"/>
                <a:gd name="connsiteX0" fmla="*/ 177254 w 1676980"/>
                <a:gd name="connsiteY0" fmla="*/ 0 h 1707757"/>
                <a:gd name="connsiteX1" fmla="*/ 0 w 1676980"/>
                <a:gd name="connsiteY1" fmla="*/ 924008 h 1707757"/>
                <a:gd name="connsiteX2" fmla="*/ 1521778 w 1676980"/>
                <a:gd name="connsiteY2" fmla="*/ 1707757 h 1707757"/>
                <a:gd name="connsiteX3" fmla="*/ 1676980 w 1676980"/>
                <a:gd name="connsiteY3" fmla="*/ 775236 h 1707757"/>
                <a:gd name="connsiteX4" fmla="*/ 177254 w 1676980"/>
                <a:gd name="connsiteY4" fmla="*/ 0 h 1707757"/>
                <a:gd name="connsiteX0" fmla="*/ 145504 w 1676980"/>
                <a:gd name="connsiteY0" fmla="*/ 0 h 1682357"/>
                <a:gd name="connsiteX1" fmla="*/ 0 w 1676980"/>
                <a:gd name="connsiteY1" fmla="*/ 898608 h 1682357"/>
                <a:gd name="connsiteX2" fmla="*/ 1521778 w 1676980"/>
                <a:gd name="connsiteY2" fmla="*/ 1682357 h 1682357"/>
                <a:gd name="connsiteX3" fmla="*/ 1676980 w 1676980"/>
                <a:gd name="connsiteY3" fmla="*/ 749836 h 1682357"/>
                <a:gd name="connsiteX4" fmla="*/ 145504 w 1676980"/>
                <a:gd name="connsiteY4" fmla="*/ 0 h 1682357"/>
                <a:gd name="connsiteX0" fmla="*/ 128835 w 1676980"/>
                <a:gd name="connsiteY0" fmla="*/ 0 h 1677792"/>
                <a:gd name="connsiteX1" fmla="*/ 0 w 1676980"/>
                <a:gd name="connsiteY1" fmla="*/ 894043 h 1677792"/>
                <a:gd name="connsiteX2" fmla="*/ 1521778 w 1676980"/>
                <a:gd name="connsiteY2" fmla="*/ 1677792 h 1677792"/>
                <a:gd name="connsiteX3" fmla="*/ 1676980 w 1676980"/>
                <a:gd name="connsiteY3" fmla="*/ 745271 h 1677792"/>
                <a:gd name="connsiteX4" fmla="*/ 128835 w 1676980"/>
                <a:gd name="connsiteY4" fmla="*/ 0 h 1677792"/>
                <a:gd name="connsiteX0" fmla="*/ 116929 w 1665074"/>
                <a:gd name="connsiteY0" fmla="*/ 0 h 1677792"/>
                <a:gd name="connsiteX1" fmla="*/ 0 w 1665074"/>
                <a:gd name="connsiteY1" fmla="*/ 925998 h 1677792"/>
                <a:gd name="connsiteX2" fmla="*/ 1509872 w 1665074"/>
                <a:gd name="connsiteY2" fmla="*/ 1677792 h 1677792"/>
                <a:gd name="connsiteX3" fmla="*/ 1665074 w 1665074"/>
                <a:gd name="connsiteY3" fmla="*/ 745271 h 1677792"/>
                <a:gd name="connsiteX4" fmla="*/ 116929 w 1665074"/>
                <a:gd name="connsiteY4" fmla="*/ 0 h 1677792"/>
                <a:gd name="connsiteX0" fmla="*/ 112167 w 1660312"/>
                <a:gd name="connsiteY0" fmla="*/ 0 h 1677792"/>
                <a:gd name="connsiteX1" fmla="*/ 0 w 1660312"/>
                <a:gd name="connsiteY1" fmla="*/ 930563 h 1677792"/>
                <a:gd name="connsiteX2" fmla="*/ 1505110 w 1660312"/>
                <a:gd name="connsiteY2" fmla="*/ 1677792 h 1677792"/>
                <a:gd name="connsiteX3" fmla="*/ 1660312 w 1660312"/>
                <a:gd name="connsiteY3" fmla="*/ 745271 h 1677792"/>
                <a:gd name="connsiteX4" fmla="*/ 112167 w 1660312"/>
                <a:gd name="connsiteY4" fmla="*/ 0 h 16777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0312" h="1677792">
                  <a:moveTo>
                    <a:pt x="112167" y="0"/>
                  </a:moveTo>
                  <a:lnTo>
                    <a:pt x="0" y="930563"/>
                  </a:lnTo>
                  <a:lnTo>
                    <a:pt x="1505110" y="1677792"/>
                  </a:lnTo>
                  <a:lnTo>
                    <a:pt x="1660312" y="745271"/>
                  </a:lnTo>
                  <a:lnTo>
                    <a:pt x="112167"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FFFFFF"/>
                </a:solidFill>
              </a:endParaRPr>
            </a:p>
          </p:txBody>
        </p:sp>
      </p:grpSp>
      <p:grpSp>
        <p:nvGrpSpPr>
          <p:cNvPr id="363" name="Group 362"/>
          <p:cNvGrpSpPr/>
          <p:nvPr/>
        </p:nvGrpSpPr>
        <p:grpSpPr>
          <a:xfrm>
            <a:off x="884727" y="3008287"/>
            <a:ext cx="783962" cy="921973"/>
            <a:chOff x="3057213" y="2097503"/>
            <a:chExt cx="243187" cy="285998"/>
          </a:xfrm>
          <a:solidFill>
            <a:schemeClr val="accent1">
              <a:lumMod val="75000"/>
            </a:schemeClr>
          </a:solidFill>
        </p:grpSpPr>
        <p:sp>
          <p:nvSpPr>
            <p:cNvPr id="365" name="Round Same Side Corner Rectangle 6"/>
            <p:cNvSpPr/>
            <p:nvPr/>
          </p:nvSpPr>
          <p:spPr bwMode="auto">
            <a:xfrm rot="5400000" flipH="1">
              <a:off x="3086825" y="2169925"/>
              <a:ext cx="183964" cy="243187"/>
            </a:xfrm>
            <a:custGeom>
              <a:avLst/>
              <a:gdLst/>
              <a:ahLst/>
              <a:cxnLst/>
              <a:rect l="l" t="t" r="r" b="b"/>
              <a:pathLst>
                <a:path w="754699" h="997654">
                  <a:moveTo>
                    <a:pt x="487627" y="448329"/>
                  </a:moveTo>
                  <a:lnTo>
                    <a:pt x="487627" y="58255"/>
                  </a:lnTo>
                  <a:lnTo>
                    <a:pt x="65014" y="58255"/>
                  </a:lnTo>
                  <a:cubicBezTo>
                    <a:pt x="29108" y="58255"/>
                    <a:pt x="0" y="87363"/>
                    <a:pt x="0" y="123269"/>
                  </a:cubicBezTo>
                  <a:lnTo>
                    <a:pt x="0" y="448329"/>
                  </a:lnTo>
                  <a:close/>
                  <a:moveTo>
                    <a:pt x="487627" y="931184"/>
                  </a:moveTo>
                  <a:lnTo>
                    <a:pt x="487627" y="541110"/>
                  </a:lnTo>
                  <a:lnTo>
                    <a:pt x="0" y="541110"/>
                  </a:lnTo>
                  <a:lnTo>
                    <a:pt x="0" y="866170"/>
                  </a:lnTo>
                  <a:cubicBezTo>
                    <a:pt x="0" y="902076"/>
                    <a:pt x="29108" y="931184"/>
                    <a:pt x="65014" y="931184"/>
                  </a:cubicBezTo>
                  <a:close/>
                  <a:moveTo>
                    <a:pt x="754697" y="941489"/>
                  </a:moveTo>
                  <a:lnTo>
                    <a:pt x="754697" y="541111"/>
                  </a:lnTo>
                  <a:lnTo>
                    <a:pt x="556200" y="541111"/>
                  </a:lnTo>
                  <a:lnTo>
                    <a:pt x="556200" y="941489"/>
                  </a:lnTo>
                  <a:cubicBezTo>
                    <a:pt x="556200" y="972508"/>
                    <a:pt x="581346" y="997654"/>
                    <a:pt x="612365" y="997654"/>
                  </a:cubicBezTo>
                  <a:lnTo>
                    <a:pt x="698532" y="997654"/>
                  </a:lnTo>
                  <a:cubicBezTo>
                    <a:pt x="729551" y="997654"/>
                    <a:pt x="754697" y="972508"/>
                    <a:pt x="754697" y="941489"/>
                  </a:cubicBezTo>
                  <a:close/>
                  <a:moveTo>
                    <a:pt x="754699" y="456543"/>
                  </a:moveTo>
                  <a:lnTo>
                    <a:pt x="754699" y="56165"/>
                  </a:lnTo>
                  <a:cubicBezTo>
                    <a:pt x="754699" y="25146"/>
                    <a:pt x="729553" y="0"/>
                    <a:pt x="698534" y="0"/>
                  </a:cubicBezTo>
                  <a:lnTo>
                    <a:pt x="612367" y="0"/>
                  </a:lnTo>
                  <a:cubicBezTo>
                    <a:pt x="581348" y="0"/>
                    <a:pt x="556202" y="25146"/>
                    <a:pt x="556202" y="56165"/>
                  </a:cubicBezTo>
                  <a:lnTo>
                    <a:pt x="556202" y="456543"/>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366" name="Freeform 365"/>
            <p:cNvSpPr/>
            <p:nvPr/>
          </p:nvSpPr>
          <p:spPr bwMode="auto">
            <a:xfrm rot="267844" flipH="1">
              <a:off x="3082699" y="2097503"/>
              <a:ext cx="192216" cy="86371"/>
            </a:xfrm>
            <a:custGeom>
              <a:avLst/>
              <a:gdLst/>
              <a:ahLst/>
              <a:cxnLst/>
              <a:rect l="l" t="t" r="r" b="b"/>
              <a:pathLst>
                <a:path w="788551" h="354328">
                  <a:moveTo>
                    <a:pt x="159108" y="28"/>
                  </a:moveTo>
                  <a:cubicBezTo>
                    <a:pt x="139098" y="-316"/>
                    <a:pt x="117931" y="2434"/>
                    <a:pt x="95712" y="8661"/>
                  </a:cubicBezTo>
                  <a:cubicBezTo>
                    <a:pt x="34355" y="26494"/>
                    <a:pt x="-51154" y="136738"/>
                    <a:pt x="39471" y="250134"/>
                  </a:cubicBezTo>
                  <a:cubicBezTo>
                    <a:pt x="113799" y="329079"/>
                    <a:pt x="246135" y="329062"/>
                    <a:pt x="373357" y="330531"/>
                  </a:cubicBezTo>
                  <a:cubicBezTo>
                    <a:pt x="382590" y="156414"/>
                    <a:pt x="299182" y="2431"/>
                    <a:pt x="159108" y="28"/>
                  </a:cubicBezTo>
                  <a:close/>
                  <a:moveTo>
                    <a:pt x="656244" y="45090"/>
                  </a:moveTo>
                  <a:cubicBezTo>
                    <a:pt x="518021" y="22268"/>
                    <a:pt x="408285" y="158744"/>
                    <a:pt x="386060" y="331682"/>
                  </a:cubicBezTo>
                  <a:cubicBezTo>
                    <a:pt x="511472" y="353113"/>
                    <a:pt x="641648" y="376925"/>
                    <a:pt x="728960" y="312632"/>
                  </a:cubicBezTo>
                  <a:cubicBezTo>
                    <a:pt x="838498" y="217380"/>
                    <a:pt x="774205" y="93557"/>
                    <a:pt x="717055" y="64982"/>
                  </a:cubicBezTo>
                  <a:cubicBezTo>
                    <a:pt x="696318" y="54862"/>
                    <a:pt x="675990" y="48350"/>
                    <a:pt x="656244" y="4509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sp>
        <p:nvSpPr>
          <p:cNvPr id="65" name="Rectangle 64"/>
          <p:cNvSpPr/>
          <p:nvPr/>
        </p:nvSpPr>
        <p:spPr bwMode="auto">
          <a:xfrm>
            <a:off x="981238" y="5700941"/>
            <a:ext cx="1475282" cy="328847"/>
          </a:xfrm>
          <a:prstGeom prst="rect">
            <a:avLst/>
          </a:prstGeom>
          <a:solidFill>
            <a:schemeClr val="bg1"/>
          </a:solidFill>
          <a:ln w="15875">
            <a:solidFill>
              <a:srgbClr val="C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91440" rIns="45720" bIns="146283" numCol="1" spcCol="0" rtlCol="0" fromWordArt="0" anchor="t" anchorCtr="0" forceAA="0" compatLnSpc="1">
            <a:prstTxWarp prst="textNoShape">
              <a:avLst/>
            </a:prstTxWarp>
            <a:noAutofit/>
          </a:bodyPr>
          <a:lstStyle/>
          <a:p>
            <a:pPr algn="ctr" defTabSz="932293">
              <a:lnSpc>
                <a:spcPct val="90000"/>
              </a:lnSpc>
            </a:pPr>
            <a:r>
              <a:rPr lang="en-US" sz="1400" dirty="0" smtClean="0">
                <a:solidFill>
                  <a:srgbClr val="505050"/>
                </a:solidFill>
                <a:ea typeface="Segoe UI" panose="020B0502040204020203" pitchFamily="34" charset="0"/>
                <a:cs typeface="Segoe UI" panose="020B0502040204020203" pitchFamily="34" charset="0"/>
              </a:rPr>
              <a:t>0100101010110</a:t>
            </a:r>
            <a:endParaRPr lang="en-US" sz="1400" dirty="0">
              <a:solidFill>
                <a:srgbClr val="505050"/>
              </a:solidFill>
              <a:ea typeface="Segoe UI" panose="020B0502040204020203" pitchFamily="34" charset="0"/>
              <a:cs typeface="Segoe UI" panose="020B0502040204020203" pitchFamily="34" charset="0"/>
            </a:endParaRPr>
          </a:p>
        </p:txBody>
      </p:sp>
      <p:grpSp>
        <p:nvGrpSpPr>
          <p:cNvPr id="83" name="Group 82"/>
          <p:cNvGrpSpPr/>
          <p:nvPr/>
        </p:nvGrpSpPr>
        <p:grpSpPr>
          <a:xfrm>
            <a:off x="2465238" y="5040927"/>
            <a:ext cx="789208" cy="791603"/>
            <a:chOff x="2464530" y="5041652"/>
            <a:chExt cx="789208" cy="791603"/>
          </a:xfrm>
        </p:grpSpPr>
        <p:cxnSp>
          <p:nvCxnSpPr>
            <p:cNvPr id="84" name="Straight Connector 83"/>
            <p:cNvCxnSpPr/>
            <p:nvPr/>
          </p:nvCxnSpPr>
          <p:spPr>
            <a:xfrm flipH="1">
              <a:off x="2464530" y="5833255"/>
              <a:ext cx="127651" cy="0"/>
            </a:xfrm>
            <a:prstGeom prst="line">
              <a:avLst/>
            </a:prstGeom>
            <a:ln w="15875">
              <a:solidFill>
                <a:srgbClr val="C00000"/>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flipV="1">
              <a:off x="2600071" y="5041652"/>
              <a:ext cx="0" cy="762577"/>
            </a:xfrm>
            <a:prstGeom prst="line">
              <a:avLst/>
            </a:prstGeom>
            <a:ln w="15875">
              <a:solidFill>
                <a:srgbClr val="C00000"/>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flipH="1">
              <a:off x="2609984" y="5041652"/>
              <a:ext cx="643754" cy="0"/>
            </a:xfrm>
            <a:prstGeom prst="line">
              <a:avLst/>
            </a:prstGeom>
            <a:ln w="15875">
              <a:solidFill>
                <a:srgbClr val="C00000"/>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sp>
        <p:nvSpPr>
          <p:cNvPr id="101" name="TextBox 100"/>
          <p:cNvSpPr txBox="1"/>
          <p:nvPr/>
        </p:nvSpPr>
        <p:spPr>
          <a:xfrm>
            <a:off x="3010529" y="5688935"/>
            <a:ext cx="1279141" cy="442942"/>
          </a:xfrm>
          <a:prstGeom prst="rect">
            <a:avLst/>
          </a:prstGeom>
          <a:noFill/>
        </p:spPr>
        <p:txBody>
          <a:bodyPr wrap="square" lIns="0" tIns="0" rIns="0" bIns="0" rtlCol="0">
            <a:spAutoFit/>
          </a:bodyPr>
          <a:lstStyle/>
          <a:p>
            <a:pPr algn="ctr" defTabSz="931684">
              <a:lnSpc>
                <a:spcPct val="90000"/>
              </a:lnSpc>
              <a:spcAft>
                <a:spcPts val="600"/>
              </a:spcAft>
            </a:pPr>
            <a:r>
              <a:rPr lang="en-US" sz="1599" dirty="0" smtClean="0">
                <a:solidFill>
                  <a:srgbClr val="505050"/>
                </a:solidFill>
                <a:latin typeface="Segoe UI Semibold" panose="020B0702040204020203" pitchFamily="34" charset="0"/>
                <a:cs typeface="Segoe UI Semibold" panose="020B0702040204020203" pitchFamily="34" charset="0"/>
              </a:rPr>
              <a:t>SQL Server OLTP</a:t>
            </a:r>
            <a:endParaRPr lang="en-US" sz="1599" b="1" dirty="0">
              <a:solidFill>
                <a:srgbClr val="C00000"/>
              </a:solidFill>
              <a:latin typeface="Segoe UI"/>
              <a:cs typeface="+mn-cs"/>
            </a:endParaRPr>
          </a:p>
        </p:txBody>
      </p:sp>
      <p:sp>
        <p:nvSpPr>
          <p:cNvPr id="102" name="TextBox 101"/>
          <p:cNvSpPr txBox="1"/>
          <p:nvPr/>
        </p:nvSpPr>
        <p:spPr>
          <a:xfrm>
            <a:off x="2899537" y="2260311"/>
            <a:ext cx="1501125" cy="442942"/>
          </a:xfrm>
          <a:prstGeom prst="rect">
            <a:avLst/>
          </a:prstGeom>
          <a:noFill/>
        </p:spPr>
        <p:txBody>
          <a:bodyPr wrap="square" lIns="0" tIns="0" rIns="0" bIns="0" rtlCol="0">
            <a:spAutoFit/>
          </a:bodyPr>
          <a:lstStyle/>
          <a:p>
            <a:pPr algn="ctr" defTabSz="931684">
              <a:lnSpc>
                <a:spcPct val="90000"/>
              </a:lnSpc>
              <a:spcAft>
                <a:spcPts val="600"/>
              </a:spcAft>
            </a:pPr>
            <a:r>
              <a:rPr lang="en-US" sz="1599" dirty="0">
                <a:solidFill>
                  <a:srgbClr val="505050"/>
                </a:solidFill>
                <a:latin typeface="Segoe UI Semibold" panose="020B0702040204020203" pitchFamily="34" charset="0"/>
                <a:cs typeface="Segoe UI Semibold" panose="020B0702040204020203" pitchFamily="34" charset="0"/>
              </a:rPr>
              <a:t>SQL </a:t>
            </a:r>
            <a:r>
              <a:rPr lang="en-US" sz="1599" dirty="0" smtClean="0">
                <a:solidFill>
                  <a:srgbClr val="505050"/>
                </a:solidFill>
                <a:latin typeface="Segoe UI Semibold" panose="020B0702040204020203" pitchFamily="34" charset="0"/>
                <a:cs typeface="Segoe UI Semibold" panose="020B0702040204020203" pitchFamily="34" charset="0"/>
              </a:rPr>
              <a:t>Server</a:t>
            </a:r>
            <a:r>
              <a:rPr lang="en-US" sz="1599" b="1" dirty="0">
                <a:solidFill>
                  <a:srgbClr val="C00000"/>
                </a:solidFill>
                <a:latin typeface="Segoe UI"/>
                <a:cs typeface="Segoe UI Semibold" panose="020B0702040204020203" pitchFamily="34" charset="0"/>
              </a:rPr>
              <a:t/>
            </a:r>
            <a:br>
              <a:rPr lang="en-US" sz="1599" b="1" dirty="0">
                <a:solidFill>
                  <a:srgbClr val="C00000"/>
                </a:solidFill>
                <a:latin typeface="Segoe UI"/>
                <a:cs typeface="Segoe UI Semibold" panose="020B0702040204020203" pitchFamily="34" charset="0"/>
              </a:rPr>
            </a:br>
            <a:r>
              <a:rPr lang="en-US" sz="1599" dirty="0">
                <a:solidFill>
                  <a:srgbClr val="505050"/>
                </a:solidFill>
                <a:latin typeface="Segoe UI Semibold" panose="020B0702040204020203" pitchFamily="34" charset="0"/>
                <a:cs typeface="Segoe UI Semibold" panose="020B0702040204020203" pitchFamily="34" charset="0"/>
              </a:rPr>
              <a:t>d</a:t>
            </a:r>
            <a:r>
              <a:rPr lang="en-US" sz="1599" dirty="0" smtClean="0">
                <a:solidFill>
                  <a:srgbClr val="505050"/>
                </a:solidFill>
                <a:latin typeface="Segoe UI Semibold" panose="020B0702040204020203" pitchFamily="34" charset="0"/>
                <a:cs typeface="Segoe UI Semibold" panose="020B0702040204020203" pitchFamily="34" charset="0"/>
              </a:rPr>
              <a:t>ata warehouse</a:t>
            </a:r>
            <a:endParaRPr lang="en-US" sz="1599" b="1" dirty="0">
              <a:solidFill>
                <a:srgbClr val="C00000"/>
              </a:solidFill>
              <a:latin typeface="Segoe UI"/>
              <a:cs typeface="+mn-cs"/>
            </a:endParaRPr>
          </a:p>
        </p:txBody>
      </p:sp>
      <p:cxnSp>
        <p:nvCxnSpPr>
          <p:cNvPr id="103" name="Straight Connector 102"/>
          <p:cNvCxnSpPr/>
          <p:nvPr/>
        </p:nvCxnSpPr>
        <p:spPr>
          <a:xfrm flipV="1">
            <a:off x="3648474" y="3817751"/>
            <a:ext cx="0" cy="762577"/>
          </a:xfrm>
          <a:prstGeom prst="line">
            <a:avLst/>
          </a:prstGeom>
          <a:ln w="15875">
            <a:solidFill>
              <a:srgbClr val="C00000"/>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5" name="Group 4"/>
          <p:cNvGrpSpPr/>
          <p:nvPr/>
        </p:nvGrpSpPr>
        <p:grpSpPr>
          <a:xfrm>
            <a:off x="3238678" y="4571970"/>
            <a:ext cx="822843" cy="1068544"/>
            <a:chOff x="11600573" y="1198086"/>
            <a:chExt cx="822843" cy="1068544"/>
          </a:xfrm>
        </p:grpSpPr>
        <p:sp>
          <p:nvSpPr>
            <p:cNvPr id="79" name="Oval 78"/>
            <p:cNvSpPr>
              <a:spLocks noChangeArrowheads="1"/>
            </p:cNvSpPr>
            <p:nvPr/>
          </p:nvSpPr>
          <p:spPr bwMode="auto">
            <a:xfrm>
              <a:off x="11614650" y="1198086"/>
              <a:ext cx="794690" cy="151004"/>
            </a:xfrm>
            <a:prstGeom prst="ellipse">
              <a:avLst/>
            </a:pr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418" fontAlgn="auto">
                <a:spcBef>
                  <a:spcPts val="0"/>
                </a:spcBef>
                <a:spcAft>
                  <a:spcPts val="0"/>
                </a:spcAft>
                <a:defRPr/>
              </a:pPr>
              <a:endParaRPr lang="en-US" sz="1800" kern="0">
                <a:solidFill>
                  <a:srgbClr val="FFFFFF"/>
                </a:solidFill>
                <a:latin typeface="Segoe UI"/>
                <a:cs typeface="+mn-cs"/>
              </a:endParaRPr>
            </a:p>
          </p:txBody>
        </p:sp>
        <p:sp>
          <p:nvSpPr>
            <p:cNvPr id="81" name="Freeform 123"/>
            <p:cNvSpPr>
              <a:spLocks noEditPoints="1"/>
            </p:cNvSpPr>
            <p:nvPr/>
          </p:nvSpPr>
          <p:spPr bwMode="auto">
            <a:xfrm>
              <a:off x="11600573" y="1303023"/>
              <a:ext cx="822843" cy="963607"/>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418" fontAlgn="auto">
                <a:spcBef>
                  <a:spcPts val="0"/>
                </a:spcBef>
                <a:spcAft>
                  <a:spcPts val="0"/>
                </a:spcAft>
                <a:defRPr/>
              </a:pPr>
              <a:endParaRPr lang="en-US" sz="1800" kern="0">
                <a:solidFill>
                  <a:srgbClr val="FFFFFF"/>
                </a:solidFill>
                <a:latin typeface="Segoe UI"/>
                <a:cs typeface="+mn-cs"/>
              </a:endParaRPr>
            </a:p>
          </p:txBody>
        </p:sp>
      </p:grpSp>
      <p:grpSp>
        <p:nvGrpSpPr>
          <p:cNvPr id="98" name="Group 97"/>
          <p:cNvGrpSpPr/>
          <p:nvPr/>
        </p:nvGrpSpPr>
        <p:grpSpPr>
          <a:xfrm>
            <a:off x="3238678" y="2845304"/>
            <a:ext cx="822843" cy="1068544"/>
            <a:chOff x="11600573" y="1198086"/>
            <a:chExt cx="822843" cy="1068544"/>
          </a:xfrm>
        </p:grpSpPr>
        <p:sp>
          <p:nvSpPr>
            <p:cNvPr id="99" name="Oval 98"/>
            <p:cNvSpPr>
              <a:spLocks noChangeArrowheads="1"/>
            </p:cNvSpPr>
            <p:nvPr/>
          </p:nvSpPr>
          <p:spPr bwMode="auto">
            <a:xfrm>
              <a:off x="11614650" y="1198086"/>
              <a:ext cx="794690" cy="151004"/>
            </a:xfrm>
            <a:prstGeom prst="ellipse">
              <a:avLst/>
            </a:pr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418" fontAlgn="auto">
                <a:spcBef>
                  <a:spcPts val="0"/>
                </a:spcBef>
                <a:spcAft>
                  <a:spcPts val="0"/>
                </a:spcAft>
                <a:defRPr/>
              </a:pPr>
              <a:endParaRPr lang="en-US" sz="1800" kern="0">
                <a:solidFill>
                  <a:srgbClr val="FFFFFF"/>
                </a:solidFill>
                <a:latin typeface="Segoe UI"/>
                <a:cs typeface="+mn-cs"/>
              </a:endParaRPr>
            </a:p>
          </p:txBody>
        </p:sp>
        <p:sp>
          <p:nvSpPr>
            <p:cNvPr id="100" name="Freeform 123"/>
            <p:cNvSpPr>
              <a:spLocks noEditPoints="1"/>
            </p:cNvSpPr>
            <p:nvPr/>
          </p:nvSpPr>
          <p:spPr bwMode="auto">
            <a:xfrm>
              <a:off x="11600573" y="1303023"/>
              <a:ext cx="822843" cy="963607"/>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418" fontAlgn="auto">
                <a:spcBef>
                  <a:spcPts val="0"/>
                </a:spcBef>
                <a:spcAft>
                  <a:spcPts val="0"/>
                </a:spcAft>
                <a:defRPr/>
              </a:pPr>
              <a:endParaRPr lang="en-US" sz="1800" kern="0">
                <a:solidFill>
                  <a:srgbClr val="FFFFFF"/>
                </a:solidFill>
                <a:latin typeface="Segoe UI"/>
                <a:cs typeface="+mn-cs"/>
              </a:endParaRPr>
            </a:p>
          </p:txBody>
        </p:sp>
      </p:grpSp>
      <p:sp>
        <p:nvSpPr>
          <p:cNvPr id="6" name="Rectangle 5"/>
          <p:cNvSpPr/>
          <p:nvPr/>
        </p:nvSpPr>
        <p:spPr>
          <a:xfrm>
            <a:off x="3609112" y="4074686"/>
            <a:ext cx="466090" cy="307777"/>
          </a:xfrm>
          <a:prstGeom prst="rect">
            <a:avLst/>
          </a:prstGeom>
        </p:spPr>
        <p:txBody>
          <a:bodyPr wrap="none">
            <a:spAutoFit/>
          </a:bodyPr>
          <a:lstStyle/>
          <a:p>
            <a:r>
              <a:rPr lang="en-US" sz="1400" dirty="0" smtClean="0">
                <a:solidFill>
                  <a:srgbClr val="C00000"/>
                </a:solidFill>
                <a:latin typeface="Segoe UI Semibold" panose="020B0702040204020203" pitchFamily="34" charset="0"/>
                <a:cs typeface="Segoe UI Semibold" panose="020B0702040204020203" pitchFamily="34" charset="0"/>
              </a:rPr>
              <a:t>ETL</a:t>
            </a:r>
            <a:endParaRPr lang="en-US" sz="1400" dirty="0">
              <a:solidFill>
                <a:srgbClr val="C00000"/>
              </a:solidFill>
            </a:endParaRPr>
          </a:p>
        </p:txBody>
      </p:sp>
      <p:sp>
        <p:nvSpPr>
          <p:cNvPr id="518" name="TextBox 517"/>
          <p:cNvSpPr txBox="1"/>
          <p:nvPr/>
        </p:nvSpPr>
        <p:spPr>
          <a:xfrm>
            <a:off x="2747689" y="2194205"/>
            <a:ext cx="1781613" cy="442942"/>
          </a:xfrm>
          <a:prstGeom prst="rect">
            <a:avLst/>
          </a:prstGeom>
          <a:noFill/>
        </p:spPr>
        <p:txBody>
          <a:bodyPr wrap="square" lIns="0" tIns="0" rIns="0" bIns="0" rtlCol="0">
            <a:spAutoFit/>
          </a:bodyPr>
          <a:lstStyle/>
          <a:p>
            <a:pPr algn="ctr" defTabSz="931684">
              <a:lnSpc>
                <a:spcPct val="90000"/>
              </a:lnSpc>
              <a:spcAft>
                <a:spcPts val="600"/>
              </a:spcAft>
            </a:pPr>
            <a:r>
              <a:rPr lang="en-US" sz="1599" dirty="0">
                <a:solidFill>
                  <a:srgbClr val="505050"/>
                </a:solidFill>
                <a:latin typeface="Segoe UI Semibold" panose="020B0702040204020203" pitchFamily="34" charset="0"/>
                <a:cs typeface="Segoe UI Semibold" panose="020B0702040204020203" pitchFamily="34" charset="0"/>
              </a:rPr>
              <a:t>In-memory  ColumnStore</a:t>
            </a:r>
            <a:endParaRPr lang="en-US" sz="1599" b="1" dirty="0">
              <a:solidFill>
                <a:srgbClr val="C00000"/>
              </a:solidFill>
              <a:latin typeface="Segoe UI"/>
            </a:endParaRPr>
          </a:p>
        </p:txBody>
      </p:sp>
      <p:sp>
        <p:nvSpPr>
          <p:cNvPr id="519" name="TextBox 518"/>
          <p:cNvSpPr txBox="1"/>
          <p:nvPr/>
        </p:nvSpPr>
        <p:spPr>
          <a:xfrm>
            <a:off x="2815535" y="5676577"/>
            <a:ext cx="1645920" cy="442942"/>
          </a:xfrm>
          <a:prstGeom prst="rect">
            <a:avLst/>
          </a:prstGeom>
          <a:noFill/>
        </p:spPr>
        <p:txBody>
          <a:bodyPr wrap="square" lIns="0" tIns="0" rIns="0" bIns="0" rtlCol="0">
            <a:spAutoFit/>
          </a:bodyPr>
          <a:lstStyle/>
          <a:p>
            <a:pPr algn="ctr" defTabSz="931684">
              <a:lnSpc>
                <a:spcPct val="90000"/>
              </a:lnSpc>
              <a:spcAft>
                <a:spcPts val="600"/>
              </a:spcAft>
            </a:pPr>
            <a:r>
              <a:rPr lang="en-US" sz="1599" dirty="0" smtClean="0">
                <a:solidFill>
                  <a:srgbClr val="505050"/>
                </a:solidFill>
                <a:latin typeface="Segoe UI Semibold" panose="020B0702040204020203" pitchFamily="34" charset="0"/>
                <a:cs typeface="Segoe UI Semibold" panose="020B0702040204020203" pitchFamily="34" charset="0"/>
              </a:rPr>
              <a:t>In-memory </a:t>
            </a:r>
            <a:br>
              <a:rPr lang="en-US" sz="1599" dirty="0" smtClean="0">
                <a:solidFill>
                  <a:srgbClr val="505050"/>
                </a:solidFill>
                <a:latin typeface="Segoe UI Semibold" panose="020B0702040204020203" pitchFamily="34" charset="0"/>
                <a:cs typeface="Segoe UI Semibold" panose="020B0702040204020203" pitchFamily="34" charset="0"/>
              </a:rPr>
            </a:br>
            <a:r>
              <a:rPr lang="en-US" sz="1599" dirty="0" smtClean="0">
                <a:solidFill>
                  <a:srgbClr val="505050"/>
                </a:solidFill>
                <a:latin typeface="Segoe UI Semibold" panose="020B0702040204020203" pitchFamily="34" charset="0"/>
                <a:cs typeface="Segoe UI Semibold" panose="020B0702040204020203" pitchFamily="34" charset="0"/>
              </a:rPr>
              <a:t>OLTP</a:t>
            </a:r>
            <a:endParaRPr lang="en-US" sz="1599" dirty="0">
              <a:solidFill>
                <a:srgbClr val="505050"/>
              </a:solidFill>
              <a:latin typeface="Segoe UI Semibold" panose="020B0702040204020203" pitchFamily="34" charset="0"/>
              <a:cs typeface="Segoe UI Semibold" panose="020B0702040204020203" pitchFamily="34" charset="0"/>
            </a:endParaRPr>
          </a:p>
        </p:txBody>
      </p:sp>
      <p:grpSp>
        <p:nvGrpSpPr>
          <p:cNvPr id="511" name="Group 510"/>
          <p:cNvGrpSpPr/>
          <p:nvPr/>
        </p:nvGrpSpPr>
        <p:grpSpPr>
          <a:xfrm>
            <a:off x="2862261" y="4453293"/>
            <a:ext cx="1552468" cy="1173667"/>
            <a:chOff x="1568450" y="4868199"/>
            <a:chExt cx="2206298" cy="1446875"/>
          </a:xfrm>
        </p:grpSpPr>
        <p:sp>
          <p:nvSpPr>
            <p:cNvPr id="512" name="Freeform 511"/>
            <p:cNvSpPr/>
            <p:nvPr/>
          </p:nvSpPr>
          <p:spPr bwMode="auto">
            <a:xfrm>
              <a:off x="1568450" y="4868200"/>
              <a:ext cx="2206298" cy="1445980"/>
            </a:xfrm>
            <a:custGeom>
              <a:avLst/>
              <a:gdLst>
                <a:gd name="connsiteX0" fmla="*/ 56823 w 2206298"/>
                <a:gd name="connsiteY0" fmla="*/ 56225 h 1445980"/>
                <a:gd name="connsiteX1" fmla="*/ 56823 w 2206298"/>
                <a:gd name="connsiteY1" fmla="*/ 1389755 h 1445980"/>
                <a:gd name="connsiteX2" fmla="*/ 2149475 w 2206298"/>
                <a:gd name="connsiteY2" fmla="*/ 1389755 h 1445980"/>
                <a:gd name="connsiteX3" fmla="*/ 2149475 w 2206298"/>
                <a:gd name="connsiteY3" fmla="*/ 56225 h 1445980"/>
                <a:gd name="connsiteX4" fmla="*/ 0 w 2206298"/>
                <a:gd name="connsiteY4" fmla="*/ 0 h 1445980"/>
                <a:gd name="connsiteX5" fmla="*/ 2206298 w 2206298"/>
                <a:gd name="connsiteY5" fmla="*/ 0 h 1445980"/>
                <a:gd name="connsiteX6" fmla="*/ 2206298 w 2206298"/>
                <a:gd name="connsiteY6" fmla="*/ 1445980 h 1445980"/>
                <a:gd name="connsiteX7" fmla="*/ 0 w 2206298"/>
                <a:gd name="connsiteY7" fmla="*/ 1445980 h 1445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06298" h="1445980">
                  <a:moveTo>
                    <a:pt x="56823" y="56225"/>
                  </a:moveTo>
                  <a:lnTo>
                    <a:pt x="56823" y="1389755"/>
                  </a:lnTo>
                  <a:lnTo>
                    <a:pt x="2149475" y="1389755"/>
                  </a:lnTo>
                  <a:lnTo>
                    <a:pt x="2149475" y="56225"/>
                  </a:lnTo>
                  <a:close/>
                  <a:moveTo>
                    <a:pt x="0" y="0"/>
                  </a:moveTo>
                  <a:lnTo>
                    <a:pt x="2206298" y="0"/>
                  </a:lnTo>
                  <a:lnTo>
                    <a:pt x="2206298" y="1445980"/>
                  </a:lnTo>
                  <a:lnTo>
                    <a:pt x="0" y="1445980"/>
                  </a:lnTo>
                  <a:close/>
                </a:path>
              </a:pathLst>
            </a:custGeom>
            <a:solidFill>
              <a:schemeClr val="accent4">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342834" indent="-342834" algn="ctr" defTabSz="932293">
                <a:lnSpc>
                  <a:spcPct val="90000"/>
                </a:lnSpc>
                <a:buFont typeface="Wingdings 3" panose="05040102010807070707" pitchFamily="18" charset="2"/>
                <a:buChar char="Æ"/>
              </a:pPr>
              <a:endParaRPr lang="en-IN" sz="2000" b="1" dirty="0" err="1">
                <a:solidFill>
                  <a:srgbClr val="FFFFFF"/>
                </a:solidFill>
                <a:latin typeface="Segoe UI Light"/>
                <a:ea typeface="Segoe UI" pitchFamily="34" charset="0"/>
                <a:cs typeface="Segoe UI" pitchFamily="34" charset="0"/>
              </a:endParaRPr>
            </a:p>
          </p:txBody>
        </p:sp>
        <p:sp>
          <p:nvSpPr>
            <p:cNvPr id="513" name="Freeform 512"/>
            <p:cNvSpPr/>
            <p:nvPr/>
          </p:nvSpPr>
          <p:spPr bwMode="auto">
            <a:xfrm>
              <a:off x="1742208" y="5040792"/>
              <a:ext cx="1858783" cy="1100796"/>
            </a:xfrm>
            <a:custGeom>
              <a:avLst/>
              <a:gdLst>
                <a:gd name="connsiteX0" fmla="*/ 0 w 1858783"/>
                <a:gd name="connsiteY0" fmla="*/ 967202 h 1100796"/>
                <a:gd name="connsiteX1" fmla="*/ 1858783 w 1858783"/>
                <a:gd name="connsiteY1" fmla="*/ 967202 h 1100796"/>
                <a:gd name="connsiteX2" fmla="*/ 1858783 w 1858783"/>
                <a:gd name="connsiteY2" fmla="*/ 1100796 h 1100796"/>
                <a:gd name="connsiteX3" fmla="*/ 0 w 1858783"/>
                <a:gd name="connsiteY3" fmla="*/ 1100796 h 1100796"/>
                <a:gd name="connsiteX4" fmla="*/ 0 w 1858783"/>
                <a:gd name="connsiteY4" fmla="*/ 725403 h 1100796"/>
                <a:gd name="connsiteX5" fmla="*/ 1858783 w 1858783"/>
                <a:gd name="connsiteY5" fmla="*/ 725403 h 1100796"/>
                <a:gd name="connsiteX6" fmla="*/ 1858783 w 1858783"/>
                <a:gd name="connsiteY6" fmla="*/ 858997 h 1100796"/>
                <a:gd name="connsiteX7" fmla="*/ 0 w 1858783"/>
                <a:gd name="connsiteY7" fmla="*/ 858997 h 1100796"/>
                <a:gd name="connsiteX8" fmla="*/ 0 w 1858783"/>
                <a:gd name="connsiteY8" fmla="*/ 483602 h 1100796"/>
                <a:gd name="connsiteX9" fmla="*/ 1858783 w 1858783"/>
                <a:gd name="connsiteY9" fmla="*/ 483602 h 1100796"/>
                <a:gd name="connsiteX10" fmla="*/ 1858783 w 1858783"/>
                <a:gd name="connsiteY10" fmla="*/ 617196 h 1100796"/>
                <a:gd name="connsiteX11" fmla="*/ 0 w 1858783"/>
                <a:gd name="connsiteY11" fmla="*/ 617196 h 1100796"/>
                <a:gd name="connsiteX12" fmla="*/ 0 w 1858783"/>
                <a:gd name="connsiteY12" fmla="*/ 241801 h 1100796"/>
                <a:gd name="connsiteX13" fmla="*/ 1858783 w 1858783"/>
                <a:gd name="connsiteY13" fmla="*/ 241801 h 1100796"/>
                <a:gd name="connsiteX14" fmla="*/ 1858783 w 1858783"/>
                <a:gd name="connsiteY14" fmla="*/ 375395 h 1100796"/>
                <a:gd name="connsiteX15" fmla="*/ 0 w 1858783"/>
                <a:gd name="connsiteY15" fmla="*/ 375395 h 1100796"/>
                <a:gd name="connsiteX16" fmla="*/ 0 w 1858783"/>
                <a:gd name="connsiteY16" fmla="*/ 0 h 1100796"/>
                <a:gd name="connsiteX17" fmla="*/ 1858783 w 1858783"/>
                <a:gd name="connsiteY17" fmla="*/ 0 h 1100796"/>
                <a:gd name="connsiteX18" fmla="*/ 1858783 w 1858783"/>
                <a:gd name="connsiteY18" fmla="*/ 133594 h 1100796"/>
                <a:gd name="connsiteX19" fmla="*/ 0 w 1858783"/>
                <a:gd name="connsiteY19" fmla="*/ 133594 h 1100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858783" h="1100796">
                  <a:moveTo>
                    <a:pt x="0" y="967202"/>
                  </a:moveTo>
                  <a:lnTo>
                    <a:pt x="1858783" y="967202"/>
                  </a:lnTo>
                  <a:lnTo>
                    <a:pt x="1858783" y="1100796"/>
                  </a:lnTo>
                  <a:lnTo>
                    <a:pt x="0" y="1100796"/>
                  </a:lnTo>
                  <a:close/>
                  <a:moveTo>
                    <a:pt x="0" y="725403"/>
                  </a:moveTo>
                  <a:lnTo>
                    <a:pt x="1858783" y="725403"/>
                  </a:lnTo>
                  <a:lnTo>
                    <a:pt x="1858783" y="858997"/>
                  </a:lnTo>
                  <a:lnTo>
                    <a:pt x="0" y="858997"/>
                  </a:lnTo>
                  <a:close/>
                  <a:moveTo>
                    <a:pt x="0" y="483602"/>
                  </a:moveTo>
                  <a:lnTo>
                    <a:pt x="1858783" y="483602"/>
                  </a:lnTo>
                  <a:lnTo>
                    <a:pt x="1858783" y="617196"/>
                  </a:lnTo>
                  <a:lnTo>
                    <a:pt x="0" y="617196"/>
                  </a:lnTo>
                  <a:close/>
                  <a:moveTo>
                    <a:pt x="0" y="241801"/>
                  </a:moveTo>
                  <a:lnTo>
                    <a:pt x="1858783" y="241801"/>
                  </a:lnTo>
                  <a:lnTo>
                    <a:pt x="1858783" y="375395"/>
                  </a:lnTo>
                  <a:lnTo>
                    <a:pt x="0" y="375395"/>
                  </a:lnTo>
                  <a:close/>
                  <a:moveTo>
                    <a:pt x="0" y="0"/>
                  </a:moveTo>
                  <a:lnTo>
                    <a:pt x="1858783" y="0"/>
                  </a:lnTo>
                  <a:lnTo>
                    <a:pt x="1858783" y="133594"/>
                  </a:lnTo>
                  <a:lnTo>
                    <a:pt x="0" y="133594"/>
                  </a:lnTo>
                  <a:close/>
                </a:path>
              </a:pathLst>
            </a:cu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342834" indent="-342834" algn="ctr" defTabSz="932293">
                <a:lnSpc>
                  <a:spcPct val="90000"/>
                </a:lnSpc>
                <a:buFont typeface="Wingdings 3" panose="05040102010807070707" pitchFamily="18" charset="2"/>
                <a:buChar char="Æ"/>
              </a:pPr>
              <a:endParaRPr lang="en-IN" sz="2000" b="1" dirty="0" err="1">
                <a:solidFill>
                  <a:srgbClr val="FFFFFF"/>
                </a:solidFill>
                <a:latin typeface="Segoe UI Light"/>
                <a:ea typeface="Segoe UI" pitchFamily="34" charset="0"/>
                <a:cs typeface="Segoe UI" pitchFamily="34" charset="0"/>
              </a:endParaRPr>
            </a:p>
          </p:txBody>
        </p:sp>
        <p:sp>
          <p:nvSpPr>
            <p:cNvPr id="514" name="Rectangle 166"/>
            <p:cNvSpPr/>
            <p:nvPr/>
          </p:nvSpPr>
          <p:spPr bwMode="auto">
            <a:xfrm>
              <a:off x="1568450" y="4868199"/>
              <a:ext cx="2206298" cy="1446875"/>
            </a:xfrm>
            <a:custGeom>
              <a:avLst/>
              <a:gdLst>
                <a:gd name="connsiteX0" fmla="*/ 0 w 2206298"/>
                <a:gd name="connsiteY0" fmla="*/ 0 h 1445980"/>
                <a:gd name="connsiteX1" fmla="*/ 2206298 w 2206298"/>
                <a:gd name="connsiteY1" fmla="*/ 0 h 1445980"/>
                <a:gd name="connsiteX2" fmla="*/ 2206298 w 2206298"/>
                <a:gd name="connsiteY2" fmla="*/ 1445980 h 1445980"/>
                <a:gd name="connsiteX3" fmla="*/ 0 w 2206298"/>
                <a:gd name="connsiteY3" fmla="*/ 1445980 h 1445980"/>
                <a:gd name="connsiteX4" fmla="*/ 0 w 2206298"/>
                <a:gd name="connsiteY4" fmla="*/ 0 h 1445980"/>
                <a:gd name="connsiteX0" fmla="*/ 0 w 2206298"/>
                <a:gd name="connsiteY0" fmla="*/ 0 h 1445980"/>
                <a:gd name="connsiteX1" fmla="*/ 2206298 w 2206298"/>
                <a:gd name="connsiteY1" fmla="*/ 0 h 1445980"/>
                <a:gd name="connsiteX2" fmla="*/ 2206298 w 2206298"/>
                <a:gd name="connsiteY2" fmla="*/ 1445980 h 1445980"/>
                <a:gd name="connsiteX3" fmla="*/ 330200 w 2206298"/>
                <a:gd name="connsiteY3" fmla="*/ 1437350 h 1445980"/>
                <a:gd name="connsiteX4" fmla="*/ 0 w 2206298"/>
                <a:gd name="connsiteY4" fmla="*/ 1445980 h 1445980"/>
                <a:gd name="connsiteX5" fmla="*/ 0 w 2206298"/>
                <a:gd name="connsiteY5" fmla="*/ 0 h 1445980"/>
                <a:gd name="connsiteX0" fmla="*/ 0 w 2206298"/>
                <a:gd name="connsiteY0" fmla="*/ 0 h 1445980"/>
                <a:gd name="connsiteX1" fmla="*/ 2206298 w 2206298"/>
                <a:gd name="connsiteY1" fmla="*/ 0 h 1445980"/>
                <a:gd name="connsiteX2" fmla="*/ 330200 w 2206298"/>
                <a:gd name="connsiteY2" fmla="*/ 1437350 h 1445980"/>
                <a:gd name="connsiteX3" fmla="*/ 0 w 2206298"/>
                <a:gd name="connsiteY3" fmla="*/ 1445980 h 1445980"/>
                <a:gd name="connsiteX4" fmla="*/ 0 w 2206298"/>
                <a:gd name="connsiteY4" fmla="*/ 0 h 1445980"/>
                <a:gd name="connsiteX0" fmla="*/ 0 w 2206298"/>
                <a:gd name="connsiteY0" fmla="*/ 0 h 1449256"/>
                <a:gd name="connsiteX1" fmla="*/ 2206298 w 2206298"/>
                <a:gd name="connsiteY1" fmla="*/ 0 h 1449256"/>
                <a:gd name="connsiteX2" fmla="*/ 223043 w 2206298"/>
                <a:gd name="connsiteY2" fmla="*/ 1449256 h 1449256"/>
                <a:gd name="connsiteX3" fmla="*/ 0 w 2206298"/>
                <a:gd name="connsiteY3" fmla="*/ 1445980 h 1449256"/>
                <a:gd name="connsiteX4" fmla="*/ 0 w 2206298"/>
                <a:gd name="connsiteY4" fmla="*/ 0 h 1449256"/>
                <a:gd name="connsiteX0" fmla="*/ 0 w 2206298"/>
                <a:gd name="connsiteY0" fmla="*/ 0 h 1446875"/>
                <a:gd name="connsiteX1" fmla="*/ 2206298 w 2206298"/>
                <a:gd name="connsiteY1" fmla="*/ 0 h 1446875"/>
                <a:gd name="connsiteX2" fmla="*/ 234949 w 2206298"/>
                <a:gd name="connsiteY2" fmla="*/ 1446875 h 1446875"/>
                <a:gd name="connsiteX3" fmla="*/ 0 w 2206298"/>
                <a:gd name="connsiteY3" fmla="*/ 1445980 h 1446875"/>
                <a:gd name="connsiteX4" fmla="*/ 0 w 2206298"/>
                <a:gd name="connsiteY4" fmla="*/ 0 h 1446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6298" h="1446875">
                  <a:moveTo>
                    <a:pt x="0" y="0"/>
                  </a:moveTo>
                  <a:lnTo>
                    <a:pt x="2206298" y="0"/>
                  </a:lnTo>
                  <a:lnTo>
                    <a:pt x="234949" y="1446875"/>
                  </a:lnTo>
                  <a:lnTo>
                    <a:pt x="0" y="1445980"/>
                  </a:lnTo>
                  <a:lnTo>
                    <a:pt x="0" y="0"/>
                  </a:lnTo>
                  <a:close/>
                </a:path>
              </a:pathLst>
            </a:custGeom>
            <a:solidFill>
              <a:schemeClr val="bg1">
                <a:alpha val="2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342834" indent="-342834" algn="ctr" defTabSz="932293">
                <a:lnSpc>
                  <a:spcPct val="90000"/>
                </a:lnSpc>
                <a:buFont typeface="Wingdings 3" panose="05040102010807070707" pitchFamily="18" charset="2"/>
                <a:buChar char="Æ"/>
              </a:pPr>
              <a:endParaRPr lang="en-IN" sz="2000" b="1" dirty="0" err="1">
                <a:solidFill>
                  <a:srgbClr val="FFFFFF"/>
                </a:solidFill>
                <a:latin typeface="Segoe UI Light"/>
                <a:ea typeface="Segoe UI" pitchFamily="34" charset="0"/>
                <a:cs typeface="Segoe UI" pitchFamily="34" charset="0"/>
              </a:endParaRPr>
            </a:p>
          </p:txBody>
        </p:sp>
      </p:grpSp>
      <p:sp>
        <p:nvSpPr>
          <p:cNvPr id="520" name="Freeform 93"/>
          <p:cNvSpPr>
            <a:spLocks noChangeAspect="1"/>
          </p:cNvSpPr>
          <p:nvPr/>
        </p:nvSpPr>
        <p:spPr bwMode="black">
          <a:xfrm rot="5400000">
            <a:off x="3519626" y="4028839"/>
            <a:ext cx="237743" cy="233812"/>
          </a:xfrm>
          <a:custGeom>
            <a:avLst/>
            <a:gdLst>
              <a:gd name="T0" fmla="*/ 71 w 121"/>
              <a:gd name="T1" fmla="*/ 119 h 119"/>
              <a:gd name="T2" fmla="*/ 50 w 121"/>
              <a:gd name="T3" fmla="*/ 119 h 119"/>
              <a:gd name="T4" fmla="*/ 50 w 121"/>
              <a:gd name="T5" fmla="*/ 71 h 119"/>
              <a:gd name="T6" fmla="*/ 0 w 121"/>
              <a:gd name="T7" fmla="*/ 71 h 119"/>
              <a:gd name="T8" fmla="*/ 0 w 121"/>
              <a:gd name="T9" fmla="*/ 49 h 119"/>
              <a:gd name="T10" fmla="*/ 50 w 121"/>
              <a:gd name="T11" fmla="*/ 49 h 119"/>
              <a:gd name="T12" fmla="*/ 50 w 121"/>
              <a:gd name="T13" fmla="*/ 0 h 119"/>
              <a:gd name="T14" fmla="*/ 71 w 121"/>
              <a:gd name="T15" fmla="*/ 0 h 119"/>
              <a:gd name="T16" fmla="*/ 71 w 121"/>
              <a:gd name="T17" fmla="*/ 49 h 119"/>
              <a:gd name="T18" fmla="*/ 121 w 121"/>
              <a:gd name="T19" fmla="*/ 49 h 119"/>
              <a:gd name="T20" fmla="*/ 121 w 121"/>
              <a:gd name="T21" fmla="*/ 71 h 119"/>
              <a:gd name="T22" fmla="*/ 71 w 121"/>
              <a:gd name="T23" fmla="*/ 71 h 119"/>
              <a:gd name="T24" fmla="*/ 71 w 121"/>
              <a:gd name="T25"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1" h="119">
                <a:moveTo>
                  <a:pt x="71" y="119"/>
                </a:moveTo>
                <a:lnTo>
                  <a:pt x="50" y="119"/>
                </a:lnTo>
                <a:lnTo>
                  <a:pt x="50" y="71"/>
                </a:lnTo>
                <a:lnTo>
                  <a:pt x="0" y="71"/>
                </a:lnTo>
                <a:lnTo>
                  <a:pt x="0" y="49"/>
                </a:lnTo>
                <a:lnTo>
                  <a:pt x="50" y="49"/>
                </a:lnTo>
                <a:lnTo>
                  <a:pt x="50" y="0"/>
                </a:lnTo>
                <a:lnTo>
                  <a:pt x="71" y="0"/>
                </a:lnTo>
                <a:lnTo>
                  <a:pt x="71" y="49"/>
                </a:lnTo>
                <a:lnTo>
                  <a:pt x="121" y="49"/>
                </a:lnTo>
                <a:lnTo>
                  <a:pt x="121" y="71"/>
                </a:lnTo>
                <a:lnTo>
                  <a:pt x="71" y="71"/>
                </a:lnTo>
                <a:lnTo>
                  <a:pt x="71" y="119"/>
                </a:lnTo>
                <a:close/>
              </a:path>
            </a:pathLst>
          </a:custGeom>
          <a:solidFill>
            <a:schemeClr val="accent5"/>
          </a:solidFill>
          <a:ln>
            <a:noFill/>
          </a:ln>
          <a:extLst/>
        </p:spPr>
        <p:txBody>
          <a:bodyPr vert="horz" wrap="square" lIns="91421" tIns="45710" rIns="91421" bIns="45710" numCol="1" anchor="t" anchorCtr="0" compatLnSpc="1">
            <a:prstTxWarp prst="textNoShape">
              <a:avLst/>
            </a:prstTxWarp>
          </a:bodyPr>
          <a:lstStyle/>
          <a:p>
            <a:pPr defTabSz="914180" fontAlgn="auto">
              <a:spcBef>
                <a:spcPts val="0"/>
              </a:spcBef>
              <a:spcAft>
                <a:spcPts val="0"/>
              </a:spcAft>
            </a:pPr>
            <a:endParaRPr lang="en-US" sz="1764" dirty="0">
              <a:solidFill>
                <a:srgbClr val="000000"/>
              </a:solidFill>
              <a:latin typeface="Segoe UI"/>
              <a:cs typeface="+mn-cs"/>
            </a:endParaRPr>
          </a:p>
        </p:txBody>
      </p:sp>
      <p:grpSp>
        <p:nvGrpSpPr>
          <p:cNvPr id="521" name="Group 520"/>
          <p:cNvGrpSpPr/>
          <p:nvPr/>
        </p:nvGrpSpPr>
        <p:grpSpPr>
          <a:xfrm>
            <a:off x="2857325" y="2677573"/>
            <a:ext cx="1562341" cy="1173667"/>
            <a:chOff x="5536607" y="2134451"/>
            <a:chExt cx="1562341" cy="1173667"/>
          </a:xfrm>
        </p:grpSpPr>
        <p:sp>
          <p:nvSpPr>
            <p:cNvPr id="522" name="Freeform 521"/>
            <p:cNvSpPr/>
            <p:nvPr/>
          </p:nvSpPr>
          <p:spPr bwMode="auto">
            <a:xfrm>
              <a:off x="5536607" y="2135177"/>
              <a:ext cx="1552468" cy="1172941"/>
            </a:xfrm>
            <a:custGeom>
              <a:avLst/>
              <a:gdLst>
                <a:gd name="connsiteX0" fmla="*/ 56823 w 2206298"/>
                <a:gd name="connsiteY0" fmla="*/ 56225 h 1445980"/>
                <a:gd name="connsiteX1" fmla="*/ 56823 w 2206298"/>
                <a:gd name="connsiteY1" fmla="*/ 1389755 h 1445980"/>
                <a:gd name="connsiteX2" fmla="*/ 2149475 w 2206298"/>
                <a:gd name="connsiteY2" fmla="*/ 1389755 h 1445980"/>
                <a:gd name="connsiteX3" fmla="*/ 2149475 w 2206298"/>
                <a:gd name="connsiteY3" fmla="*/ 56225 h 1445980"/>
                <a:gd name="connsiteX4" fmla="*/ 0 w 2206298"/>
                <a:gd name="connsiteY4" fmla="*/ 0 h 1445980"/>
                <a:gd name="connsiteX5" fmla="*/ 2206298 w 2206298"/>
                <a:gd name="connsiteY5" fmla="*/ 0 h 1445980"/>
                <a:gd name="connsiteX6" fmla="*/ 2206298 w 2206298"/>
                <a:gd name="connsiteY6" fmla="*/ 1445980 h 1445980"/>
                <a:gd name="connsiteX7" fmla="*/ 0 w 2206298"/>
                <a:gd name="connsiteY7" fmla="*/ 1445980 h 1445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06298" h="1445980">
                  <a:moveTo>
                    <a:pt x="56823" y="56225"/>
                  </a:moveTo>
                  <a:lnTo>
                    <a:pt x="56823" y="1389755"/>
                  </a:lnTo>
                  <a:lnTo>
                    <a:pt x="2149475" y="1389755"/>
                  </a:lnTo>
                  <a:lnTo>
                    <a:pt x="2149475" y="56225"/>
                  </a:lnTo>
                  <a:close/>
                  <a:moveTo>
                    <a:pt x="0" y="0"/>
                  </a:moveTo>
                  <a:lnTo>
                    <a:pt x="2206298" y="0"/>
                  </a:lnTo>
                  <a:lnTo>
                    <a:pt x="2206298" y="1445980"/>
                  </a:lnTo>
                  <a:lnTo>
                    <a:pt x="0" y="1445980"/>
                  </a:lnTo>
                  <a:close/>
                </a:path>
              </a:pathLst>
            </a:custGeom>
            <a:solidFill>
              <a:schemeClr val="accent4">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342834" indent="-342834" algn="ctr" defTabSz="932293">
                <a:lnSpc>
                  <a:spcPct val="90000"/>
                </a:lnSpc>
                <a:buFont typeface="Wingdings 3" panose="05040102010807070707" pitchFamily="18" charset="2"/>
                <a:buChar char="Æ"/>
              </a:pPr>
              <a:endParaRPr lang="en-IN" sz="2000" b="1" dirty="0" err="1">
                <a:solidFill>
                  <a:srgbClr val="FFFFFF"/>
                </a:solidFill>
                <a:latin typeface="Segoe UI Light"/>
                <a:ea typeface="Segoe UI" pitchFamily="34" charset="0"/>
                <a:cs typeface="Segoe UI" pitchFamily="34" charset="0"/>
              </a:endParaRPr>
            </a:p>
          </p:txBody>
        </p:sp>
        <p:grpSp>
          <p:nvGrpSpPr>
            <p:cNvPr id="523" name="Group 522"/>
            <p:cNvGrpSpPr/>
            <p:nvPr/>
          </p:nvGrpSpPr>
          <p:grpSpPr>
            <a:xfrm>
              <a:off x="5672546" y="2242222"/>
              <a:ext cx="1280591" cy="958850"/>
              <a:chOff x="5673585" y="2242222"/>
              <a:chExt cx="1280591" cy="958850"/>
            </a:xfrm>
          </p:grpSpPr>
          <p:sp>
            <p:nvSpPr>
              <p:cNvPr id="525" name="Rectangle 524"/>
              <p:cNvSpPr/>
              <p:nvPr/>
            </p:nvSpPr>
            <p:spPr bwMode="auto">
              <a:xfrm>
                <a:off x="5673585" y="2242222"/>
                <a:ext cx="101600" cy="958850"/>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a:lnSpc>
                    <a:spcPct val="90000"/>
                  </a:lnSpc>
                  <a:buFont typeface="Wingdings 3" panose="05040102010807070707" pitchFamily="18" charset="2"/>
                  <a:buChar char="Æ"/>
                </a:pPr>
                <a:endParaRPr lang="en-US" sz="2000" b="1" dirty="0" err="1" smtClean="0">
                  <a:solidFill>
                    <a:srgbClr val="FFFFFF"/>
                  </a:solidFill>
                  <a:latin typeface="Segoe UI Light"/>
                  <a:ea typeface="Segoe UI" pitchFamily="34" charset="0"/>
                  <a:cs typeface="Segoe UI" pitchFamily="34" charset="0"/>
                </a:endParaRPr>
              </a:p>
            </p:txBody>
          </p:sp>
          <p:sp>
            <p:nvSpPr>
              <p:cNvPr id="526" name="Rectangle 525"/>
              <p:cNvSpPr/>
              <p:nvPr/>
            </p:nvSpPr>
            <p:spPr bwMode="auto">
              <a:xfrm>
                <a:off x="5870083" y="2242222"/>
                <a:ext cx="101600" cy="958850"/>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a:lnSpc>
                    <a:spcPct val="90000"/>
                  </a:lnSpc>
                  <a:buFont typeface="Wingdings 3" panose="05040102010807070707" pitchFamily="18" charset="2"/>
                  <a:buChar char="Æ"/>
                </a:pPr>
                <a:endParaRPr lang="en-US" sz="2000" b="1" dirty="0" err="1" smtClean="0">
                  <a:solidFill>
                    <a:srgbClr val="FFFFFF"/>
                  </a:solidFill>
                  <a:latin typeface="Segoe UI Light"/>
                  <a:ea typeface="Segoe UI" pitchFamily="34" charset="0"/>
                  <a:cs typeface="Segoe UI" pitchFamily="34" charset="0"/>
                </a:endParaRPr>
              </a:p>
            </p:txBody>
          </p:sp>
          <p:sp>
            <p:nvSpPr>
              <p:cNvPr id="527" name="Rectangle 526"/>
              <p:cNvSpPr/>
              <p:nvPr/>
            </p:nvSpPr>
            <p:spPr bwMode="auto">
              <a:xfrm>
                <a:off x="6066581" y="2242222"/>
                <a:ext cx="101600" cy="958850"/>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a:lnSpc>
                    <a:spcPct val="90000"/>
                  </a:lnSpc>
                  <a:buFont typeface="Wingdings 3" panose="05040102010807070707" pitchFamily="18" charset="2"/>
                  <a:buChar char="Æ"/>
                </a:pPr>
                <a:endParaRPr lang="en-US" sz="2000" b="1" dirty="0" err="1" smtClean="0">
                  <a:solidFill>
                    <a:srgbClr val="FFFFFF"/>
                  </a:solidFill>
                  <a:latin typeface="Segoe UI Light"/>
                  <a:ea typeface="Segoe UI" pitchFamily="34" charset="0"/>
                  <a:cs typeface="Segoe UI" pitchFamily="34" charset="0"/>
                </a:endParaRPr>
              </a:p>
            </p:txBody>
          </p:sp>
          <p:sp>
            <p:nvSpPr>
              <p:cNvPr id="528" name="Rectangle 527"/>
              <p:cNvSpPr/>
              <p:nvPr/>
            </p:nvSpPr>
            <p:spPr bwMode="auto">
              <a:xfrm>
                <a:off x="6263079" y="2242222"/>
                <a:ext cx="101600" cy="958850"/>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a:lnSpc>
                    <a:spcPct val="90000"/>
                  </a:lnSpc>
                  <a:buFont typeface="Wingdings 3" panose="05040102010807070707" pitchFamily="18" charset="2"/>
                  <a:buChar char="Æ"/>
                </a:pPr>
                <a:endParaRPr lang="en-US" sz="2000" b="1" dirty="0" err="1" smtClean="0">
                  <a:solidFill>
                    <a:srgbClr val="FFFFFF"/>
                  </a:solidFill>
                  <a:latin typeface="Segoe UI Light"/>
                  <a:ea typeface="Segoe UI" pitchFamily="34" charset="0"/>
                  <a:cs typeface="Segoe UI" pitchFamily="34" charset="0"/>
                </a:endParaRPr>
              </a:p>
            </p:txBody>
          </p:sp>
          <p:sp>
            <p:nvSpPr>
              <p:cNvPr id="529" name="Rectangle 528"/>
              <p:cNvSpPr/>
              <p:nvPr/>
            </p:nvSpPr>
            <p:spPr bwMode="auto">
              <a:xfrm>
                <a:off x="6459577" y="2242222"/>
                <a:ext cx="101600" cy="958850"/>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a:lnSpc>
                    <a:spcPct val="90000"/>
                  </a:lnSpc>
                  <a:buFont typeface="Wingdings 3" panose="05040102010807070707" pitchFamily="18" charset="2"/>
                  <a:buChar char="Æ"/>
                </a:pPr>
                <a:endParaRPr lang="en-US" sz="2000" b="1" dirty="0" err="1" smtClean="0">
                  <a:solidFill>
                    <a:srgbClr val="FFFFFF"/>
                  </a:solidFill>
                  <a:latin typeface="Segoe UI Light"/>
                  <a:ea typeface="Segoe UI" pitchFamily="34" charset="0"/>
                  <a:cs typeface="Segoe UI" pitchFamily="34" charset="0"/>
                </a:endParaRPr>
              </a:p>
            </p:txBody>
          </p:sp>
          <p:sp>
            <p:nvSpPr>
              <p:cNvPr id="530" name="Rectangle 529"/>
              <p:cNvSpPr/>
              <p:nvPr/>
            </p:nvSpPr>
            <p:spPr bwMode="auto">
              <a:xfrm>
                <a:off x="6656075" y="2242222"/>
                <a:ext cx="101600" cy="958850"/>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a:lnSpc>
                    <a:spcPct val="90000"/>
                  </a:lnSpc>
                  <a:buFont typeface="Wingdings 3" panose="05040102010807070707" pitchFamily="18" charset="2"/>
                  <a:buChar char="Æ"/>
                </a:pPr>
                <a:endParaRPr lang="en-US" sz="2000" b="1" dirty="0" err="1" smtClean="0">
                  <a:solidFill>
                    <a:srgbClr val="FFFFFF"/>
                  </a:solidFill>
                  <a:latin typeface="Segoe UI Light"/>
                  <a:ea typeface="Segoe UI" pitchFamily="34" charset="0"/>
                  <a:cs typeface="Segoe UI" pitchFamily="34" charset="0"/>
                </a:endParaRPr>
              </a:p>
            </p:txBody>
          </p:sp>
          <p:sp>
            <p:nvSpPr>
              <p:cNvPr id="531" name="Rectangle 530"/>
              <p:cNvSpPr/>
              <p:nvPr/>
            </p:nvSpPr>
            <p:spPr bwMode="auto">
              <a:xfrm>
                <a:off x="6852576" y="2242222"/>
                <a:ext cx="101600" cy="958850"/>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a:lnSpc>
                    <a:spcPct val="90000"/>
                  </a:lnSpc>
                  <a:buFont typeface="Wingdings 3" panose="05040102010807070707" pitchFamily="18" charset="2"/>
                  <a:buChar char="Æ"/>
                </a:pPr>
                <a:endParaRPr lang="en-US" sz="2000" b="1" dirty="0" err="1" smtClean="0">
                  <a:solidFill>
                    <a:srgbClr val="FFFFFF"/>
                  </a:solidFill>
                  <a:latin typeface="Segoe UI Light"/>
                  <a:ea typeface="Segoe UI" pitchFamily="34" charset="0"/>
                  <a:cs typeface="Segoe UI" pitchFamily="34" charset="0"/>
                </a:endParaRPr>
              </a:p>
            </p:txBody>
          </p:sp>
        </p:grpSp>
        <p:sp>
          <p:nvSpPr>
            <p:cNvPr id="524" name="Rectangle 166"/>
            <p:cNvSpPr/>
            <p:nvPr/>
          </p:nvSpPr>
          <p:spPr bwMode="auto">
            <a:xfrm>
              <a:off x="5546480" y="2134451"/>
              <a:ext cx="1552468" cy="1173667"/>
            </a:xfrm>
            <a:custGeom>
              <a:avLst/>
              <a:gdLst>
                <a:gd name="connsiteX0" fmla="*/ 0 w 2206298"/>
                <a:gd name="connsiteY0" fmla="*/ 0 h 1445980"/>
                <a:gd name="connsiteX1" fmla="*/ 2206298 w 2206298"/>
                <a:gd name="connsiteY1" fmla="*/ 0 h 1445980"/>
                <a:gd name="connsiteX2" fmla="*/ 2206298 w 2206298"/>
                <a:gd name="connsiteY2" fmla="*/ 1445980 h 1445980"/>
                <a:gd name="connsiteX3" fmla="*/ 0 w 2206298"/>
                <a:gd name="connsiteY3" fmla="*/ 1445980 h 1445980"/>
                <a:gd name="connsiteX4" fmla="*/ 0 w 2206298"/>
                <a:gd name="connsiteY4" fmla="*/ 0 h 1445980"/>
                <a:gd name="connsiteX0" fmla="*/ 0 w 2206298"/>
                <a:gd name="connsiteY0" fmla="*/ 0 h 1445980"/>
                <a:gd name="connsiteX1" fmla="*/ 2206298 w 2206298"/>
                <a:gd name="connsiteY1" fmla="*/ 0 h 1445980"/>
                <a:gd name="connsiteX2" fmla="*/ 2206298 w 2206298"/>
                <a:gd name="connsiteY2" fmla="*/ 1445980 h 1445980"/>
                <a:gd name="connsiteX3" fmla="*/ 330200 w 2206298"/>
                <a:gd name="connsiteY3" fmla="*/ 1437350 h 1445980"/>
                <a:gd name="connsiteX4" fmla="*/ 0 w 2206298"/>
                <a:gd name="connsiteY4" fmla="*/ 1445980 h 1445980"/>
                <a:gd name="connsiteX5" fmla="*/ 0 w 2206298"/>
                <a:gd name="connsiteY5" fmla="*/ 0 h 1445980"/>
                <a:gd name="connsiteX0" fmla="*/ 0 w 2206298"/>
                <a:gd name="connsiteY0" fmla="*/ 0 h 1445980"/>
                <a:gd name="connsiteX1" fmla="*/ 2206298 w 2206298"/>
                <a:gd name="connsiteY1" fmla="*/ 0 h 1445980"/>
                <a:gd name="connsiteX2" fmla="*/ 330200 w 2206298"/>
                <a:gd name="connsiteY2" fmla="*/ 1437350 h 1445980"/>
                <a:gd name="connsiteX3" fmla="*/ 0 w 2206298"/>
                <a:gd name="connsiteY3" fmla="*/ 1445980 h 1445980"/>
                <a:gd name="connsiteX4" fmla="*/ 0 w 2206298"/>
                <a:gd name="connsiteY4" fmla="*/ 0 h 1445980"/>
                <a:gd name="connsiteX0" fmla="*/ 0 w 2206298"/>
                <a:gd name="connsiteY0" fmla="*/ 0 h 1449256"/>
                <a:gd name="connsiteX1" fmla="*/ 2206298 w 2206298"/>
                <a:gd name="connsiteY1" fmla="*/ 0 h 1449256"/>
                <a:gd name="connsiteX2" fmla="*/ 223043 w 2206298"/>
                <a:gd name="connsiteY2" fmla="*/ 1449256 h 1449256"/>
                <a:gd name="connsiteX3" fmla="*/ 0 w 2206298"/>
                <a:gd name="connsiteY3" fmla="*/ 1445980 h 1449256"/>
                <a:gd name="connsiteX4" fmla="*/ 0 w 2206298"/>
                <a:gd name="connsiteY4" fmla="*/ 0 h 1449256"/>
                <a:gd name="connsiteX0" fmla="*/ 0 w 2206298"/>
                <a:gd name="connsiteY0" fmla="*/ 0 h 1446875"/>
                <a:gd name="connsiteX1" fmla="*/ 2206298 w 2206298"/>
                <a:gd name="connsiteY1" fmla="*/ 0 h 1446875"/>
                <a:gd name="connsiteX2" fmla="*/ 234949 w 2206298"/>
                <a:gd name="connsiteY2" fmla="*/ 1446875 h 1446875"/>
                <a:gd name="connsiteX3" fmla="*/ 0 w 2206298"/>
                <a:gd name="connsiteY3" fmla="*/ 1445980 h 1446875"/>
                <a:gd name="connsiteX4" fmla="*/ 0 w 2206298"/>
                <a:gd name="connsiteY4" fmla="*/ 0 h 1446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6298" h="1446875">
                  <a:moveTo>
                    <a:pt x="0" y="0"/>
                  </a:moveTo>
                  <a:lnTo>
                    <a:pt x="2206298" y="0"/>
                  </a:lnTo>
                  <a:lnTo>
                    <a:pt x="234949" y="1446875"/>
                  </a:lnTo>
                  <a:lnTo>
                    <a:pt x="0" y="1445980"/>
                  </a:lnTo>
                  <a:lnTo>
                    <a:pt x="0" y="0"/>
                  </a:lnTo>
                  <a:close/>
                </a:path>
              </a:pathLst>
            </a:custGeom>
            <a:solidFill>
              <a:schemeClr val="bg1">
                <a:alpha val="2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342834" indent="-342834" algn="ctr" defTabSz="932293">
                <a:lnSpc>
                  <a:spcPct val="90000"/>
                </a:lnSpc>
                <a:buFont typeface="Wingdings 3" panose="05040102010807070707" pitchFamily="18" charset="2"/>
                <a:buChar char="Æ"/>
              </a:pPr>
              <a:endParaRPr lang="en-IN" sz="2000" b="1" dirty="0" err="1">
                <a:solidFill>
                  <a:srgbClr val="FFFFFF"/>
                </a:solidFill>
                <a:latin typeface="Segoe UI Light"/>
                <a:ea typeface="Segoe UI" pitchFamily="34" charset="0"/>
                <a:cs typeface="Segoe UI" pitchFamily="34" charset="0"/>
              </a:endParaRPr>
            </a:p>
          </p:txBody>
        </p:sp>
      </p:grpSp>
      <p:grpSp>
        <p:nvGrpSpPr>
          <p:cNvPr id="10" name="Group 9"/>
          <p:cNvGrpSpPr/>
          <p:nvPr/>
        </p:nvGrpSpPr>
        <p:grpSpPr>
          <a:xfrm>
            <a:off x="2464530" y="3059573"/>
            <a:ext cx="529910" cy="2773682"/>
            <a:chOff x="2464530" y="3059573"/>
            <a:chExt cx="529910" cy="2773682"/>
          </a:xfrm>
        </p:grpSpPr>
        <p:cxnSp>
          <p:nvCxnSpPr>
            <p:cNvPr id="75" name="Straight Connector 74"/>
            <p:cNvCxnSpPr/>
            <p:nvPr/>
          </p:nvCxnSpPr>
          <p:spPr>
            <a:xfrm flipH="1">
              <a:off x="2464530" y="5833255"/>
              <a:ext cx="127651" cy="0"/>
            </a:xfrm>
            <a:prstGeom prst="line">
              <a:avLst/>
            </a:prstGeom>
            <a:ln w="15875">
              <a:solidFill>
                <a:srgbClr val="C00000"/>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flipV="1">
              <a:off x="2600071" y="3091543"/>
              <a:ext cx="0" cy="2712685"/>
            </a:xfrm>
            <a:prstGeom prst="line">
              <a:avLst/>
            </a:prstGeom>
            <a:ln w="15875">
              <a:solidFill>
                <a:srgbClr val="C00000"/>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flipH="1">
              <a:off x="2600072" y="3059573"/>
              <a:ext cx="384456" cy="0"/>
            </a:xfrm>
            <a:prstGeom prst="line">
              <a:avLst/>
            </a:prstGeom>
            <a:ln w="15875">
              <a:solidFill>
                <a:srgbClr val="C00000"/>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flipH="1">
              <a:off x="2609984" y="5041652"/>
              <a:ext cx="384456" cy="0"/>
            </a:xfrm>
            <a:prstGeom prst="line">
              <a:avLst/>
            </a:prstGeom>
            <a:ln w="15875">
              <a:solidFill>
                <a:srgbClr val="C00000"/>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sp>
        <p:nvSpPr>
          <p:cNvPr id="66" name="TextBox 65"/>
          <p:cNvSpPr txBox="1"/>
          <p:nvPr/>
        </p:nvSpPr>
        <p:spPr>
          <a:xfrm>
            <a:off x="4881583" y="4897932"/>
            <a:ext cx="2345739" cy="553998"/>
          </a:xfrm>
          <a:prstGeom prst="rect">
            <a:avLst/>
          </a:prstGeom>
          <a:noFill/>
        </p:spPr>
        <p:txBody>
          <a:bodyPr wrap="square" lIns="0" tIns="0" rIns="0" bIns="0" rtlCol="0">
            <a:spAutoFit/>
          </a:bodyPr>
          <a:lstStyle/>
          <a:p>
            <a:pPr algn="ctr" defTabSz="913330"/>
            <a:r>
              <a:rPr lang="en-US" sz="1800" dirty="0">
                <a:solidFill>
                  <a:srgbClr val="000000">
                    <a:lumMod val="75000"/>
                    <a:lumOff val="25000"/>
                  </a:srgbClr>
                </a:solidFill>
                <a:latin typeface="Segoe UI Semibold" panose="020B0702040204020203" pitchFamily="34" charset="0"/>
                <a:cs typeface="Segoe UI Semibold" panose="020B0702040204020203" pitchFamily="34" charset="0"/>
              </a:rPr>
              <a:t>Real-time </a:t>
            </a:r>
            <a:r>
              <a:rPr lang="en-US" sz="1800" dirty="0" smtClean="0">
                <a:solidFill>
                  <a:srgbClr val="000000">
                    <a:lumMod val="75000"/>
                    <a:lumOff val="25000"/>
                  </a:srgbClr>
                </a:solidFill>
                <a:latin typeface="Segoe UI Semibold" panose="020B0702040204020203" pitchFamily="34" charset="0"/>
                <a:cs typeface="Segoe UI Semibold" panose="020B0702040204020203" pitchFamily="34" charset="0"/>
              </a:rPr>
              <a:t>fraud</a:t>
            </a:r>
            <a:br>
              <a:rPr lang="en-US" sz="1800" dirty="0" smtClean="0">
                <a:solidFill>
                  <a:srgbClr val="000000">
                    <a:lumMod val="75000"/>
                    <a:lumOff val="25000"/>
                  </a:srgbClr>
                </a:solidFill>
                <a:latin typeface="Segoe UI Semibold" panose="020B0702040204020203" pitchFamily="34" charset="0"/>
                <a:cs typeface="Segoe UI Semibold" panose="020B0702040204020203" pitchFamily="34" charset="0"/>
              </a:rPr>
            </a:br>
            <a:r>
              <a:rPr lang="en-US" sz="1800" dirty="0" smtClean="0">
                <a:solidFill>
                  <a:srgbClr val="000000">
                    <a:lumMod val="75000"/>
                    <a:lumOff val="25000"/>
                  </a:srgbClr>
                </a:solidFill>
                <a:latin typeface="Segoe UI Semibold" panose="020B0702040204020203" pitchFamily="34" charset="0"/>
                <a:cs typeface="Segoe UI Semibold" panose="020B0702040204020203" pitchFamily="34" charset="0"/>
              </a:rPr>
              <a:t>detection</a:t>
            </a:r>
            <a:endParaRPr lang="en-US" sz="1100" dirty="0">
              <a:solidFill>
                <a:srgbClr val="000000">
                  <a:lumMod val="75000"/>
                  <a:lumOff val="25000"/>
                </a:srgbClr>
              </a:solidFill>
              <a:latin typeface="Segoe UI"/>
            </a:endParaRPr>
          </a:p>
        </p:txBody>
      </p:sp>
      <p:grpSp>
        <p:nvGrpSpPr>
          <p:cNvPr id="376" name="Group 375"/>
          <p:cNvGrpSpPr/>
          <p:nvPr/>
        </p:nvGrpSpPr>
        <p:grpSpPr>
          <a:xfrm>
            <a:off x="4992995" y="3367845"/>
            <a:ext cx="2177154" cy="1434280"/>
            <a:chOff x="4963949" y="3411361"/>
            <a:chExt cx="2177154" cy="1434280"/>
          </a:xfrm>
        </p:grpSpPr>
        <p:sp>
          <p:nvSpPr>
            <p:cNvPr id="377" name="Freeform 93"/>
            <p:cNvSpPr>
              <a:spLocks/>
            </p:cNvSpPr>
            <p:nvPr/>
          </p:nvSpPr>
          <p:spPr bwMode="auto">
            <a:xfrm>
              <a:off x="4963949" y="3411361"/>
              <a:ext cx="2177154" cy="1434280"/>
            </a:xfrm>
            <a:custGeom>
              <a:avLst/>
              <a:gdLst>
                <a:gd name="T0" fmla="*/ 1765 w 1817"/>
                <a:gd name="T1" fmla="*/ 1197 h 1197"/>
                <a:gd name="T2" fmla="*/ 52 w 1817"/>
                <a:gd name="T3" fmla="*/ 1197 h 1197"/>
                <a:gd name="T4" fmla="*/ 0 w 1817"/>
                <a:gd name="T5" fmla="*/ 1145 h 1197"/>
                <a:gd name="T6" fmla="*/ 0 w 1817"/>
                <a:gd name="T7" fmla="*/ 52 h 1197"/>
                <a:gd name="T8" fmla="*/ 52 w 1817"/>
                <a:gd name="T9" fmla="*/ 0 h 1197"/>
                <a:gd name="T10" fmla="*/ 1765 w 1817"/>
                <a:gd name="T11" fmla="*/ 0 h 1197"/>
                <a:gd name="T12" fmla="*/ 1817 w 1817"/>
                <a:gd name="T13" fmla="*/ 52 h 1197"/>
                <a:gd name="T14" fmla="*/ 1817 w 1817"/>
                <a:gd name="T15" fmla="*/ 1145 h 1197"/>
                <a:gd name="T16" fmla="*/ 1765 w 1817"/>
                <a:gd name="T17" fmla="*/ 1197 h 1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17" h="1197">
                  <a:moveTo>
                    <a:pt x="1765" y="1197"/>
                  </a:moveTo>
                  <a:cubicBezTo>
                    <a:pt x="52" y="1197"/>
                    <a:pt x="52" y="1197"/>
                    <a:pt x="52" y="1197"/>
                  </a:cubicBezTo>
                  <a:cubicBezTo>
                    <a:pt x="23" y="1197"/>
                    <a:pt x="0" y="1173"/>
                    <a:pt x="0" y="1145"/>
                  </a:cubicBezTo>
                  <a:cubicBezTo>
                    <a:pt x="0" y="52"/>
                    <a:pt x="0" y="52"/>
                    <a:pt x="0" y="52"/>
                  </a:cubicBezTo>
                  <a:cubicBezTo>
                    <a:pt x="0" y="23"/>
                    <a:pt x="23" y="0"/>
                    <a:pt x="52" y="0"/>
                  </a:cubicBezTo>
                  <a:cubicBezTo>
                    <a:pt x="1765" y="0"/>
                    <a:pt x="1765" y="0"/>
                    <a:pt x="1765" y="0"/>
                  </a:cubicBezTo>
                  <a:cubicBezTo>
                    <a:pt x="1794" y="0"/>
                    <a:pt x="1817" y="23"/>
                    <a:pt x="1817" y="52"/>
                  </a:cubicBezTo>
                  <a:cubicBezTo>
                    <a:pt x="1817" y="1145"/>
                    <a:pt x="1817" y="1145"/>
                    <a:pt x="1817" y="1145"/>
                  </a:cubicBezTo>
                  <a:cubicBezTo>
                    <a:pt x="1817" y="1173"/>
                    <a:pt x="1794" y="1197"/>
                    <a:pt x="1765" y="1197"/>
                  </a:cubicBezTo>
                  <a:close/>
                </a:path>
              </a:pathLst>
            </a:custGeom>
            <a:solidFill>
              <a:srgbClr val="2828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a:endParaRPr lang="en-US" sz="1765">
                <a:solidFill>
                  <a:srgbClr val="000000"/>
                </a:solidFill>
                <a:latin typeface="Segoe UI"/>
              </a:endParaRPr>
            </a:p>
          </p:txBody>
        </p:sp>
        <p:sp>
          <p:nvSpPr>
            <p:cNvPr id="378" name="Oval 377"/>
            <p:cNvSpPr/>
            <p:nvPr/>
          </p:nvSpPr>
          <p:spPr bwMode="auto">
            <a:xfrm>
              <a:off x="7029247" y="4090394"/>
              <a:ext cx="76214" cy="76214"/>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a:lnSpc>
                  <a:spcPct val="90000"/>
                </a:lnSpc>
              </a:pPr>
              <a:endParaRPr lang="en-IN" sz="1961" b="1" dirty="0">
                <a:solidFill>
                  <a:srgbClr val="FFFFFF"/>
                </a:solidFill>
                <a:latin typeface="Segoe UI Light"/>
                <a:ea typeface="Segoe UI" pitchFamily="34" charset="0"/>
                <a:cs typeface="Segoe UI" pitchFamily="34" charset="0"/>
              </a:endParaRPr>
            </a:p>
          </p:txBody>
        </p:sp>
        <p:sp>
          <p:nvSpPr>
            <p:cNvPr id="379" name="Freeform 93"/>
            <p:cNvSpPr>
              <a:spLocks/>
            </p:cNvSpPr>
            <p:nvPr/>
          </p:nvSpPr>
          <p:spPr bwMode="auto">
            <a:xfrm>
              <a:off x="5067713" y="3515450"/>
              <a:ext cx="1915389" cy="1226102"/>
            </a:xfrm>
            <a:custGeom>
              <a:avLst/>
              <a:gdLst>
                <a:gd name="T0" fmla="*/ 1765 w 1817"/>
                <a:gd name="T1" fmla="*/ 1197 h 1197"/>
                <a:gd name="T2" fmla="*/ 52 w 1817"/>
                <a:gd name="T3" fmla="*/ 1197 h 1197"/>
                <a:gd name="T4" fmla="*/ 0 w 1817"/>
                <a:gd name="T5" fmla="*/ 1145 h 1197"/>
                <a:gd name="T6" fmla="*/ 0 w 1817"/>
                <a:gd name="T7" fmla="*/ 52 h 1197"/>
                <a:gd name="T8" fmla="*/ 52 w 1817"/>
                <a:gd name="T9" fmla="*/ 0 h 1197"/>
                <a:gd name="T10" fmla="*/ 1765 w 1817"/>
                <a:gd name="T11" fmla="*/ 0 h 1197"/>
                <a:gd name="T12" fmla="*/ 1817 w 1817"/>
                <a:gd name="T13" fmla="*/ 52 h 1197"/>
                <a:gd name="T14" fmla="*/ 1817 w 1817"/>
                <a:gd name="T15" fmla="*/ 1145 h 1197"/>
                <a:gd name="T16" fmla="*/ 1765 w 1817"/>
                <a:gd name="T17" fmla="*/ 1197 h 1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17" h="1197">
                  <a:moveTo>
                    <a:pt x="1765" y="1197"/>
                  </a:moveTo>
                  <a:cubicBezTo>
                    <a:pt x="52" y="1197"/>
                    <a:pt x="52" y="1197"/>
                    <a:pt x="52" y="1197"/>
                  </a:cubicBezTo>
                  <a:cubicBezTo>
                    <a:pt x="23" y="1197"/>
                    <a:pt x="0" y="1173"/>
                    <a:pt x="0" y="1145"/>
                  </a:cubicBezTo>
                  <a:cubicBezTo>
                    <a:pt x="0" y="52"/>
                    <a:pt x="0" y="52"/>
                    <a:pt x="0" y="52"/>
                  </a:cubicBezTo>
                  <a:cubicBezTo>
                    <a:pt x="0" y="23"/>
                    <a:pt x="23" y="0"/>
                    <a:pt x="52" y="0"/>
                  </a:cubicBezTo>
                  <a:cubicBezTo>
                    <a:pt x="1765" y="0"/>
                    <a:pt x="1765" y="0"/>
                    <a:pt x="1765" y="0"/>
                  </a:cubicBezTo>
                  <a:cubicBezTo>
                    <a:pt x="1794" y="0"/>
                    <a:pt x="1817" y="23"/>
                    <a:pt x="1817" y="52"/>
                  </a:cubicBezTo>
                  <a:cubicBezTo>
                    <a:pt x="1817" y="1145"/>
                    <a:pt x="1817" y="1145"/>
                    <a:pt x="1817" y="1145"/>
                  </a:cubicBezTo>
                  <a:cubicBezTo>
                    <a:pt x="1817" y="1173"/>
                    <a:pt x="1794" y="1197"/>
                    <a:pt x="1765" y="1197"/>
                  </a:cubicBezTo>
                  <a:close/>
                </a:path>
              </a:pathLst>
            </a:custGeom>
            <a:solidFill>
              <a:schemeClr val="bg1">
                <a:lumMod val="95000"/>
              </a:schemeClr>
            </a:solidFill>
            <a:ln>
              <a:noFill/>
            </a:ln>
            <a:extLst/>
          </p:spPr>
          <p:txBody>
            <a:bodyPr vert="horz" wrap="square" lIns="89630" tIns="44814" rIns="89630" bIns="44814" numCol="1" anchor="t" anchorCtr="0" compatLnSpc="1">
              <a:prstTxWarp prst="textNoShape">
                <a:avLst/>
              </a:prstTxWarp>
            </a:bodyPr>
            <a:lstStyle/>
            <a:p>
              <a:pPr defTabSz="913330"/>
              <a:endParaRPr lang="en-US" sz="1765">
                <a:solidFill>
                  <a:srgbClr val="000000"/>
                </a:solidFill>
                <a:latin typeface="Segoe UI"/>
              </a:endParaRPr>
            </a:p>
          </p:txBody>
        </p:sp>
        <p:sp>
          <p:nvSpPr>
            <p:cNvPr id="380" name="Freeform 379"/>
            <p:cNvSpPr/>
            <p:nvPr/>
          </p:nvSpPr>
          <p:spPr>
            <a:xfrm>
              <a:off x="5501085" y="3676808"/>
              <a:ext cx="1048644" cy="903386"/>
            </a:xfrm>
            <a:custGeom>
              <a:avLst/>
              <a:gdLst>
                <a:gd name="connsiteX0" fmla="*/ 524322 w 1048644"/>
                <a:gd name="connsiteY0" fmla="*/ 686827 h 903386"/>
                <a:gd name="connsiteX1" fmla="*/ 570272 w 1048644"/>
                <a:gd name="connsiteY1" fmla="*/ 732778 h 903386"/>
                <a:gd name="connsiteX2" fmla="*/ 524322 w 1048644"/>
                <a:gd name="connsiteY2" fmla="*/ 778728 h 903386"/>
                <a:gd name="connsiteX3" fmla="*/ 478372 w 1048644"/>
                <a:gd name="connsiteY3" fmla="*/ 732778 h 903386"/>
                <a:gd name="connsiteX4" fmla="*/ 524322 w 1048644"/>
                <a:gd name="connsiteY4" fmla="*/ 686827 h 903386"/>
                <a:gd name="connsiteX5" fmla="*/ 525176 w 1048644"/>
                <a:gd name="connsiteY5" fmla="*/ 301106 h 903386"/>
                <a:gd name="connsiteX6" fmla="*/ 542487 w 1048644"/>
                <a:gd name="connsiteY6" fmla="*/ 304136 h 903386"/>
                <a:gd name="connsiteX7" fmla="*/ 579562 w 1048644"/>
                <a:gd name="connsiteY7" fmla="*/ 366183 h 903386"/>
                <a:gd name="connsiteX8" fmla="*/ 561958 w 1048644"/>
                <a:gd name="connsiteY8" fmla="*/ 626785 h 903386"/>
                <a:gd name="connsiteX9" fmla="*/ 528203 w 1048644"/>
                <a:gd name="connsiteY9" fmla="*/ 666232 h 903386"/>
                <a:gd name="connsiteX10" fmla="*/ 524322 w 1048644"/>
                <a:gd name="connsiteY10" fmla="*/ 666583 h 903386"/>
                <a:gd name="connsiteX11" fmla="*/ 520441 w 1048644"/>
                <a:gd name="connsiteY11" fmla="*/ 666232 h 903386"/>
                <a:gd name="connsiteX12" fmla="*/ 486686 w 1048644"/>
                <a:gd name="connsiteY12" fmla="*/ 626785 h 903386"/>
                <a:gd name="connsiteX13" fmla="*/ 469082 w 1048644"/>
                <a:gd name="connsiteY13" fmla="*/ 366183 h 903386"/>
                <a:gd name="connsiteX14" fmla="*/ 506157 w 1048644"/>
                <a:gd name="connsiteY14" fmla="*/ 304136 h 903386"/>
                <a:gd name="connsiteX15" fmla="*/ 525176 w 1048644"/>
                <a:gd name="connsiteY15" fmla="*/ 301106 h 903386"/>
                <a:gd name="connsiteX16" fmla="*/ 525207 w 1048644"/>
                <a:gd name="connsiteY16" fmla="*/ 174816 h 903386"/>
                <a:gd name="connsiteX17" fmla="*/ 511908 w 1048644"/>
                <a:gd name="connsiteY17" fmla="*/ 183766 h 903386"/>
                <a:gd name="connsiteX18" fmla="*/ 165073 w 1048644"/>
                <a:gd name="connsiteY18" fmla="*/ 781757 h 903386"/>
                <a:gd name="connsiteX19" fmla="*/ 165073 w 1048644"/>
                <a:gd name="connsiteY19" fmla="*/ 814745 h 903386"/>
                <a:gd name="connsiteX20" fmla="*/ 885048 w 1048644"/>
                <a:gd name="connsiteY20" fmla="*/ 814745 h 903386"/>
                <a:gd name="connsiteX21" fmla="*/ 885048 w 1048644"/>
                <a:gd name="connsiteY21" fmla="*/ 781757 h 903386"/>
                <a:gd name="connsiteX22" fmla="*/ 538213 w 1048644"/>
                <a:gd name="connsiteY22" fmla="*/ 183766 h 903386"/>
                <a:gd name="connsiteX23" fmla="*/ 525207 w 1048644"/>
                <a:gd name="connsiteY23" fmla="*/ 174816 h 903386"/>
                <a:gd name="connsiteX24" fmla="*/ 525571 w 1048644"/>
                <a:gd name="connsiteY24" fmla="*/ 8 h 903386"/>
                <a:gd name="connsiteX25" fmla="*/ 543931 w 1048644"/>
                <a:gd name="connsiteY25" fmla="*/ 12641 h 903386"/>
                <a:gd name="connsiteX26" fmla="*/ 1033553 w 1048644"/>
                <a:gd name="connsiteY26" fmla="*/ 856817 h 903386"/>
                <a:gd name="connsiteX27" fmla="*/ 1033553 w 1048644"/>
                <a:gd name="connsiteY27" fmla="*/ 903386 h 903386"/>
                <a:gd name="connsiteX28" fmla="*/ 17175 w 1048644"/>
                <a:gd name="connsiteY28" fmla="*/ 903386 h 903386"/>
                <a:gd name="connsiteX29" fmla="*/ 17175 w 1048644"/>
                <a:gd name="connsiteY29" fmla="*/ 856817 h 903386"/>
                <a:gd name="connsiteX30" fmla="*/ 506797 w 1048644"/>
                <a:gd name="connsiteY30" fmla="*/ 12641 h 903386"/>
                <a:gd name="connsiteX31" fmla="*/ 525571 w 1048644"/>
                <a:gd name="connsiteY31" fmla="*/ 8 h 903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048644" h="903386">
                  <a:moveTo>
                    <a:pt x="524322" y="686827"/>
                  </a:moveTo>
                  <a:cubicBezTo>
                    <a:pt x="549700" y="686827"/>
                    <a:pt x="570272" y="707400"/>
                    <a:pt x="570272" y="732778"/>
                  </a:cubicBezTo>
                  <a:cubicBezTo>
                    <a:pt x="570272" y="758156"/>
                    <a:pt x="549700" y="778728"/>
                    <a:pt x="524322" y="778728"/>
                  </a:cubicBezTo>
                  <a:cubicBezTo>
                    <a:pt x="498945" y="778728"/>
                    <a:pt x="478372" y="758156"/>
                    <a:pt x="478372" y="732778"/>
                  </a:cubicBezTo>
                  <a:cubicBezTo>
                    <a:pt x="478372" y="707400"/>
                    <a:pt x="498945" y="686827"/>
                    <a:pt x="524322" y="686827"/>
                  </a:cubicBezTo>
                  <a:close/>
                  <a:moveTo>
                    <a:pt x="525176" y="301106"/>
                  </a:moveTo>
                  <a:cubicBezTo>
                    <a:pt x="530833" y="301232"/>
                    <a:pt x="536205" y="302368"/>
                    <a:pt x="542487" y="304136"/>
                  </a:cubicBezTo>
                  <a:cubicBezTo>
                    <a:pt x="564274" y="314359"/>
                    <a:pt x="579562" y="338290"/>
                    <a:pt x="579562" y="366183"/>
                  </a:cubicBezTo>
                  <a:cubicBezTo>
                    <a:pt x="575920" y="452377"/>
                    <a:pt x="567422" y="558099"/>
                    <a:pt x="561958" y="626785"/>
                  </a:cubicBezTo>
                  <a:cubicBezTo>
                    <a:pt x="559834" y="647542"/>
                    <a:pt x="550844" y="662392"/>
                    <a:pt x="528203" y="666232"/>
                  </a:cubicBezTo>
                  <a:lnTo>
                    <a:pt x="524322" y="666583"/>
                  </a:lnTo>
                  <a:lnTo>
                    <a:pt x="520441" y="666232"/>
                  </a:lnTo>
                  <a:cubicBezTo>
                    <a:pt x="497801" y="662392"/>
                    <a:pt x="488811" y="647542"/>
                    <a:pt x="486686" y="626785"/>
                  </a:cubicBezTo>
                  <a:cubicBezTo>
                    <a:pt x="481223" y="558099"/>
                    <a:pt x="472724" y="452377"/>
                    <a:pt x="469082" y="366183"/>
                  </a:cubicBezTo>
                  <a:cubicBezTo>
                    <a:pt x="469082" y="338290"/>
                    <a:pt x="484370" y="314359"/>
                    <a:pt x="506157" y="304136"/>
                  </a:cubicBezTo>
                  <a:cubicBezTo>
                    <a:pt x="513578" y="301863"/>
                    <a:pt x="519519" y="300979"/>
                    <a:pt x="525176" y="301106"/>
                  </a:cubicBezTo>
                  <a:close/>
                  <a:moveTo>
                    <a:pt x="525207" y="174816"/>
                  </a:moveTo>
                  <a:cubicBezTo>
                    <a:pt x="520089" y="174670"/>
                    <a:pt x="514923" y="177506"/>
                    <a:pt x="511908" y="183766"/>
                  </a:cubicBezTo>
                  <a:lnTo>
                    <a:pt x="165073" y="781757"/>
                  </a:lnTo>
                  <a:cubicBezTo>
                    <a:pt x="147077" y="809706"/>
                    <a:pt x="150728" y="814051"/>
                    <a:pt x="165073" y="814745"/>
                  </a:cubicBezTo>
                  <a:lnTo>
                    <a:pt x="885048" y="814745"/>
                  </a:lnTo>
                  <a:cubicBezTo>
                    <a:pt x="902261" y="812356"/>
                    <a:pt x="896002" y="799795"/>
                    <a:pt x="885048" y="781757"/>
                  </a:cubicBezTo>
                  <a:lnTo>
                    <a:pt x="538213" y="183766"/>
                  </a:lnTo>
                  <a:cubicBezTo>
                    <a:pt x="535393" y="178093"/>
                    <a:pt x="530325" y="174963"/>
                    <a:pt x="525207" y="174816"/>
                  </a:cubicBezTo>
                  <a:close/>
                  <a:moveTo>
                    <a:pt x="525571" y="8"/>
                  </a:moveTo>
                  <a:cubicBezTo>
                    <a:pt x="532796" y="215"/>
                    <a:pt x="539951" y="4633"/>
                    <a:pt x="543931" y="12641"/>
                  </a:cubicBezTo>
                  <a:lnTo>
                    <a:pt x="1033553" y="856817"/>
                  </a:lnTo>
                  <a:cubicBezTo>
                    <a:pt x="1049017" y="882282"/>
                    <a:pt x="1057854" y="900013"/>
                    <a:pt x="1033553" y="903386"/>
                  </a:cubicBezTo>
                  <a:lnTo>
                    <a:pt x="17175" y="903386"/>
                  </a:lnTo>
                  <a:cubicBezTo>
                    <a:pt x="-3076" y="902407"/>
                    <a:pt x="-8230" y="896273"/>
                    <a:pt x="17175" y="856817"/>
                  </a:cubicBezTo>
                  <a:lnTo>
                    <a:pt x="506797" y="12641"/>
                  </a:lnTo>
                  <a:cubicBezTo>
                    <a:pt x="511053" y="3805"/>
                    <a:pt x="518347" y="-200"/>
                    <a:pt x="525571" y="8"/>
                  </a:cubicBez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rgbClr val="FFFFFF"/>
                </a:solidFill>
              </a:endParaRPr>
            </a:p>
          </p:txBody>
        </p:sp>
      </p:grpSp>
      <p:grpSp>
        <p:nvGrpSpPr>
          <p:cNvPr id="532" name="Group 531"/>
          <p:cNvGrpSpPr/>
          <p:nvPr/>
        </p:nvGrpSpPr>
        <p:grpSpPr>
          <a:xfrm>
            <a:off x="4992995" y="3378478"/>
            <a:ext cx="2177154" cy="1434280"/>
            <a:chOff x="4963949" y="3411361"/>
            <a:chExt cx="2177154" cy="1434280"/>
          </a:xfrm>
        </p:grpSpPr>
        <p:sp>
          <p:nvSpPr>
            <p:cNvPr id="533" name="Freeform 93"/>
            <p:cNvSpPr>
              <a:spLocks/>
            </p:cNvSpPr>
            <p:nvPr/>
          </p:nvSpPr>
          <p:spPr bwMode="auto">
            <a:xfrm>
              <a:off x="4963949" y="3411361"/>
              <a:ext cx="2177154" cy="1434280"/>
            </a:xfrm>
            <a:custGeom>
              <a:avLst/>
              <a:gdLst>
                <a:gd name="T0" fmla="*/ 1765 w 1817"/>
                <a:gd name="T1" fmla="*/ 1197 h 1197"/>
                <a:gd name="T2" fmla="*/ 52 w 1817"/>
                <a:gd name="T3" fmla="*/ 1197 h 1197"/>
                <a:gd name="T4" fmla="*/ 0 w 1817"/>
                <a:gd name="T5" fmla="*/ 1145 h 1197"/>
                <a:gd name="T6" fmla="*/ 0 w 1817"/>
                <a:gd name="T7" fmla="*/ 52 h 1197"/>
                <a:gd name="T8" fmla="*/ 52 w 1817"/>
                <a:gd name="T9" fmla="*/ 0 h 1197"/>
                <a:gd name="T10" fmla="*/ 1765 w 1817"/>
                <a:gd name="T11" fmla="*/ 0 h 1197"/>
                <a:gd name="T12" fmla="*/ 1817 w 1817"/>
                <a:gd name="T13" fmla="*/ 52 h 1197"/>
                <a:gd name="T14" fmla="*/ 1817 w 1817"/>
                <a:gd name="T15" fmla="*/ 1145 h 1197"/>
                <a:gd name="T16" fmla="*/ 1765 w 1817"/>
                <a:gd name="T17" fmla="*/ 1197 h 1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17" h="1197">
                  <a:moveTo>
                    <a:pt x="1765" y="1197"/>
                  </a:moveTo>
                  <a:cubicBezTo>
                    <a:pt x="52" y="1197"/>
                    <a:pt x="52" y="1197"/>
                    <a:pt x="52" y="1197"/>
                  </a:cubicBezTo>
                  <a:cubicBezTo>
                    <a:pt x="23" y="1197"/>
                    <a:pt x="0" y="1173"/>
                    <a:pt x="0" y="1145"/>
                  </a:cubicBezTo>
                  <a:cubicBezTo>
                    <a:pt x="0" y="52"/>
                    <a:pt x="0" y="52"/>
                    <a:pt x="0" y="52"/>
                  </a:cubicBezTo>
                  <a:cubicBezTo>
                    <a:pt x="0" y="23"/>
                    <a:pt x="23" y="0"/>
                    <a:pt x="52" y="0"/>
                  </a:cubicBezTo>
                  <a:cubicBezTo>
                    <a:pt x="1765" y="0"/>
                    <a:pt x="1765" y="0"/>
                    <a:pt x="1765" y="0"/>
                  </a:cubicBezTo>
                  <a:cubicBezTo>
                    <a:pt x="1794" y="0"/>
                    <a:pt x="1817" y="23"/>
                    <a:pt x="1817" y="52"/>
                  </a:cubicBezTo>
                  <a:cubicBezTo>
                    <a:pt x="1817" y="1145"/>
                    <a:pt x="1817" y="1145"/>
                    <a:pt x="1817" y="1145"/>
                  </a:cubicBezTo>
                  <a:cubicBezTo>
                    <a:pt x="1817" y="1173"/>
                    <a:pt x="1794" y="1197"/>
                    <a:pt x="1765" y="1197"/>
                  </a:cubicBezTo>
                  <a:close/>
                </a:path>
              </a:pathLst>
            </a:custGeom>
            <a:solidFill>
              <a:srgbClr val="2828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330"/>
              <a:endParaRPr lang="en-US" sz="1765">
                <a:solidFill>
                  <a:srgbClr val="000000"/>
                </a:solidFill>
                <a:latin typeface="Segoe UI"/>
              </a:endParaRPr>
            </a:p>
          </p:txBody>
        </p:sp>
        <p:sp>
          <p:nvSpPr>
            <p:cNvPr id="534" name="Oval 533"/>
            <p:cNvSpPr/>
            <p:nvPr/>
          </p:nvSpPr>
          <p:spPr bwMode="auto">
            <a:xfrm>
              <a:off x="7029247" y="4090394"/>
              <a:ext cx="76214" cy="76214"/>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a:lnSpc>
                  <a:spcPct val="90000"/>
                </a:lnSpc>
              </a:pPr>
              <a:endParaRPr lang="en-IN" sz="1961" b="1" dirty="0">
                <a:solidFill>
                  <a:srgbClr val="FFFFFF"/>
                </a:solidFill>
                <a:latin typeface="Segoe UI Light"/>
                <a:ea typeface="Segoe UI" pitchFamily="34" charset="0"/>
                <a:cs typeface="Segoe UI" pitchFamily="34" charset="0"/>
              </a:endParaRPr>
            </a:p>
          </p:txBody>
        </p:sp>
        <p:sp>
          <p:nvSpPr>
            <p:cNvPr id="535" name="Freeform 93"/>
            <p:cNvSpPr>
              <a:spLocks/>
            </p:cNvSpPr>
            <p:nvPr/>
          </p:nvSpPr>
          <p:spPr bwMode="auto">
            <a:xfrm>
              <a:off x="5067713" y="3515450"/>
              <a:ext cx="1915389" cy="1226102"/>
            </a:xfrm>
            <a:custGeom>
              <a:avLst/>
              <a:gdLst>
                <a:gd name="T0" fmla="*/ 1765 w 1817"/>
                <a:gd name="T1" fmla="*/ 1197 h 1197"/>
                <a:gd name="T2" fmla="*/ 52 w 1817"/>
                <a:gd name="T3" fmla="*/ 1197 h 1197"/>
                <a:gd name="T4" fmla="*/ 0 w 1817"/>
                <a:gd name="T5" fmla="*/ 1145 h 1197"/>
                <a:gd name="T6" fmla="*/ 0 w 1817"/>
                <a:gd name="T7" fmla="*/ 52 h 1197"/>
                <a:gd name="T8" fmla="*/ 52 w 1817"/>
                <a:gd name="T9" fmla="*/ 0 h 1197"/>
                <a:gd name="T10" fmla="*/ 1765 w 1817"/>
                <a:gd name="T11" fmla="*/ 0 h 1197"/>
                <a:gd name="T12" fmla="*/ 1817 w 1817"/>
                <a:gd name="T13" fmla="*/ 52 h 1197"/>
                <a:gd name="T14" fmla="*/ 1817 w 1817"/>
                <a:gd name="T15" fmla="*/ 1145 h 1197"/>
                <a:gd name="T16" fmla="*/ 1765 w 1817"/>
                <a:gd name="T17" fmla="*/ 1197 h 1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17" h="1197">
                  <a:moveTo>
                    <a:pt x="1765" y="1197"/>
                  </a:moveTo>
                  <a:cubicBezTo>
                    <a:pt x="52" y="1197"/>
                    <a:pt x="52" y="1197"/>
                    <a:pt x="52" y="1197"/>
                  </a:cubicBezTo>
                  <a:cubicBezTo>
                    <a:pt x="23" y="1197"/>
                    <a:pt x="0" y="1173"/>
                    <a:pt x="0" y="1145"/>
                  </a:cubicBezTo>
                  <a:cubicBezTo>
                    <a:pt x="0" y="52"/>
                    <a:pt x="0" y="52"/>
                    <a:pt x="0" y="52"/>
                  </a:cubicBezTo>
                  <a:cubicBezTo>
                    <a:pt x="0" y="23"/>
                    <a:pt x="23" y="0"/>
                    <a:pt x="52" y="0"/>
                  </a:cubicBezTo>
                  <a:cubicBezTo>
                    <a:pt x="1765" y="0"/>
                    <a:pt x="1765" y="0"/>
                    <a:pt x="1765" y="0"/>
                  </a:cubicBezTo>
                  <a:cubicBezTo>
                    <a:pt x="1794" y="0"/>
                    <a:pt x="1817" y="23"/>
                    <a:pt x="1817" y="52"/>
                  </a:cubicBezTo>
                  <a:cubicBezTo>
                    <a:pt x="1817" y="1145"/>
                    <a:pt x="1817" y="1145"/>
                    <a:pt x="1817" y="1145"/>
                  </a:cubicBezTo>
                  <a:cubicBezTo>
                    <a:pt x="1817" y="1173"/>
                    <a:pt x="1794" y="1197"/>
                    <a:pt x="1765" y="1197"/>
                  </a:cubicBezTo>
                  <a:close/>
                </a:path>
              </a:pathLst>
            </a:custGeom>
            <a:solidFill>
              <a:schemeClr val="bg1">
                <a:lumMod val="95000"/>
              </a:schemeClr>
            </a:solidFill>
            <a:ln>
              <a:noFill/>
            </a:ln>
            <a:extLst/>
          </p:spPr>
          <p:txBody>
            <a:bodyPr vert="horz" wrap="square" lIns="89630" tIns="44814" rIns="89630" bIns="44814" numCol="1" anchor="t" anchorCtr="0" compatLnSpc="1">
              <a:prstTxWarp prst="textNoShape">
                <a:avLst/>
              </a:prstTxWarp>
            </a:bodyPr>
            <a:lstStyle/>
            <a:p>
              <a:pPr defTabSz="913330"/>
              <a:endParaRPr lang="en-US" sz="1765">
                <a:solidFill>
                  <a:srgbClr val="000000"/>
                </a:solidFill>
                <a:latin typeface="Segoe UI"/>
              </a:endParaRPr>
            </a:p>
          </p:txBody>
        </p:sp>
        <p:sp>
          <p:nvSpPr>
            <p:cNvPr id="536" name="Freeform 535"/>
            <p:cNvSpPr/>
            <p:nvPr/>
          </p:nvSpPr>
          <p:spPr>
            <a:xfrm>
              <a:off x="5501085" y="3676808"/>
              <a:ext cx="1048644" cy="903386"/>
            </a:xfrm>
            <a:custGeom>
              <a:avLst/>
              <a:gdLst>
                <a:gd name="connsiteX0" fmla="*/ 524322 w 1048644"/>
                <a:gd name="connsiteY0" fmla="*/ 686827 h 903386"/>
                <a:gd name="connsiteX1" fmla="*/ 570272 w 1048644"/>
                <a:gd name="connsiteY1" fmla="*/ 732778 h 903386"/>
                <a:gd name="connsiteX2" fmla="*/ 524322 w 1048644"/>
                <a:gd name="connsiteY2" fmla="*/ 778728 h 903386"/>
                <a:gd name="connsiteX3" fmla="*/ 478372 w 1048644"/>
                <a:gd name="connsiteY3" fmla="*/ 732778 h 903386"/>
                <a:gd name="connsiteX4" fmla="*/ 524322 w 1048644"/>
                <a:gd name="connsiteY4" fmla="*/ 686827 h 903386"/>
                <a:gd name="connsiteX5" fmla="*/ 525176 w 1048644"/>
                <a:gd name="connsiteY5" fmla="*/ 301106 h 903386"/>
                <a:gd name="connsiteX6" fmla="*/ 542487 w 1048644"/>
                <a:gd name="connsiteY6" fmla="*/ 304136 h 903386"/>
                <a:gd name="connsiteX7" fmla="*/ 579562 w 1048644"/>
                <a:gd name="connsiteY7" fmla="*/ 366183 h 903386"/>
                <a:gd name="connsiteX8" fmla="*/ 561958 w 1048644"/>
                <a:gd name="connsiteY8" fmla="*/ 626785 h 903386"/>
                <a:gd name="connsiteX9" fmla="*/ 528203 w 1048644"/>
                <a:gd name="connsiteY9" fmla="*/ 666232 h 903386"/>
                <a:gd name="connsiteX10" fmla="*/ 524322 w 1048644"/>
                <a:gd name="connsiteY10" fmla="*/ 666583 h 903386"/>
                <a:gd name="connsiteX11" fmla="*/ 520441 w 1048644"/>
                <a:gd name="connsiteY11" fmla="*/ 666232 h 903386"/>
                <a:gd name="connsiteX12" fmla="*/ 486686 w 1048644"/>
                <a:gd name="connsiteY12" fmla="*/ 626785 h 903386"/>
                <a:gd name="connsiteX13" fmla="*/ 469082 w 1048644"/>
                <a:gd name="connsiteY13" fmla="*/ 366183 h 903386"/>
                <a:gd name="connsiteX14" fmla="*/ 506157 w 1048644"/>
                <a:gd name="connsiteY14" fmla="*/ 304136 h 903386"/>
                <a:gd name="connsiteX15" fmla="*/ 525176 w 1048644"/>
                <a:gd name="connsiteY15" fmla="*/ 301106 h 903386"/>
                <a:gd name="connsiteX16" fmla="*/ 525207 w 1048644"/>
                <a:gd name="connsiteY16" fmla="*/ 174816 h 903386"/>
                <a:gd name="connsiteX17" fmla="*/ 511908 w 1048644"/>
                <a:gd name="connsiteY17" fmla="*/ 183766 h 903386"/>
                <a:gd name="connsiteX18" fmla="*/ 165073 w 1048644"/>
                <a:gd name="connsiteY18" fmla="*/ 781757 h 903386"/>
                <a:gd name="connsiteX19" fmla="*/ 165073 w 1048644"/>
                <a:gd name="connsiteY19" fmla="*/ 814745 h 903386"/>
                <a:gd name="connsiteX20" fmla="*/ 885048 w 1048644"/>
                <a:gd name="connsiteY20" fmla="*/ 814745 h 903386"/>
                <a:gd name="connsiteX21" fmla="*/ 885048 w 1048644"/>
                <a:gd name="connsiteY21" fmla="*/ 781757 h 903386"/>
                <a:gd name="connsiteX22" fmla="*/ 538213 w 1048644"/>
                <a:gd name="connsiteY22" fmla="*/ 183766 h 903386"/>
                <a:gd name="connsiteX23" fmla="*/ 525207 w 1048644"/>
                <a:gd name="connsiteY23" fmla="*/ 174816 h 903386"/>
                <a:gd name="connsiteX24" fmla="*/ 525571 w 1048644"/>
                <a:gd name="connsiteY24" fmla="*/ 8 h 903386"/>
                <a:gd name="connsiteX25" fmla="*/ 543931 w 1048644"/>
                <a:gd name="connsiteY25" fmla="*/ 12641 h 903386"/>
                <a:gd name="connsiteX26" fmla="*/ 1033553 w 1048644"/>
                <a:gd name="connsiteY26" fmla="*/ 856817 h 903386"/>
                <a:gd name="connsiteX27" fmla="*/ 1033553 w 1048644"/>
                <a:gd name="connsiteY27" fmla="*/ 903386 h 903386"/>
                <a:gd name="connsiteX28" fmla="*/ 17175 w 1048644"/>
                <a:gd name="connsiteY28" fmla="*/ 903386 h 903386"/>
                <a:gd name="connsiteX29" fmla="*/ 17175 w 1048644"/>
                <a:gd name="connsiteY29" fmla="*/ 856817 h 903386"/>
                <a:gd name="connsiteX30" fmla="*/ 506797 w 1048644"/>
                <a:gd name="connsiteY30" fmla="*/ 12641 h 903386"/>
                <a:gd name="connsiteX31" fmla="*/ 525571 w 1048644"/>
                <a:gd name="connsiteY31" fmla="*/ 8 h 903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048644" h="903386">
                  <a:moveTo>
                    <a:pt x="524322" y="686827"/>
                  </a:moveTo>
                  <a:cubicBezTo>
                    <a:pt x="549700" y="686827"/>
                    <a:pt x="570272" y="707400"/>
                    <a:pt x="570272" y="732778"/>
                  </a:cubicBezTo>
                  <a:cubicBezTo>
                    <a:pt x="570272" y="758156"/>
                    <a:pt x="549700" y="778728"/>
                    <a:pt x="524322" y="778728"/>
                  </a:cubicBezTo>
                  <a:cubicBezTo>
                    <a:pt x="498945" y="778728"/>
                    <a:pt x="478372" y="758156"/>
                    <a:pt x="478372" y="732778"/>
                  </a:cubicBezTo>
                  <a:cubicBezTo>
                    <a:pt x="478372" y="707400"/>
                    <a:pt x="498945" y="686827"/>
                    <a:pt x="524322" y="686827"/>
                  </a:cubicBezTo>
                  <a:close/>
                  <a:moveTo>
                    <a:pt x="525176" y="301106"/>
                  </a:moveTo>
                  <a:cubicBezTo>
                    <a:pt x="530833" y="301232"/>
                    <a:pt x="536205" y="302368"/>
                    <a:pt x="542487" y="304136"/>
                  </a:cubicBezTo>
                  <a:cubicBezTo>
                    <a:pt x="564274" y="314359"/>
                    <a:pt x="579562" y="338290"/>
                    <a:pt x="579562" y="366183"/>
                  </a:cubicBezTo>
                  <a:cubicBezTo>
                    <a:pt x="575920" y="452377"/>
                    <a:pt x="567422" y="558099"/>
                    <a:pt x="561958" y="626785"/>
                  </a:cubicBezTo>
                  <a:cubicBezTo>
                    <a:pt x="559834" y="647542"/>
                    <a:pt x="550844" y="662392"/>
                    <a:pt x="528203" y="666232"/>
                  </a:cubicBezTo>
                  <a:lnTo>
                    <a:pt x="524322" y="666583"/>
                  </a:lnTo>
                  <a:lnTo>
                    <a:pt x="520441" y="666232"/>
                  </a:lnTo>
                  <a:cubicBezTo>
                    <a:pt x="497801" y="662392"/>
                    <a:pt x="488811" y="647542"/>
                    <a:pt x="486686" y="626785"/>
                  </a:cubicBezTo>
                  <a:cubicBezTo>
                    <a:pt x="481223" y="558099"/>
                    <a:pt x="472724" y="452377"/>
                    <a:pt x="469082" y="366183"/>
                  </a:cubicBezTo>
                  <a:cubicBezTo>
                    <a:pt x="469082" y="338290"/>
                    <a:pt x="484370" y="314359"/>
                    <a:pt x="506157" y="304136"/>
                  </a:cubicBezTo>
                  <a:cubicBezTo>
                    <a:pt x="513578" y="301863"/>
                    <a:pt x="519519" y="300979"/>
                    <a:pt x="525176" y="301106"/>
                  </a:cubicBezTo>
                  <a:close/>
                  <a:moveTo>
                    <a:pt x="525207" y="174816"/>
                  </a:moveTo>
                  <a:cubicBezTo>
                    <a:pt x="520089" y="174670"/>
                    <a:pt x="514923" y="177506"/>
                    <a:pt x="511908" y="183766"/>
                  </a:cubicBezTo>
                  <a:lnTo>
                    <a:pt x="165073" y="781757"/>
                  </a:lnTo>
                  <a:cubicBezTo>
                    <a:pt x="147077" y="809706"/>
                    <a:pt x="150728" y="814051"/>
                    <a:pt x="165073" y="814745"/>
                  </a:cubicBezTo>
                  <a:lnTo>
                    <a:pt x="885048" y="814745"/>
                  </a:lnTo>
                  <a:cubicBezTo>
                    <a:pt x="902261" y="812356"/>
                    <a:pt x="896002" y="799795"/>
                    <a:pt x="885048" y="781757"/>
                  </a:cubicBezTo>
                  <a:lnTo>
                    <a:pt x="538213" y="183766"/>
                  </a:lnTo>
                  <a:cubicBezTo>
                    <a:pt x="535393" y="178093"/>
                    <a:pt x="530325" y="174963"/>
                    <a:pt x="525207" y="174816"/>
                  </a:cubicBezTo>
                  <a:close/>
                  <a:moveTo>
                    <a:pt x="525571" y="8"/>
                  </a:moveTo>
                  <a:cubicBezTo>
                    <a:pt x="532796" y="215"/>
                    <a:pt x="539951" y="4633"/>
                    <a:pt x="543931" y="12641"/>
                  </a:cubicBezTo>
                  <a:lnTo>
                    <a:pt x="1033553" y="856817"/>
                  </a:lnTo>
                  <a:cubicBezTo>
                    <a:pt x="1049017" y="882282"/>
                    <a:pt x="1057854" y="900013"/>
                    <a:pt x="1033553" y="903386"/>
                  </a:cubicBezTo>
                  <a:lnTo>
                    <a:pt x="17175" y="903386"/>
                  </a:lnTo>
                  <a:cubicBezTo>
                    <a:pt x="-3076" y="902407"/>
                    <a:pt x="-8230" y="896273"/>
                    <a:pt x="17175" y="856817"/>
                  </a:cubicBezTo>
                  <a:lnTo>
                    <a:pt x="506797" y="12641"/>
                  </a:lnTo>
                  <a:cubicBezTo>
                    <a:pt x="511053" y="3805"/>
                    <a:pt x="518347" y="-200"/>
                    <a:pt x="525571" y="8"/>
                  </a:cubicBezTo>
                  <a:close/>
                </a:path>
              </a:pathLst>
            </a:cu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rgbClr val="FFFFFF"/>
                </a:solidFill>
              </a:endParaRPr>
            </a:p>
          </p:txBody>
        </p:sp>
      </p:grpSp>
      <p:graphicFrame>
        <p:nvGraphicFramePr>
          <p:cNvPr id="26" name="Object 25" hidden="1"/>
          <p:cNvGraphicFramePr>
            <a:graphicFrameLocks noChangeAspect="1"/>
          </p:cNvGraphicFramePr>
          <p:nvPr>
            <p:custDataLst>
              <p:tags r:id="rId2"/>
            </p:custDataLst>
            <p:extLst/>
          </p:nvPr>
        </p:nvGraphicFramePr>
        <p:xfrm>
          <a:off x="2471" y="2085"/>
          <a:ext cx="1587" cy="1587"/>
        </p:xfrm>
        <a:graphic>
          <a:graphicData uri="http://schemas.openxmlformats.org/presentationml/2006/ole">
            <mc:AlternateContent xmlns:mc="http://schemas.openxmlformats.org/markup-compatibility/2006">
              <mc:Choice xmlns:v="urn:schemas-microsoft-com:vml" Requires="v">
                <p:oleObj spid="_x0000_s106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2471" y="2085"/>
                        <a:ext cx="1587" cy="1587"/>
                      </a:xfrm>
                      <a:prstGeom prst="rect">
                        <a:avLst/>
                      </a:prstGeom>
                    </p:spPr>
                  </p:pic>
                </p:oleObj>
              </mc:Fallback>
            </mc:AlternateContent>
          </a:graphicData>
        </a:graphic>
      </p:graphicFrame>
      <p:sp>
        <p:nvSpPr>
          <p:cNvPr id="4" name="Title 3"/>
          <p:cNvSpPr>
            <a:spLocks noGrp="1"/>
          </p:cNvSpPr>
          <p:nvPr>
            <p:ph type="title"/>
          </p:nvPr>
        </p:nvSpPr>
        <p:spPr/>
        <p:txBody>
          <a:bodyPr/>
          <a:lstStyle/>
          <a:p>
            <a:r>
              <a:rPr lang="en-US" dirty="0" err="1" smtClean="0"/>
              <a:t>Amélioration</a:t>
            </a:r>
            <a:r>
              <a:rPr lang="en-US" dirty="0" smtClean="0"/>
              <a:t> de la stack In Memory</a:t>
            </a:r>
            <a:endParaRPr lang="en-US" sz="3599" dirty="0">
              <a:solidFill>
                <a:srgbClr val="C00000"/>
              </a:solidFill>
            </a:endParaRPr>
          </a:p>
        </p:txBody>
      </p:sp>
      <p:sp>
        <p:nvSpPr>
          <p:cNvPr id="2" name="Text Placeholder 1"/>
          <p:cNvSpPr>
            <a:spLocks noGrp="1"/>
          </p:cNvSpPr>
          <p:nvPr>
            <p:ph type="body" sz="quarter" idx="13"/>
          </p:nvPr>
        </p:nvSpPr>
        <p:spPr/>
        <p:txBody>
          <a:bodyPr/>
          <a:lstStyle/>
          <a:p>
            <a:endParaRPr lang="fr-FR"/>
          </a:p>
        </p:txBody>
      </p:sp>
      <p:sp>
        <p:nvSpPr>
          <p:cNvPr id="8" name="Text Placeholder 7"/>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sp>
        <p:nvSpPr>
          <p:cNvPr id="7" name="Rectangle 6"/>
          <p:cNvSpPr/>
          <p:nvPr/>
        </p:nvSpPr>
        <p:spPr bwMode="auto">
          <a:xfrm>
            <a:off x="7871824" y="1925764"/>
            <a:ext cx="4279096" cy="413958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13" rIns="0" bIns="45713" numCol="1" spcCol="0" rtlCol="0" fromWordArt="0" anchor="t" anchorCtr="0" forceAA="0" compatLnSpc="1">
            <a:prstTxWarp prst="textNoShape">
              <a:avLst/>
            </a:prstTxWarp>
            <a:spAutoFit/>
          </a:bodyPr>
          <a:lstStyle/>
          <a:p>
            <a:pPr defTabSz="931954">
              <a:spcBef>
                <a:spcPts val="1199"/>
              </a:spcBef>
            </a:pPr>
            <a:r>
              <a:rPr lang="en-US" sz="2800" dirty="0" err="1">
                <a:ln>
                  <a:solidFill>
                    <a:srgbClr val="FFFFFF">
                      <a:alpha val="0"/>
                    </a:srgbClr>
                  </a:solidFill>
                </a:ln>
                <a:solidFill>
                  <a:srgbClr val="C00000"/>
                </a:solidFill>
                <a:latin typeface="Segoe UI Light"/>
                <a:ea typeface="Segoe UI" pitchFamily="34" charset="0"/>
                <a:cs typeface="Segoe UI" pitchFamily="34" charset="0"/>
              </a:rPr>
              <a:t>Capacités</a:t>
            </a:r>
            <a:endParaRPr lang="en-US" sz="2800" dirty="0">
              <a:ln>
                <a:solidFill>
                  <a:srgbClr val="FFFFFF">
                    <a:alpha val="0"/>
                  </a:srgbClr>
                </a:solidFill>
              </a:ln>
              <a:solidFill>
                <a:srgbClr val="C00000"/>
              </a:solidFill>
              <a:latin typeface="Segoe UI Light"/>
              <a:ea typeface="Segoe UI" pitchFamily="34" charset="0"/>
              <a:cs typeface="Segoe UI" pitchFamily="34" charset="0"/>
            </a:endParaRPr>
          </a:p>
          <a:p>
            <a:pPr defTabSz="931954">
              <a:spcBef>
                <a:spcPts val="600"/>
              </a:spcBef>
              <a:spcAft>
                <a:spcPts val="0"/>
              </a:spcAft>
            </a:pPr>
            <a:r>
              <a:rPr lang="en-US" sz="18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Combiner </a:t>
            </a:r>
            <a:r>
              <a:rPr lang="en-US" sz="1800" dirty="0" err="1">
                <a:ln>
                  <a:solidFill>
                    <a:srgbClr val="FFFFFF">
                      <a:alpha val="0"/>
                    </a:srgbClr>
                  </a:solidFill>
                </a:ln>
                <a:gradFill>
                  <a:gsLst>
                    <a:gs pos="85321">
                      <a:srgbClr val="505050"/>
                    </a:gs>
                    <a:gs pos="57000">
                      <a:srgbClr val="505050"/>
                    </a:gs>
                  </a:gsLst>
                </a:gradFill>
                <a:ea typeface="Segoe UI" pitchFamily="34" charset="0"/>
                <a:cs typeface="Segoe UI" pitchFamily="34" charset="0"/>
              </a:rPr>
              <a:t>deux</a:t>
            </a:r>
            <a:r>
              <a:rPr lang="en-US" sz="18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 technologies de compression et de </a:t>
            </a:r>
            <a:r>
              <a:rPr lang="en-US" sz="1800" dirty="0" err="1">
                <a:ln>
                  <a:solidFill>
                    <a:srgbClr val="FFFFFF">
                      <a:alpha val="0"/>
                    </a:srgbClr>
                  </a:solidFill>
                </a:ln>
                <a:gradFill>
                  <a:gsLst>
                    <a:gs pos="85321">
                      <a:srgbClr val="505050"/>
                    </a:gs>
                    <a:gs pos="57000">
                      <a:srgbClr val="505050"/>
                    </a:gs>
                  </a:gsLst>
                </a:gradFill>
                <a:ea typeface="Segoe UI" pitchFamily="34" charset="0"/>
                <a:cs typeface="Segoe UI" pitchFamily="34" charset="0"/>
              </a:rPr>
              <a:t>stockage</a:t>
            </a:r>
            <a:r>
              <a:rPr lang="en-US" sz="18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 </a:t>
            </a:r>
            <a:r>
              <a:rPr lang="en-US" sz="1800" dirty="0" err="1">
                <a:ln>
                  <a:solidFill>
                    <a:srgbClr val="FFFFFF">
                      <a:alpha val="0"/>
                    </a:srgbClr>
                  </a:solidFill>
                </a:ln>
                <a:gradFill>
                  <a:gsLst>
                    <a:gs pos="85321">
                      <a:srgbClr val="505050"/>
                    </a:gs>
                    <a:gs pos="57000">
                      <a:srgbClr val="505050"/>
                    </a:gs>
                  </a:gsLst>
                </a:gradFill>
                <a:ea typeface="Segoe UI" pitchFamily="34" charset="0"/>
                <a:cs typeface="Segoe UI" pitchFamily="34" charset="0"/>
              </a:rPr>
              <a:t>en</a:t>
            </a:r>
            <a:r>
              <a:rPr lang="en-US" sz="18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 </a:t>
            </a:r>
            <a:r>
              <a:rPr lang="en-US" sz="1800" dirty="0" err="1">
                <a:ln>
                  <a:solidFill>
                    <a:srgbClr val="FFFFFF">
                      <a:alpha val="0"/>
                    </a:srgbClr>
                  </a:solidFill>
                </a:ln>
                <a:gradFill>
                  <a:gsLst>
                    <a:gs pos="85321">
                      <a:srgbClr val="505050"/>
                    </a:gs>
                    <a:gs pos="57000">
                      <a:srgbClr val="505050"/>
                    </a:gs>
                  </a:gsLst>
                </a:gradFill>
                <a:ea typeface="Segoe UI" pitchFamily="34" charset="0"/>
                <a:cs typeface="Segoe UI" pitchFamily="34" charset="0"/>
              </a:rPr>
              <a:t>mémoire</a:t>
            </a:r>
            <a:r>
              <a:rPr lang="en-US" sz="18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 pour </a:t>
            </a:r>
            <a:r>
              <a:rPr lang="en-US" sz="1800" dirty="0" err="1">
                <a:ln>
                  <a:solidFill>
                    <a:srgbClr val="FFFFFF">
                      <a:alpha val="0"/>
                    </a:srgbClr>
                  </a:solidFill>
                </a:ln>
                <a:gradFill>
                  <a:gsLst>
                    <a:gs pos="85321">
                      <a:srgbClr val="505050"/>
                    </a:gs>
                    <a:gs pos="57000">
                      <a:srgbClr val="505050"/>
                    </a:gs>
                  </a:gsLst>
                </a:gradFill>
                <a:ea typeface="Segoe UI" pitchFamily="34" charset="0"/>
                <a:cs typeface="Segoe UI" pitchFamily="34" charset="0"/>
              </a:rPr>
              <a:t>permettre</a:t>
            </a:r>
            <a:r>
              <a:rPr lang="en-US" sz="1800" dirty="0">
                <a:ln>
                  <a:solidFill>
                    <a:srgbClr val="FFFFFF">
                      <a:alpha val="0"/>
                    </a:srgbClr>
                  </a:solidFill>
                </a:ln>
                <a:gradFill>
                  <a:gsLst>
                    <a:gs pos="85321">
                      <a:srgbClr val="505050"/>
                    </a:gs>
                    <a:gs pos="57000">
                      <a:srgbClr val="505050"/>
                    </a:gs>
                  </a:gsLst>
                </a:gradFill>
                <a:ea typeface="Segoe UI" pitchFamily="34" charset="0"/>
                <a:cs typeface="Segoe UI" pitchFamily="34" charset="0"/>
              </a:rPr>
              <a:t> un usage </a:t>
            </a:r>
            <a:r>
              <a:rPr lang="en-US" sz="1800" dirty="0" err="1">
                <a:ln>
                  <a:solidFill>
                    <a:srgbClr val="FFFFFF">
                      <a:alpha val="0"/>
                    </a:srgbClr>
                  </a:solidFill>
                </a:ln>
                <a:gradFill>
                  <a:gsLst>
                    <a:gs pos="85321">
                      <a:srgbClr val="505050"/>
                    </a:gs>
                    <a:gs pos="57000">
                      <a:srgbClr val="505050"/>
                    </a:gs>
                  </a:gsLst>
                </a:gradFill>
                <a:ea typeface="Segoe UI" pitchFamily="34" charset="0"/>
                <a:cs typeface="Segoe UI" pitchFamily="34" charset="0"/>
              </a:rPr>
              <a:t>intensif</a:t>
            </a:r>
            <a:endParaRPr lang="en-US" sz="1800" dirty="0">
              <a:ln>
                <a:solidFill>
                  <a:srgbClr val="FFFFFF">
                    <a:alpha val="0"/>
                  </a:srgbClr>
                </a:solidFill>
              </a:ln>
              <a:gradFill>
                <a:gsLst>
                  <a:gs pos="85321">
                    <a:srgbClr val="505050"/>
                  </a:gs>
                  <a:gs pos="57000">
                    <a:srgbClr val="505050"/>
                  </a:gs>
                </a:gsLst>
              </a:gradFill>
              <a:ea typeface="Segoe UI" pitchFamily="34" charset="0"/>
              <a:cs typeface="Segoe UI" pitchFamily="34" charset="0"/>
            </a:endParaRPr>
          </a:p>
          <a:p>
            <a:pPr defTabSz="931954">
              <a:spcBef>
                <a:spcPts val="1199"/>
              </a:spcBef>
            </a:pPr>
            <a:r>
              <a:rPr lang="en-US" sz="2800" dirty="0">
                <a:ln>
                  <a:solidFill>
                    <a:srgbClr val="FFFFFF">
                      <a:alpha val="0"/>
                    </a:srgbClr>
                  </a:solidFill>
                </a:ln>
                <a:solidFill>
                  <a:srgbClr val="C00000"/>
                </a:solidFill>
                <a:latin typeface="Segoe UI Light"/>
                <a:ea typeface="Segoe UI" pitchFamily="34" charset="0"/>
                <a:cs typeface="Segoe UI" pitchFamily="34" charset="0"/>
              </a:rPr>
              <a:t>Benefits</a:t>
            </a:r>
          </a:p>
          <a:p>
            <a:pPr marL="403147" indent="-349183" defTabSz="931954">
              <a:spcBef>
                <a:spcPts val="1199"/>
              </a:spcBef>
              <a:buClr>
                <a:srgbClr val="C00000"/>
              </a:buClr>
              <a:buFont typeface="Wingdings 3" panose="05040102010807070707" pitchFamily="18" charset="2"/>
              <a:buChar char="Æ"/>
            </a:pPr>
            <a:r>
              <a:rPr lang="en-US" sz="1800" dirty="0" err="1">
                <a:ln>
                  <a:solidFill>
                    <a:srgbClr val="FFFFFF">
                      <a:alpha val="0"/>
                    </a:srgbClr>
                  </a:solidFill>
                </a:ln>
                <a:solidFill>
                  <a:srgbClr val="505050"/>
                </a:solidFill>
                <a:ea typeface="Segoe UI" panose="020B0502040204020203" pitchFamily="34" charset="0"/>
                <a:cs typeface="Segoe UI" panose="020B0502040204020203" pitchFamily="34" charset="0"/>
              </a:rPr>
              <a:t>Permettre</a:t>
            </a:r>
            <a:r>
              <a:rPr lang="en-US" sz="1800" dirty="0">
                <a:ln>
                  <a:solidFill>
                    <a:srgbClr val="FFFFFF">
                      <a:alpha val="0"/>
                    </a:srgbClr>
                  </a:solidFill>
                </a:ln>
                <a:solidFill>
                  <a:srgbClr val="505050"/>
                </a:solidFill>
                <a:ea typeface="Segoe UI" panose="020B0502040204020203" pitchFamily="34" charset="0"/>
                <a:cs typeface="Segoe UI" panose="020B0502040204020203" pitchFamily="34" charset="0"/>
              </a:rPr>
              <a:t> de faire des operations </a:t>
            </a:r>
            <a:r>
              <a:rPr lang="en-US" sz="1800" dirty="0" err="1">
                <a:ln>
                  <a:solidFill>
                    <a:srgbClr val="FFFFFF">
                      <a:alpha val="0"/>
                    </a:srgbClr>
                  </a:solidFill>
                </a:ln>
                <a:solidFill>
                  <a:srgbClr val="505050"/>
                </a:solidFill>
                <a:ea typeface="Segoe UI" panose="020B0502040204020203" pitchFamily="34" charset="0"/>
                <a:cs typeface="Segoe UI" panose="020B0502040204020203" pitchFamily="34" charset="0"/>
              </a:rPr>
              <a:t>d’analyses</a:t>
            </a:r>
            <a:r>
              <a:rPr lang="en-US" sz="1800" dirty="0">
                <a:ln>
                  <a:solidFill>
                    <a:srgbClr val="FFFFFF">
                      <a:alpha val="0"/>
                    </a:srgbClr>
                  </a:solidFill>
                </a:ln>
                <a:solidFill>
                  <a:srgbClr val="505050"/>
                </a:solidFill>
                <a:ea typeface="Segoe UI" panose="020B0502040204020203" pitchFamily="34" charset="0"/>
                <a:cs typeface="Segoe UI" panose="020B0502040204020203" pitchFamily="34" charset="0"/>
              </a:rPr>
              <a:t> (</a:t>
            </a:r>
            <a:r>
              <a:rPr lang="en-US" sz="1800" dirty="0" err="1">
                <a:ln>
                  <a:solidFill>
                    <a:srgbClr val="FFFFFF">
                      <a:alpha val="0"/>
                    </a:srgbClr>
                  </a:solidFill>
                </a:ln>
                <a:solidFill>
                  <a:srgbClr val="505050"/>
                </a:solidFill>
                <a:ea typeface="Segoe UI" panose="020B0502040204020203" pitchFamily="34" charset="0"/>
                <a:cs typeface="Segoe UI" panose="020B0502040204020203" pitchFamily="34" charset="0"/>
              </a:rPr>
              <a:t>aggrégats</a:t>
            </a:r>
            <a:endParaRPr lang="en-US" sz="1800" dirty="0">
              <a:ln>
                <a:solidFill>
                  <a:srgbClr val="FFFFFF">
                    <a:alpha val="0"/>
                  </a:srgbClr>
                </a:solidFill>
              </a:ln>
              <a:solidFill>
                <a:srgbClr val="505050"/>
              </a:solidFill>
              <a:ea typeface="Segoe UI" panose="020B0502040204020203" pitchFamily="34" charset="0"/>
              <a:cs typeface="Segoe UI" panose="020B0502040204020203" pitchFamily="34" charset="0"/>
            </a:endParaRPr>
          </a:p>
          <a:p>
            <a:pPr marL="403147" indent="-349183" defTabSz="931954">
              <a:spcBef>
                <a:spcPts val="1199"/>
              </a:spcBef>
              <a:buClr>
                <a:srgbClr val="C00000"/>
              </a:buClr>
              <a:buFont typeface="Wingdings 3" panose="05040102010807070707" pitchFamily="18" charset="2"/>
              <a:buChar char="Æ"/>
            </a:pPr>
            <a:r>
              <a:rPr lang="en-US" sz="1800" b="1" dirty="0">
                <a:ln>
                  <a:solidFill>
                    <a:srgbClr val="FFFFFF">
                      <a:alpha val="0"/>
                    </a:srgbClr>
                  </a:solidFill>
                </a:ln>
                <a:solidFill>
                  <a:srgbClr val="C00000"/>
                </a:solidFill>
                <a:ea typeface="Segoe UI" panose="020B0502040204020203" pitchFamily="34" charset="0"/>
                <a:cs typeface="Segoe UI" panose="020B0502040204020203" pitchFamily="34" charset="0"/>
              </a:rPr>
              <a:t>Performance </a:t>
            </a:r>
            <a:r>
              <a:rPr lang="en-US" sz="1800" dirty="0" smtClean="0">
                <a:ln>
                  <a:solidFill>
                    <a:srgbClr val="FFFFFF">
                      <a:alpha val="0"/>
                    </a:srgbClr>
                  </a:solidFill>
                </a:ln>
                <a:solidFill>
                  <a:srgbClr val="505050"/>
                </a:solidFill>
                <a:ea typeface="Segoe UI" panose="020B0502040204020203" pitchFamily="34" charset="0"/>
                <a:cs typeface="Segoe UI" panose="020B0502040204020203" pitchFamily="34" charset="0"/>
              </a:rPr>
              <a:t>30x transactions </a:t>
            </a:r>
            <a:r>
              <a:rPr lang="en-US" sz="1800" dirty="0">
                <a:ln>
                  <a:solidFill>
                    <a:srgbClr val="FFFFFF">
                      <a:alpha val="0"/>
                    </a:srgbClr>
                  </a:solidFill>
                </a:ln>
                <a:solidFill>
                  <a:srgbClr val="505050"/>
                </a:solidFill>
                <a:ea typeface="Segoe UI" panose="020B0502040204020203" pitchFamily="34" charset="0"/>
                <a:cs typeface="Segoe UI" panose="020B0502040204020203" pitchFamily="34" charset="0"/>
              </a:rPr>
              <a:t/>
            </a:r>
            <a:br>
              <a:rPr lang="en-US" sz="1800" dirty="0">
                <a:ln>
                  <a:solidFill>
                    <a:srgbClr val="FFFFFF">
                      <a:alpha val="0"/>
                    </a:srgbClr>
                  </a:solidFill>
                </a:ln>
                <a:solidFill>
                  <a:srgbClr val="505050"/>
                </a:solidFill>
                <a:ea typeface="Segoe UI" panose="020B0502040204020203" pitchFamily="34" charset="0"/>
                <a:cs typeface="Segoe UI" panose="020B0502040204020203" pitchFamily="34" charset="0"/>
              </a:rPr>
            </a:br>
            <a:r>
              <a:rPr lang="en-US" sz="1800" b="1" dirty="0">
                <a:ln>
                  <a:solidFill>
                    <a:srgbClr val="FFFFFF">
                      <a:alpha val="0"/>
                    </a:srgbClr>
                  </a:solidFill>
                </a:ln>
                <a:solidFill>
                  <a:srgbClr val="C00000"/>
                </a:solidFill>
                <a:ea typeface="Segoe UI" panose="020B0502040204020203" pitchFamily="34" charset="0"/>
                <a:cs typeface="Segoe UI" panose="020B0502040204020203" pitchFamily="34" charset="0"/>
              </a:rPr>
              <a:t>&amp;</a:t>
            </a:r>
            <a:r>
              <a:rPr lang="en-US" sz="1800" dirty="0">
                <a:ln>
                  <a:solidFill>
                    <a:srgbClr val="FFFFFF">
                      <a:alpha val="0"/>
                    </a:srgbClr>
                  </a:solidFill>
                </a:ln>
                <a:solidFill>
                  <a:srgbClr val="000000"/>
                </a:solidFill>
                <a:ea typeface="Segoe UI" panose="020B0502040204020203" pitchFamily="34" charset="0"/>
                <a:cs typeface="Segoe UI" panose="020B0502040204020203" pitchFamily="34" charset="0"/>
              </a:rPr>
              <a:t> </a:t>
            </a:r>
            <a:r>
              <a:rPr lang="en-US" sz="1800" dirty="0">
                <a:ln>
                  <a:solidFill>
                    <a:srgbClr val="FFFFFF">
                      <a:alpha val="0"/>
                    </a:srgbClr>
                  </a:solidFill>
                </a:ln>
                <a:solidFill>
                  <a:srgbClr val="505050"/>
                </a:solidFill>
                <a:ea typeface="Segoe UI" panose="020B0502040204020203" pitchFamily="34" charset="0"/>
                <a:cs typeface="Segoe UI" panose="020B0502040204020203" pitchFamily="34" charset="0"/>
              </a:rPr>
              <a:t>100x queries</a:t>
            </a:r>
          </a:p>
          <a:p>
            <a:pPr marL="403147" indent="-349183" defTabSz="931954">
              <a:spcBef>
                <a:spcPts val="1199"/>
              </a:spcBef>
              <a:buClr>
                <a:srgbClr val="C00000"/>
              </a:buClr>
              <a:buFont typeface="Wingdings 3" panose="05040102010807070707" pitchFamily="18" charset="2"/>
              <a:buChar char="Æ"/>
            </a:pPr>
            <a:r>
              <a:rPr lang="en-US" sz="1800" dirty="0" err="1">
                <a:ln>
                  <a:solidFill>
                    <a:srgbClr val="FFFFFF">
                      <a:alpha val="0"/>
                    </a:srgbClr>
                  </a:solidFill>
                </a:ln>
                <a:solidFill>
                  <a:srgbClr val="505050"/>
                </a:solidFill>
                <a:ea typeface="Segoe UI" panose="020B0502040204020203" pitchFamily="34" charset="0"/>
                <a:cs typeface="Segoe UI" panose="020B0502040204020203" pitchFamily="34" charset="0"/>
              </a:rPr>
              <a:t>Utilisation</a:t>
            </a:r>
            <a:r>
              <a:rPr lang="en-US" sz="1800" dirty="0">
                <a:ln>
                  <a:solidFill>
                    <a:srgbClr val="FFFFFF">
                      <a:alpha val="0"/>
                    </a:srgbClr>
                  </a:solidFill>
                </a:ln>
                <a:solidFill>
                  <a:srgbClr val="505050"/>
                </a:solidFill>
                <a:ea typeface="Segoe UI" panose="020B0502040204020203" pitchFamily="34" charset="0"/>
                <a:cs typeface="Segoe UI" panose="020B0502040204020203" pitchFamily="34" charset="0"/>
              </a:rPr>
              <a:t> de la </a:t>
            </a:r>
            <a:r>
              <a:rPr lang="en-US" sz="1800" dirty="0" err="1">
                <a:ln>
                  <a:solidFill>
                    <a:srgbClr val="FFFFFF">
                      <a:alpha val="0"/>
                    </a:srgbClr>
                  </a:solidFill>
                </a:ln>
                <a:solidFill>
                  <a:srgbClr val="505050"/>
                </a:solidFill>
                <a:ea typeface="Segoe UI" panose="020B0502040204020203" pitchFamily="34" charset="0"/>
                <a:cs typeface="Segoe UI" panose="020B0502040204020203" pitchFamily="34" charset="0"/>
              </a:rPr>
              <a:t>mémoire</a:t>
            </a:r>
            <a:r>
              <a:rPr lang="en-US" sz="1800" dirty="0">
                <a:ln>
                  <a:solidFill>
                    <a:srgbClr val="FFFFFF">
                      <a:alpha val="0"/>
                    </a:srgbClr>
                  </a:solidFill>
                </a:ln>
                <a:solidFill>
                  <a:srgbClr val="505050"/>
                </a:solidFill>
                <a:ea typeface="Segoe UI" panose="020B0502040204020203" pitchFamily="34" charset="0"/>
                <a:cs typeface="Segoe UI" panose="020B0502040204020203" pitchFamily="34" charset="0"/>
              </a:rPr>
              <a:t> encore plus </a:t>
            </a:r>
            <a:r>
              <a:rPr lang="en-US" sz="1800" dirty="0" err="1">
                <a:ln>
                  <a:solidFill>
                    <a:srgbClr val="FFFFFF">
                      <a:alpha val="0"/>
                    </a:srgbClr>
                  </a:solidFill>
                </a:ln>
                <a:solidFill>
                  <a:srgbClr val="505050"/>
                </a:solidFill>
                <a:ea typeface="Segoe UI" panose="020B0502040204020203" pitchFamily="34" charset="0"/>
                <a:cs typeface="Segoe UI" panose="020B0502040204020203" pitchFamily="34" charset="0"/>
              </a:rPr>
              <a:t>importante</a:t>
            </a:r>
            <a:r>
              <a:rPr lang="en-US" sz="1800" dirty="0">
                <a:ln>
                  <a:solidFill>
                    <a:srgbClr val="FFFFFF">
                      <a:alpha val="0"/>
                    </a:srgbClr>
                  </a:solidFill>
                </a:ln>
                <a:solidFill>
                  <a:srgbClr val="505050"/>
                </a:solidFill>
                <a:ea typeface="Segoe UI" panose="020B0502040204020203" pitchFamily="34" charset="0"/>
                <a:cs typeface="Segoe UI" panose="020B0502040204020203" pitchFamily="34" charset="0"/>
              </a:rPr>
              <a:t> </a:t>
            </a:r>
            <a:r>
              <a:rPr lang="en-US" sz="1800" dirty="0" err="1">
                <a:ln>
                  <a:solidFill>
                    <a:srgbClr val="FFFFFF">
                      <a:alpha val="0"/>
                    </a:srgbClr>
                  </a:solidFill>
                </a:ln>
                <a:solidFill>
                  <a:srgbClr val="505050"/>
                </a:solidFill>
                <a:ea typeface="Segoe UI" panose="020B0502040204020203" pitchFamily="34" charset="0"/>
                <a:cs typeface="Segoe UI" panose="020B0502040204020203" pitchFamily="34" charset="0"/>
              </a:rPr>
              <a:t>depuis</a:t>
            </a:r>
            <a:r>
              <a:rPr lang="en-US" sz="1800" dirty="0">
                <a:ln>
                  <a:solidFill>
                    <a:srgbClr val="FFFFFF">
                      <a:alpha val="0"/>
                    </a:srgbClr>
                  </a:solidFill>
                </a:ln>
                <a:solidFill>
                  <a:srgbClr val="505050"/>
                </a:solidFill>
                <a:ea typeface="Segoe UI" panose="020B0502040204020203" pitchFamily="34" charset="0"/>
                <a:cs typeface="Segoe UI" panose="020B0502040204020203" pitchFamily="34" charset="0"/>
              </a:rPr>
              <a:t> </a:t>
            </a:r>
            <a:r>
              <a:rPr lang="en-US" sz="1800" dirty="0" err="1">
                <a:ln>
                  <a:solidFill>
                    <a:srgbClr val="FFFFFF">
                      <a:alpha val="0"/>
                    </a:srgbClr>
                  </a:solidFill>
                </a:ln>
                <a:solidFill>
                  <a:srgbClr val="505050"/>
                </a:solidFill>
                <a:ea typeface="Segoe UI" panose="020B0502040204020203" pitchFamily="34" charset="0"/>
                <a:cs typeface="Segoe UI" panose="020B0502040204020203" pitchFamily="34" charset="0"/>
              </a:rPr>
              <a:t>vos</a:t>
            </a:r>
            <a:r>
              <a:rPr lang="en-US" sz="1800" dirty="0">
                <a:ln>
                  <a:solidFill>
                    <a:srgbClr val="FFFFFF">
                      <a:alpha val="0"/>
                    </a:srgbClr>
                  </a:solidFill>
                </a:ln>
                <a:solidFill>
                  <a:srgbClr val="505050"/>
                </a:solidFill>
                <a:ea typeface="Segoe UI" panose="020B0502040204020203" pitchFamily="34" charset="0"/>
                <a:cs typeface="Segoe UI" panose="020B0502040204020203" pitchFamily="34" charset="0"/>
              </a:rPr>
              <a:t> applications</a:t>
            </a:r>
          </a:p>
        </p:txBody>
      </p:sp>
      <p:sp>
        <p:nvSpPr>
          <p:cNvPr id="346" name="TextBox 345"/>
          <p:cNvSpPr txBox="1"/>
          <p:nvPr/>
        </p:nvSpPr>
        <p:spPr>
          <a:xfrm>
            <a:off x="4890871" y="4893998"/>
            <a:ext cx="2345739" cy="276999"/>
          </a:xfrm>
          <a:prstGeom prst="rect">
            <a:avLst/>
          </a:prstGeom>
          <a:noFill/>
        </p:spPr>
        <p:txBody>
          <a:bodyPr wrap="square" lIns="0" tIns="0" rIns="0" bIns="0" rtlCol="0">
            <a:spAutoFit/>
          </a:bodyPr>
          <a:lstStyle/>
          <a:p>
            <a:pPr algn="ctr" defTabSz="913330"/>
            <a:r>
              <a:rPr lang="en-US" sz="1800" dirty="0" smtClean="0">
                <a:solidFill>
                  <a:srgbClr val="000000">
                    <a:lumMod val="75000"/>
                    <a:lumOff val="25000"/>
                  </a:srgbClr>
                </a:solidFill>
                <a:latin typeface="Segoe UI Semibold" panose="020B0702040204020203" pitchFamily="34" charset="0"/>
                <a:cs typeface="Segoe UI Semibold" panose="020B0702040204020203" pitchFamily="34" charset="0"/>
              </a:rPr>
              <a:t>Fraud detected</a:t>
            </a:r>
            <a:endParaRPr lang="en-US" sz="1100" dirty="0">
              <a:solidFill>
                <a:srgbClr val="000000">
                  <a:lumMod val="75000"/>
                  <a:lumOff val="25000"/>
                </a:srgbClr>
              </a:solidFill>
              <a:latin typeface="Segoe UI"/>
            </a:endParaRPr>
          </a:p>
        </p:txBody>
      </p:sp>
      <p:sp>
        <p:nvSpPr>
          <p:cNvPr id="537" name="TextBox 536"/>
          <p:cNvSpPr txBox="1">
            <a:spLocks noChangeAspect="1"/>
          </p:cNvSpPr>
          <p:nvPr/>
        </p:nvSpPr>
        <p:spPr>
          <a:xfrm>
            <a:off x="5712807" y="2868638"/>
            <a:ext cx="285877" cy="245313"/>
          </a:xfrm>
          <a:prstGeom prst="rect">
            <a:avLst/>
          </a:prstGeom>
          <a:noFill/>
        </p:spPr>
        <p:txBody>
          <a:bodyPr wrap="none" lIns="0" tIns="0" rIns="0" bIns="0" rtlCol="0" anchor="ctr">
            <a:noAutofit/>
          </a:bodyPr>
          <a:lstStyle/>
          <a:p>
            <a:pPr algn="ctr"/>
            <a:r>
              <a:rPr lang="en-US" sz="1100" b="1" dirty="0" smtClean="0">
                <a:solidFill>
                  <a:srgbClr val="000000">
                    <a:lumMod val="75000"/>
                    <a:lumOff val="25000"/>
                  </a:srgbClr>
                </a:solidFill>
              </a:rPr>
              <a:t>2-24</a:t>
            </a:r>
          </a:p>
          <a:p>
            <a:pPr algn="ctr"/>
            <a:r>
              <a:rPr lang="en-US" sz="800" b="1" dirty="0" smtClean="0">
                <a:solidFill>
                  <a:srgbClr val="000000">
                    <a:lumMod val="75000"/>
                    <a:lumOff val="25000"/>
                  </a:srgbClr>
                </a:solidFill>
              </a:rPr>
              <a:t>hrs</a:t>
            </a:r>
            <a:endParaRPr lang="en-IN" sz="1200" b="1" dirty="0">
              <a:solidFill>
                <a:srgbClr val="000000">
                  <a:lumMod val="75000"/>
                  <a:lumOff val="25000"/>
                </a:srgbClr>
              </a:solidFill>
            </a:endParaRPr>
          </a:p>
        </p:txBody>
      </p:sp>
      <p:grpSp>
        <p:nvGrpSpPr>
          <p:cNvPr id="367" name="Group 366"/>
          <p:cNvGrpSpPr>
            <a:grpSpLocks noChangeAspect="1"/>
          </p:cNvGrpSpPr>
          <p:nvPr/>
        </p:nvGrpSpPr>
        <p:grpSpPr>
          <a:xfrm>
            <a:off x="4988223" y="2195272"/>
            <a:ext cx="1105841" cy="1005840"/>
            <a:chOff x="754738" y="3300760"/>
            <a:chExt cx="2499405" cy="2273385"/>
          </a:xfrm>
        </p:grpSpPr>
        <p:sp>
          <p:nvSpPr>
            <p:cNvPr id="368" name="Freeform 367"/>
            <p:cNvSpPr/>
            <p:nvPr/>
          </p:nvSpPr>
          <p:spPr>
            <a:xfrm>
              <a:off x="808873" y="3354388"/>
              <a:ext cx="2445270" cy="2219757"/>
            </a:xfrm>
            <a:custGeom>
              <a:avLst/>
              <a:gdLst>
                <a:gd name="connsiteX0" fmla="*/ 1928448 w 2445270"/>
                <a:gd name="connsiteY0" fmla="*/ 1186112 h 2219757"/>
                <a:gd name="connsiteX1" fmla="*/ 2404656 w 2445270"/>
                <a:gd name="connsiteY1" fmla="*/ 1501764 h 2219757"/>
                <a:gd name="connsiteX2" fmla="*/ 2423700 w 2445270"/>
                <a:gd name="connsiteY2" fmla="*/ 1563114 h 2219757"/>
                <a:gd name="connsiteX3" fmla="*/ 2338738 w 2445270"/>
                <a:gd name="connsiteY3" fmla="*/ 1617822 h 2219757"/>
                <a:gd name="connsiteX4" fmla="*/ 2314530 w 2445270"/>
                <a:gd name="connsiteY4" fmla="*/ 1539838 h 2219757"/>
                <a:gd name="connsiteX5" fmla="*/ 1928448 w 2445270"/>
                <a:gd name="connsiteY5" fmla="*/ 1283926 h 2219757"/>
                <a:gd name="connsiteX6" fmla="*/ 1509439 w 2445270"/>
                <a:gd name="connsiteY6" fmla="*/ 1702935 h 2219757"/>
                <a:gd name="connsiteX7" fmla="*/ 1928448 w 2445270"/>
                <a:gd name="connsiteY7" fmla="*/ 2121943 h 2219757"/>
                <a:gd name="connsiteX8" fmla="*/ 2338945 w 2445270"/>
                <a:gd name="connsiteY8" fmla="*/ 1787380 h 2219757"/>
                <a:gd name="connsiteX9" fmla="*/ 2346439 w 2445270"/>
                <a:gd name="connsiteY9" fmla="*/ 1713043 h 2219757"/>
                <a:gd name="connsiteX10" fmla="*/ 2438318 w 2445270"/>
                <a:gd name="connsiteY10" fmla="*/ 1633967 h 2219757"/>
                <a:gd name="connsiteX11" fmla="*/ 2445270 w 2445270"/>
                <a:gd name="connsiteY11" fmla="*/ 1702935 h 2219757"/>
                <a:gd name="connsiteX12" fmla="*/ 1928448 w 2445270"/>
                <a:gd name="connsiteY12" fmla="*/ 2219757 h 2219757"/>
                <a:gd name="connsiteX13" fmla="*/ 1411625 w 2445270"/>
                <a:gd name="connsiteY13" fmla="*/ 1702935 h 2219757"/>
                <a:gd name="connsiteX14" fmla="*/ 1928448 w 2445270"/>
                <a:gd name="connsiteY14" fmla="*/ 1186112 h 2219757"/>
                <a:gd name="connsiteX15" fmla="*/ 1025057 w 2445270"/>
                <a:gd name="connsiteY15" fmla="*/ 0 h 2219757"/>
                <a:gd name="connsiteX16" fmla="*/ 2050112 w 2445270"/>
                <a:gd name="connsiteY16" fmla="*/ 1025055 h 2219757"/>
                <a:gd name="connsiteX17" fmla="*/ 2040313 w 2445270"/>
                <a:gd name="connsiteY17" fmla="*/ 1122257 h 2219757"/>
                <a:gd name="connsiteX18" fmla="*/ 1928448 w 2445270"/>
                <a:gd name="connsiteY18" fmla="*/ 1110980 h 2219757"/>
                <a:gd name="connsiteX19" fmla="*/ 1336493 w 2445270"/>
                <a:gd name="connsiteY19" fmla="*/ 1702935 h 2219757"/>
                <a:gd name="connsiteX20" fmla="*/ 1383012 w 2445270"/>
                <a:gd name="connsiteY20" fmla="*/ 1933350 h 2219757"/>
                <a:gd name="connsiteX21" fmla="*/ 1410300 w 2445270"/>
                <a:gd name="connsiteY21" fmla="*/ 1973825 h 2219757"/>
                <a:gd name="connsiteX22" fmla="*/ 1231643 w 2445270"/>
                <a:gd name="connsiteY22" fmla="*/ 2029281 h 2219757"/>
                <a:gd name="connsiteX23" fmla="*/ 1025057 w 2445270"/>
                <a:gd name="connsiteY23" fmla="*/ 2050107 h 2219757"/>
                <a:gd name="connsiteX24" fmla="*/ 0 w 2445270"/>
                <a:gd name="connsiteY24" fmla="*/ 1025055 h 2219757"/>
                <a:gd name="connsiteX25" fmla="*/ 1025057 w 2445270"/>
                <a:gd name="connsiteY25" fmla="*/ 0 h 2219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445270" h="2219757">
                  <a:moveTo>
                    <a:pt x="1928448" y="1186112"/>
                  </a:moveTo>
                  <a:cubicBezTo>
                    <a:pt x="2142524" y="1186112"/>
                    <a:pt x="2326198" y="1316269"/>
                    <a:pt x="2404656" y="1501764"/>
                  </a:cubicBezTo>
                  <a:lnTo>
                    <a:pt x="2423700" y="1563114"/>
                  </a:lnTo>
                  <a:lnTo>
                    <a:pt x="2338738" y="1617822"/>
                  </a:lnTo>
                  <a:lnTo>
                    <a:pt x="2314530" y="1539838"/>
                  </a:lnTo>
                  <a:cubicBezTo>
                    <a:pt x="2250921" y="1389450"/>
                    <a:pt x="2102008" y="1283926"/>
                    <a:pt x="1928448" y="1283926"/>
                  </a:cubicBezTo>
                  <a:cubicBezTo>
                    <a:pt x="1697036" y="1283926"/>
                    <a:pt x="1509439" y="1471523"/>
                    <a:pt x="1509439" y="1702935"/>
                  </a:cubicBezTo>
                  <a:cubicBezTo>
                    <a:pt x="1509439" y="1934348"/>
                    <a:pt x="1697036" y="2121943"/>
                    <a:pt x="1928448" y="2121943"/>
                  </a:cubicBezTo>
                  <a:cubicBezTo>
                    <a:pt x="2130935" y="2121943"/>
                    <a:pt x="2299874" y="1978316"/>
                    <a:pt x="2338945" y="1787380"/>
                  </a:cubicBezTo>
                  <a:lnTo>
                    <a:pt x="2346439" y="1713043"/>
                  </a:lnTo>
                  <a:lnTo>
                    <a:pt x="2438318" y="1633967"/>
                  </a:lnTo>
                  <a:lnTo>
                    <a:pt x="2445270" y="1702935"/>
                  </a:lnTo>
                  <a:cubicBezTo>
                    <a:pt x="2445270" y="1988369"/>
                    <a:pt x="2213882" y="2219757"/>
                    <a:pt x="1928448" y="2219757"/>
                  </a:cubicBezTo>
                  <a:cubicBezTo>
                    <a:pt x="1643016" y="2219757"/>
                    <a:pt x="1411625" y="1988369"/>
                    <a:pt x="1411625" y="1702935"/>
                  </a:cubicBezTo>
                  <a:cubicBezTo>
                    <a:pt x="1411625" y="1417501"/>
                    <a:pt x="1643016" y="1186112"/>
                    <a:pt x="1928448" y="1186112"/>
                  </a:cubicBezTo>
                  <a:close/>
                  <a:moveTo>
                    <a:pt x="1025057" y="0"/>
                  </a:moveTo>
                  <a:cubicBezTo>
                    <a:pt x="1591180" y="0"/>
                    <a:pt x="2050112" y="458932"/>
                    <a:pt x="2050112" y="1025055"/>
                  </a:cubicBezTo>
                  <a:lnTo>
                    <a:pt x="2040313" y="1122257"/>
                  </a:lnTo>
                  <a:lnTo>
                    <a:pt x="1928448" y="1110980"/>
                  </a:lnTo>
                  <a:cubicBezTo>
                    <a:pt x="1601520" y="1110980"/>
                    <a:pt x="1336493" y="1376007"/>
                    <a:pt x="1336493" y="1702935"/>
                  </a:cubicBezTo>
                  <a:cubicBezTo>
                    <a:pt x="1336493" y="1784668"/>
                    <a:pt x="1353057" y="1862530"/>
                    <a:pt x="1383012" y="1933350"/>
                  </a:cubicBezTo>
                  <a:lnTo>
                    <a:pt x="1410300" y="1973825"/>
                  </a:lnTo>
                  <a:lnTo>
                    <a:pt x="1231643" y="2029281"/>
                  </a:lnTo>
                  <a:cubicBezTo>
                    <a:pt x="1164914" y="2042937"/>
                    <a:pt x="1095824" y="2050107"/>
                    <a:pt x="1025057" y="2050107"/>
                  </a:cubicBezTo>
                  <a:cubicBezTo>
                    <a:pt x="458932" y="2050107"/>
                    <a:pt x="0" y="1591175"/>
                    <a:pt x="0" y="1025055"/>
                  </a:cubicBezTo>
                  <a:cubicBezTo>
                    <a:pt x="0" y="458932"/>
                    <a:pt x="458932" y="0"/>
                    <a:pt x="1025057" y="0"/>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500">
                <a:solidFill>
                  <a:srgbClr val="FFFFFF"/>
                </a:solidFill>
              </a:endParaRPr>
            </a:p>
          </p:txBody>
        </p:sp>
        <p:sp>
          <p:nvSpPr>
            <p:cNvPr id="369" name="Pie 368"/>
            <p:cNvSpPr/>
            <p:nvPr/>
          </p:nvSpPr>
          <p:spPr>
            <a:xfrm>
              <a:off x="754738" y="3300760"/>
              <a:ext cx="2158153" cy="2158151"/>
            </a:xfrm>
            <a:prstGeom prst="pie">
              <a:avLst>
                <a:gd name="adj1" fmla="val 16156766"/>
                <a:gd name="adj2" fmla="val 2011083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500">
                <a:solidFill>
                  <a:srgbClr val="FFFFFF"/>
                </a:solidFill>
              </a:endParaRPr>
            </a:p>
          </p:txBody>
        </p:sp>
        <p:grpSp>
          <p:nvGrpSpPr>
            <p:cNvPr id="370" name="Group 369"/>
            <p:cNvGrpSpPr/>
            <p:nvPr/>
          </p:nvGrpSpPr>
          <p:grpSpPr>
            <a:xfrm>
              <a:off x="1724353" y="3602915"/>
              <a:ext cx="893698" cy="886382"/>
              <a:chOff x="1724353" y="3602915"/>
              <a:chExt cx="893698" cy="886382"/>
            </a:xfrm>
            <a:solidFill>
              <a:schemeClr val="bg1"/>
            </a:solidFill>
          </p:grpSpPr>
          <p:sp>
            <p:nvSpPr>
              <p:cNvPr id="373" name="Oval 372"/>
              <p:cNvSpPr/>
              <p:nvPr/>
            </p:nvSpPr>
            <p:spPr>
              <a:xfrm>
                <a:off x="1724353" y="4270375"/>
                <a:ext cx="218922" cy="21892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500">
                  <a:solidFill>
                    <a:srgbClr val="FFFFFF"/>
                  </a:solidFill>
                </a:endParaRPr>
              </a:p>
            </p:txBody>
          </p:sp>
          <p:sp>
            <p:nvSpPr>
              <p:cNvPr id="374" name="Rounded Rectangle 373"/>
              <p:cNvSpPr/>
              <p:nvPr/>
            </p:nvSpPr>
            <p:spPr>
              <a:xfrm>
                <a:off x="1787777" y="3602915"/>
                <a:ext cx="92075" cy="822960"/>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500">
                  <a:solidFill>
                    <a:srgbClr val="FFFFFF"/>
                  </a:solidFill>
                </a:endParaRPr>
              </a:p>
            </p:txBody>
          </p:sp>
          <p:sp>
            <p:nvSpPr>
              <p:cNvPr id="375" name="Rounded Rectangle 374"/>
              <p:cNvSpPr/>
              <p:nvPr/>
            </p:nvSpPr>
            <p:spPr>
              <a:xfrm rot="3868036">
                <a:off x="2145563" y="3782481"/>
                <a:ext cx="92075" cy="852901"/>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500">
                  <a:solidFill>
                    <a:srgbClr val="FFFFFF"/>
                  </a:solidFill>
                </a:endParaRPr>
              </a:p>
            </p:txBody>
          </p:sp>
        </p:grpSp>
      </p:grpSp>
      <p:sp>
        <p:nvSpPr>
          <p:cNvPr id="170" name="Right Brace 169"/>
          <p:cNvSpPr/>
          <p:nvPr/>
        </p:nvSpPr>
        <p:spPr>
          <a:xfrm>
            <a:off x="4565171" y="2479212"/>
            <a:ext cx="196642" cy="3434535"/>
          </a:xfrm>
          <a:prstGeom prst="rightBrace">
            <a:avLst>
              <a:gd name="adj1" fmla="val 43816"/>
              <a:gd name="adj2" fmla="val 50000"/>
            </a:avLst>
          </a:prstGeom>
          <a:ln>
            <a:solidFill>
              <a:schemeClr val="tx1">
                <a:lumMod val="65000"/>
                <a:lumOff val="35000"/>
              </a:schemeClr>
            </a:solidFill>
            <a:headEnd type="none" w="med" len="sm"/>
            <a:tailEnd type="none" w="med"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1684"/>
            <a:endParaRPr lang="en-US">
              <a:solidFill>
                <a:srgbClr val="000000"/>
              </a:solidFill>
            </a:endParaRPr>
          </a:p>
        </p:txBody>
      </p:sp>
    </p:spTree>
    <p:extLst>
      <p:ext uri="{BB962C8B-B14F-4D97-AF65-F5344CB8AC3E}">
        <p14:creationId xmlns:p14="http://schemas.microsoft.com/office/powerpoint/2010/main" val="39113937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63"/>
                                        </p:tgtEl>
                                        <p:attrNameLst>
                                          <p:attrName>style.visibility</p:attrName>
                                        </p:attrNameLst>
                                      </p:cBhvr>
                                      <p:to>
                                        <p:strVal val="visible"/>
                                      </p:to>
                                    </p:set>
                                    <p:animEffect transition="in" filter="fade">
                                      <p:cBhvr>
                                        <p:cTn id="7" dur="500"/>
                                        <p:tgtEl>
                                          <p:spTgt spid="363"/>
                                        </p:tgtEl>
                                      </p:cBhvr>
                                    </p:animEffect>
                                  </p:childTnLst>
                                </p:cTn>
                              </p:par>
                              <p:par>
                                <p:cTn id="8" presetID="10" presetClass="entr" presetSubtype="0" fill="hold" nodeType="withEffect">
                                  <p:stCondLst>
                                    <p:cond delay="500"/>
                                  </p:stCondLst>
                                  <p:childTnLst>
                                    <p:set>
                                      <p:cBhvr>
                                        <p:cTn id="9" dur="1" fill="hold">
                                          <p:stCondLst>
                                            <p:cond delay="0"/>
                                          </p:stCondLst>
                                        </p:cTn>
                                        <p:tgtEl>
                                          <p:spTgt spid="347"/>
                                        </p:tgtEl>
                                        <p:attrNameLst>
                                          <p:attrName>style.visibility</p:attrName>
                                        </p:attrNameLst>
                                      </p:cBhvr>
                                      <p:to>
                                        <p:strVal val="visible"/>
                                      </p:to>
                                    </p:set>
                                    <p:animEffect transition="in" filter="fade">
                                      <p:cBhvr>
                                        <p:cTn id="10" dur="500"/>
                                        <p:tgtEl>
                                          <p:spTgt spid="347"/>
                                        </p:tgtEl>
                                      </p:cBhvr>
                                    </p:animEffect>
                                  </p:childTnLst>
                                </p:cTn>
                              </p:par>
                            </p:childTnLst>
                          </p:cTn>
                        </p:par>
                        <p:par>
                          <p:cTn id="11" fill="hold">
                            <p:stCondLst>
                              <p:cond delay="1000"/>
                            </p:stCondLst>
                            <p:childTnLst>
                              <p:par>
                                <p:cTn id="12" presetID="22" presetClass="entr" presetSubtype="8" fill="hold" grpId="0" nodeType="afterEffect">
                                  <p:stCondLst>
                                    <p:cond delay="0"/>
                                  </p:stCondLst>
                                  <p:childTnLst>
                                    <p:set>
                                      <p:cBhvr>
                                        <p:cTn id="13" dur="1" fill="hold">
                                          <p:stCondLst>
                                            <p:cond delay="0"/>
                                          </p:stCondLst>
                                        </p:cTn>
                                        <p:tgtEl>
                                          <p:spTgt spid="65"/>
                                        </p:tgtEl>
                                        <p:attrNameLst>
                                          <p:attrName>style.visibility</p:attrName>
                                        </p:attrNameLst>
                                      </p:cBhvr>
                                      <p:to>
                                        <p:strVal val="visible"/>
                                      </p:to>
                                    </p:set>
                                    <p:animEffect transition="in" filter="wipe(left)">
                                      <p:cBhvr>
                                        <p:cTn id="14" dur="500"/>
                                        <p:tgtEl>
                                          <p:spTgt spid="65"/>
                                        </p:tgtEl>
                                      </p:cBhvr>
                                    </p:animEffect>
                                  </p:childTnLst>
                                </p:cTn>
                              </p:par>
                            </p:childTnLst>
                          </p:cTn>
                        </p:par>
                        <p:par>
                          <p:cTn id="15" fill="hold">
                            <p:stCondLst>
                              <p:cond delay="1500"/>
                            </p:stCondLst>
                            <p:childTnLst>
                              <p:par>
                                <p:cTn id="16" presetID="10" presetClass="entr" presetSubtype="0" fill="hold" nodeType="afterEffect">
                                  <p:stCondLst>
                                    <p:cond delay="75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500"/>
                                        <p:tgtEl>
                                          <p:spTgt spid="5"/>
                                        </p:tgtEl>
                                      </p:cBhvr>
                                    </p:animEffect>
                                  </p:childTnLst>
                                </p:cTn>
                              </p:par>
                              <p:par>
                                <p:cTn id="19" presetID="10" presetClass="entr" presetSubtype="0" fill="hold" grpId="0" nodeType="withEffect">
                                  <p:stCondLst>
                                    <p:cond delay="750"/>
                                  </p:stCondLst>
                                  <p:childTnLst>
                                    <p:set>
                                      <p:cBhvr>
                                        <p:cTn id="20" dur="1" fill="hold">
                                          <p:stCondLst>
                                            <p:cond delay="0"/>
                                          </p:stCondLst>
                                        </p:cTn>
                                        <p:tgtEl>
                                          <p:spTgt spid="101"/>
                                        </p:tgtEl>
                                        <p:attrNameLst>
                                          <p:attrName>style.visibility</p:attrName>
                                        </p:attrNameLst>
                                      </p:cBhvr>
                                      <p:to>
                                        <p:strVal val="visible"/>
                                      </p:to>
                                    </p:set>
                                    <p:animEffect transition="in" filter="fade">
                                      <p:cBhvr>
                                        <p:cTn id="21" dur="500"/>
                                        <p:tgtEl>
                                          <p:spTgt spid="101"/>
                                        </p:tgtEl>
                                      </p:cBhvr>
                                    </p:animEffect>
                                  </p:childTnLst>
                                </p:cTn>
                              </p:par>
                            </p:childTnLst>
                          </p:cTn>
                        </p:par>
                        <p:par>
                          <p:cTn id="22" fill="hold">
                            <p:stCondLst>
                              <p:cond delay="2750"/>
                            </p:stCondLst>
                            <p:childTnLst>
                              <p:par>
                                <p:cTn id="23" presetID="22" presetClass="entr" presetSubtype="8" fill="hold" nodeType="afterEffect">
                                  <p:stCondLst>
                                    <p:cond delay="0"/>
                                  </p:stCondLst>
                                  <p:childTnLst>
                                    <p:set>
                                      <p:cBhvr>
                                        <p:cTn id="24" dur="1" fill="hold">
                                          <p:stCondLst>
                                            <p:cond delay="0"/>
                                          </p:stCondLst>
                                        </p:cTn>
                                        <p:tgtEl>
                                          <p:spTgt spid="83"/>
                                        </p:tgtEl>
                                        <p:attrNameLst>
                                          <p:attrName>style.visibility</p:attrName>
                                        </p:attrNameLst>
                                      </p:cBhvr>
                                      <p:to>
                                        <p:strVal val="visible"/>
                                      </p:to>
                                    </p:set>
                                    <p:animEffect transition="in" filter="wipe(left)">
                                      <p:cBhvr>
                                        <p:cTn id="25" dur="750"/>
                                        <p:tgtEl>
                                          <p:spTgt spid="83"/>
                                        </p:tgtEl>
                                      </p:cBhvr>
                                    </p:animEffect>
                                  </p:childTnLst>
                                </p:cTn>
                              </p:par>
                            </p:childTnLst>
                          </p:cTn>
                        </p:par>
                        <p:par>
                          <p:cTn id="26" fill="hold">
                            <p:stCondLst>
                              <p:cond delay="3500"/>
                            </p:stCondLst>
                            <p:childTnLst>
                              <p:par>
                                <p:cTn id="27" presetID="10" presetClass="entr" presetSubtype="0" fill="hold" nodeType="afterEffect">
                                  <p:stCondLst>
                                    <p:cond delay="750"/>
                                  </p:stCondLst>
                                  <p:childTnLst>
                                    <p:set>
                                      <p:cBhvr>
                                        <p:cTn id="28" dur="1" fill="hold">
                                          <p:stCondLst>
                                            <p:cond delay="0"/>
                                          </p:stCondLst>
                                        </p:cTn>
                                        <p:tgtEl>
                                          <p:spTgt spid="98"/>
                                        </p:tgtEl>
                                        <p:attrNameLst>
                                          <p:attrName>style.visibility</p:attrName>
                                        </p:attrNameLst>
                                      </p:cBhvr>
                                      <p:to>
                                        <p:strVal val="visible"/>
                                      </p:to>
                                    </p:set>
                                    <p:animEffect transition="in" filter="fade">
                                      <p:cBhvr>
                                        <p:cTn id="29" dur="500"/>
                                        <p:tgtEl>
                                          <p:spTgt spid="98"/>
                                        </p:tgtEl>
                                      </p:cBhvr>
                                    </p:animEffect>
                                  </p:childTnLst>
                                </p:cTn>
                              </p:par>
                              <p:par>
                                <p:cTn id="30" presetID="10" presetClass="entr" presetSubtype="0" fill="hold" grpId="0" nodeType="withEffect">
                                  <p:stCondLst>
                                    <p:cond delay="750"/>
                                  </p:stCondLst>
                                  <p:childTnLst>
                                    <p:set>
                                      <p:cBhvr>
                                        <p:cTn id="31" dur="1" fill="hold">
                                          <p:stCondLst>
                                            <p:cond delay="0"/>
                                          </p:stCondLst>
                                        </p:cTn>
                                        <p:tgtEl>
                                          <p:spTgt spid="102"/>
                                        </p:tgtEl>
                                        <p:attrNameLst>
                                          <p:attrName>style.visibility</p:attrName>
                                        </p:attrNameLst>
                                      </p:cBhvr>
                                      <p:to>
                                        <p:strVal val="visible"/>
                                      </p:to>
                                    </p:set>
                                    <p:animEffect transition="in" filter="fade">
                                      <p:cBhvr>
                                        <p:cTn id="32" dur="500"/>
                                        <p:tgtEl>
                                          <p:spTgt spid="102"/>
                                        </p:tgtEl>
                                      </p:cBhvr>
                                    </p:animEffect>
                                  </p:childTnLst>
                                </p:cTn>
                              </p:par>
                            </p:childTnLst>
                          </p:cTn>
                        </p:par>
                        <p:par>
                          <p:cTn id="33" fill="hold">
                            <p:stCondLst>
                              <p:cond delay="4750"/>
                            </p:stCondLst>
                            <p:childTnLst>
                              <p:par>
                                <p:cTn id="34" presetID="22" presetClass="entr" presetSubtype="4" fill="hold" nodeType="afterEffect">
                                  <p:stCondLst>
                                    <p:cond delay="0"/>
                                  </p:stCondLst>
                                  <p:childTnLst>
                                    <p:set>
                                      <p:cBhvr>
                                        <p:cTn id="35" dur="1" fill="hold">
                                          <p:stCondLst>
                                            <p:cond delay="0"/>
                                          </p:stCondLst>
                                        </p:cTn>
                                        <p:tgtEl>
                                          <p:spTgt spid="103"/>
                                        </p:tgtEl>
                                        <p:attrNameLst>
                                          <p:attrName>style.visibility</p:attrName>
                                        </p:attrNameLst>
                                      </p:cBhvr>
                                      <p:to>
                                        <p:strVal val="visible"/>
                                      </p:to>
                                    </p:set>
                                    <p:animEffect transition="in" filter="wipe(down)">
                                      <p:cBhvr>
                                        <p:cTn id="36" dur="1000"/>
                                        <p:tgtEl>
                                          <p:spTgt spid="103"/>
                                        </p:tgtEl>
                                      </p:cBhvr>
                                    </p:animEffect>
                                  </p:childTnLst>
                                </p:cTn>
                              </p:par>
                              <p:par>
                                <p:cTn id="37" presetID="22" presetClass="entr" presetSubtype="4" fill="hold" grpId="0" nodeType="withEffect">
                                  <p:stCondLst>
                                    <p:cond delay="250"/>
                                  </p:stCondLst>
                                  <p:childTnLst>
                                    <p:set>
                                      <p:cBhvr>
                                        <p:cTn id="38" dur="1" fill="hold">
                                          <p:stCondLst>
                                            <p:cond delay="0"/>
                                          </p:stCondLst>
                                        </p:cTn>
                                        <p:tgtEl>
                                          <p:spTgt spid="6"/>
                                        </p:tgtEl>
                                        <p:attrNameLst>
                                          <p:attrName>style.visibility</p:attrName>
                                        </p:attrNameLst>
                                      </p:cBhvr>
                                      <p:to>
                                        <p:strVal val="visible"/>
                                      </p:to>
                                    </p:set>
                                    <p:animEffect transition="in" filter="wipe(down)">
                                      <p:cBhvr>
                                        <p:cTn id="39" dur="750"/>
                                        <p:tgtEl>
                                          <p:spTgt spid="6"/>
                                        </p:tgtEl>
                                      </p:cBhvr>
                                    </p:animEffect>
                                  </p:childTnLst>
                                </p:cTn>
                              </p:par>
                            </p:childTnLst>
                          </p:cTn>
                        </p:par>
                        <p:par>
                          <p:cTn id="40" fill="hold">
                            <p:stCondLst>
                              <p:cond delay="5750"/>
                            </p:stCondLst>
                            <p:childTnLst>
                              <p:par>
                                <p:cTn id="41" presetID="10" presetClass="entr" presetSubtype="0" fill="hold" nodeType="afterEffect">
                                  <p:stCondLst>
                                    <p:cond delay="0"/>
                                  </p:stCondLst>
                                  <p:childTnLst>
                                    <p:set>
                                      <p:cBhvr>
                                        <p:cTn id="42" dur="1" fill="hold">
                                          <p:stCondLst>
                                            <p:cond delay="0"/>
                                          </p:stCondLst>
                                        </p:cTn>
                                        <p:tgtEl>
                                          <p:spTgt spid="367"/>
                                        </p:tgtEl>
                                        <p:attrNameLst>
                                          <p:attrName>style.visibility</p:attrName>
                                        </p:attrNameLst>
                                      </p:cBhvr>
                                      <p:to>
                                        <p:strVal val="visible"/>
                                      </p:to>
                                    </p:set>
                                    <p:animEffect transition="in" filter="fade">
                                      <p:cBhvr>
                                        <p:cTn id="43" dur="1000"/>
                                        <p:tgtEl>
                                          <p:spTgt spid="367"/>
                                        </p:tgtEl>
                                      </p:cBhvr>
                                    </p:animEffect>
                                  </p:childTnLst>
                                </p:cTn>
                              </p:par>
                              <p:par>
                                <p:cTn id="44" presetID="10" presetClass="entr" presetSubtype="0" fill="hold" grpId="0" nodeType="withEffect">
                                  <p:stCondLst>
                                    <p:cond delay="500"/>
                                  </p:stCondLst>
                                  <p:childTnLst>
                                    <p:set>
                                      <p:cBhvr>
                                        <p:cTn id="45" dur="1" fill="hold">
                                          <p:stCondLst>
                                            <p:cond delay="0"/>
                                          </p:stCondLst>
                                        </p:cTn>
                                        <p:tgtEl>
                                          <p:spTgt spid="537"/>
                                        </p:tgtEl>
                                        <p:attrNameLst>
                                          <p:attrName>style.visibility</p:attrName>
                                        </p:attrNameLst>
                                      </p:cBhvr>
                                      <p:to>
                                        <p:strVal val="visible"/>
                                      </p:to>
                                    </p:set>
                                    <p:animEffect transition="in" filter="fade">
                                      <p:cBhvr>
                                        <p:cTn id="46" dur="500"/>
                                        <p:tgtEl>
                                          <p:spTgt spid="537"/>
                                        </p:tgtEl>
                                      </p:cBhvr>
                                    </p:animEffect>
                                  </p:childTnLst>
                                </p:cTn>
                              </p:par>
                            </p:childTnLst>
                          </p:cTn>
                        </p:par>
                        <p:par>
                          <p:cTn id="47" fill="hold">
                            <p:stCondLst>
                              <p:cond delay="6750"/>
                            </p:stCondLst>
                            <p:childTnLst>
                              <p:par>
                                <p:cTn id="48" presetID="10" presetClass="entr" presetSubtype="0" fill="hold" nodeType="afterEffect">
                                  <p:stCondLst>
                                    <p:cond delay="500"/>
                                  </p:stCondLst>
                                  <p:childTnLst>
                                    <p:set>
                                      <p:cBhvr>
                                        <p:cTn id="49" dur="1" fill="hold">
                                          <p:stCondLst>
                                            <p:cond delay="0"/>
                                          </p:stCondLst>
                                        </p:cTn>
                                        <p:tgtEl>
                                          <p:spTgt spid="376"/>
                                        </p:tgtEl>
                                        <p:attrNameLst>
                                          <p:attrName>style.visibility</p:attrName>
                                        </p:attrNameLst>
                                      </p:cBhvr>
                                      <p:to>
                                        <p:strVal val="visible"/>
                                      </p:to>
                                    </p:set>
                                    <p:animEffect transition="in" filter="fade">
                                      <p:cBhvr>
                                        <p:cTn id="50" dur="500"/>
                                        <p:tgtEl>
                                          <p:spTgt spid="376"/>
                                        </p:tgtEl>
                                      </p:cBhvr>
                                    </p:animEffect>
                                  </p:childTnLst>
                                </p:cTn>
                              </p:par>
                              <p:par>
                                <p:cTn id="51" presetID="10" presetClass="entr" presetSubtype="0" fill="hold" grpId="0" nodeType="withEffect">
                                  <p:stCondLst>
                                    <p:cond delay="500"/>
                                  </p:stCondLst>
                                  <p:childTnLst>
                                    <p:set>
                                      <p:cBhvr>
                                        <p:cTn id="52" dur="1" fill="hold">
                                          <p:stCondLst>
                                            <p:cond delay="0"/>
                                          </p:stCondLst>
                                        </p:cTn>
                                        <p:tgtEl>
                                          <p:spTgt spid="346"/>
                                        </p:tgtEl>
                                        <p:attrNameLst>
                                          <p:attrName>style.visibility</p:attrName>
                                        </p:attrNameLst>
                                      </p:cBhvr>
                                      <p:to>
                                        <p:strVal val="visible"/>
                                      </p:to>
                                    </p:set>
                                    <p:animEffect transition="in" filter="fade">
                                      <p:cBhvr>
                                        <p:cTn id="53" dur="500"/>
                                        <p:tgtEl>
                                          <p:spTgt spid="346"/>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xit" presetSubtype="0" fill="hold" nodeType="clickEffect">
                                  <p:stCondLst>
                                    <p:cond delay="0"/>
                                  </p:stCondLst>
                                  <p:childTnLst>
                                    <p:animEffect transition="out" filter="fade">
                                      <p:cBhvr>
                                        <p:cTn id="57" dur="500"/>
                                        <p:tgtEl>
                                          <p:spTgt spid="363"/>
                                        </p:tgtEl>
                                      </p:cBhvr>
                                    </p:animEffect>
                                    <p:set>
                                      <p:cBhvr>
                                        <p:cTn id="58" dur="1" fill="hold">
                                          <p:stCondLst>
                                            <p:cond delay="499"/>
                                          </p:stCondLst>
                                        </p:cTn>
                                        <p:tgtEl>
                                          <p:spTgt spid="363"/>
                                        </p:tgtEl>
                                        <p:attrNameLst>
                                          <p:attrName>style.visibility</p:attrName>
                                        </p:attrNameLst>
                                      </p:cBhvr>
                                      <p:to>
                                        <p:strVal val="hidden"/>
                                      </p:to>
                                    </p:set>
                                  </p:childTnLst>
                                </p:cTn>
                              </p:par>
                              <p:par>
                                <p:cTn id="59" presetID="10" presetClass="exit" presetSubtype="0" fill="hold" nodeType="withEffect">
                                  <p:stCondLst>
                                    <p:cond delay="0"/>
                                  </p:stCondLst>
                                  <p:childTnLst>
                                    <p:animEffect transition="out" filter="fade">
                                      <p:cBhvr>
                                        <p:cTn id="60" dur="500"/>
                                        <p:tgtEl>
                                          <p:spTgt spid="347"/>
                                        </p:tgtEl>
                                      </p:cBhvr>
                                    </p:animEffect>
                                    <p:set>
                                      <p:cBhvr>
                                        <p:cTn id="61" dur="1" fill="hold">
                                          <p:stCondLst>
                                            <p:cond delay="499"/>
                                          </p:stCondLst>
                                        </p:cTn>
                                        <p:tgtEl>
                                          <p:spTgt spid="347"/>
                                        </p:tgtEl>
                                        <p:attrNameLst>
                                          <p:attrName>style.visibility</p:attrName>
                                        </p:attrNameLst>
                                      </p:cBhvr>
                                      <p:to>
                                        <p:strVal val="hidden"/>
                                      </p:to>
                                    </p:set>
                                  </p:childTnLst>
                                </p:cTn>
                              </p:par>
                              <p:par>
                                <p:cTn id="62" presetID="10" presetClass="exit" presetSubtype="0" fill="hold" nodeType="withEffect">
                                  <p:stCondLst>
                                    <p:cond delay="0"/>
                                  </p:stCondLst>
                                  <p:childTnLst>
                                    <p:animEffect transition="out" filter="fade">
                                      <p:cBhvr>
                                        <p:cTn id="63" dur="500"/>
                                        <p:tgtEl>
                                          <p:spTgt spid="367"/>
                                        </p:tgtEl>
                                      </p:cBhvr>
                                    </p:animEffect>
                                    <p:set>
                                      <p:cBhvr>
                                        <p:cTn id="64" dur="1" fill="hold">
                                          <p:stCondLst>
                                            <p:cond delay="499"/>
                                          </p:stCondLst>
                                        </p:cTn>
                                        <p:tgtEl>
                                          <p:spTgt spid="367"/>
                                        </p:tgtEl>
                                        <p:attrNameLst>
                                          <p:attrName>style.visibility</p:attrName>
                                        </p:attrNameLst>
                                      </p:cBhvr>
                                      <p:to>
                                        <p:strVal val="hidden"/>
                                      </p:to>
                                    </p:set>
                                  </p:childTnLst>
                                </p:cTn>
                              </p:par>
                              <p:par>
                                <p:cTn id="65" presetID="10" presetClass="exit" presetSubtype="0" fill="hold" nodeType="withEffect">
                                  <p:stCondLst>
                                    <p:cond delay="0"/>
                                  </p:stCondLst>
                                  <p:childTnLst>
                                    <p:animEffect transition="out" filter="fade">
                                      <p:cBhvr>
                                        <p:cTn id="66" dur="500"/>
                                        <p:tgtEl>
                                          <p:spTgt spid="376"/>
                                        </p:tgtEl>
                                      </p:cBhvr>
                                    </p:animEffect>
                                    <p:set>
                                      <p:cBhvr>
                                        <p:cTn id="67" dur="1" fill="hold">
                                          <p:stCondLst>
                                            <p:cond delay="499"/>
                                          </p:stCondLst>
                                        </p:cTn>
                                        <p:tgtEl>
                                          <p:spTgt spid="376"/>
                                        </p:tgtEl>
                                        <p:attrNameLst>
                                          <p:attrName>style.visibility</p:attrName>
                                        </p:attrNameLst>
                                      </p:cBhvr>
                                      <p:to>
                                        <p:strVal val="hidden"/>
                                      </p:to>
                                    </p:set>
                                  </p:childTnLst>
                                </p:cTn>
                              </p:par>
                              <p:par>
                                <p:cTn id="68" presetID="10" presetClass="exit" presetSubtype="0" fill="hold" grpId="1" nodeType="withEffect">
                                  <p:stCondLst>
                                    <p:cond delay="0"/>
                                  </p:stCondLst>
                                  <p:childTnLst>
                                    <p:animEffect transition="out" filter="fade">
                                      <p:cBhvr>
                                        <p:cTn id="69" dur="500"/>
                                        <p:tgtEl>
                                          <p:spTgt spid="346"/>
                                        </p:tgtEl>
                                      </p:cBhvr>
                                    </p:animEffect>
                                    <p:set>
                                      <p:cBhvr>
                                        <p:cTn id="70" dur="1" fill="hold">
                                          <p:stCondLst>
                                            <p:cond delay="499"/>
                                          </p:stCondLst>
                                        </p:cTn>
                                        <p:tgtEl>
                                          <p:spTgt spid="346"/>
                                        </p:tgtEl>
                                        <p:attrNameLst>
                                          <p:attrName>style.visibility</p:attrName>
                                        </p:attrNameLst>
                                      </p:cBhvr>
                                      <p:to>
                                        <p:strVal val="hidden"/>
                                      </p:to>
                                    </p:set>
                                  </p:childTnLst>
                                </p:cTn>
                              </p:par>
                              <p:par>
                                <p:cTn id="71" presetID="10" presetClass="exit" presetSubtype="0" fill="hold" grpId="1" nodeType="withEffect">
                                  <p:stCondLst>
                                    <p:cond delay="0"/>
                                  </p:stCondLst>
                                  <p:childTnLst>
                                    <p:animEffect transition="out" filter="fade">
                                      <p:cBhvr>
                                        <p:cTn id="72" dur="500"/>
                                        <p:tgtEl>
                                          <p:spTgt spid="537"/>
                                        </p:tgtEl>
                                      </p:cBhvr>
                                    </p:animEffect>
                                    <p:set>
                                      <p:cBhvr>
                                        <p:cTn id="73" dur="1" fill="hold">
                                          <p:stCondLst>
                                            <p:cond delay="499"/>
                                          </p:stCondLst>
                                        </p:cTn>
                                        <p:tgtEl>
                                          <p:spTgt spid="537"/>
                                        </p:tgtEl>
                                        <p:attrNameLst>
                                          <p:attrName>style.visibility</p:attrName>
                                        </p:attrNameLst>
                                      </p:cBhvr>
                                      <p:to>
                                        <p:strVal val="hidden"/>
                                      </p:to>
                                    </p:set>
                                  </p:childTnLst>
                                </p:cTn>
                              </p:par>
                              <p:par>
                                <p:cTn id="74" presetID="10" presetClass="exit" presetSubtype="0" fill="hold" grpId="1" nodeType="withEffect">
                                  <p:stCondLst>
                                    <p:cond delay="0"/>
                                  </p:stCondLst>
                                  <p:childTnLst>
                                    <p:animEffect transition="out" filter="fade">
                                      <p:cBhvr>
                                        <p:cTn id="75" dur="500"/>
                                        <p:tgtEl>
                                          <p:spTgt spid="65"/>
                                        </p:tgtEl>
                                      </p:cBhvr>
                                    </p:animEffect>
                                    <p:set>
                                      <p:cBhvr>
                                        <p:cTn id="76" dur="1" fill="hold">
                                          <p:stCondLst>
                                            <p:cond delay="499"/>
                                          </p:stCondLst>
                                        </p:cTn>
                                        <p:tgtEl>
                                          <p:spTgt spid="65"/>
                                        </p:tgtEl>
                                        <p:attrNameLst>
                                          <p:attrName>style.visibility</p:attrName>
                                        </p:attrNameLst>
                                      </p:cBhvr>
                                      <p:to>
                                        <p:strVal val="hidden"/>
                                      </p:to>
                                    </p:set>
                                  </p:childTnLst>
                                </p:cTn>
                              </p:par>
                              <p:par>
                                <p:cTn id="77" presetID="10" presetClass="exit" presetSubtype="0" fill="hold" nodeType="withEffect">
                                  <p:stCondLst>
                                    <p:cond delay="0"/>
                                  </p:stCondLst>
                                  <p:childTnLst>
                                    <p:animEffect transition="out" filter="fade">
                                      <p:cBhvr>
                                        <p:cTn id="78" dur="500"/>
                                        <p:tgtEl>
                                          <p:spTgt spid="83"/>
                                        </p:tgtEl>
                                      </p:cBhvr>
                                    </p:animEffect>
                                    <p:set>
                                      <p:cBhvr>
                                        <p:cTn id="79" dur="1" fill="hold">
                                          <p:stCondLst>
                                            <p:cond delay="499"/>
                                          </p:stCondLst>
                                        </p:cTn>
                                        <p:tgtEl>
                                          <p:spTgt spid="83"/>
                                        </p:tgtEl>
                                        <p:attrNameLst>
                                          <p:attrName>style.visibility</p:attrName>
                                        </p:attrNameLst>
                                      </p:cBhvr>
                                      <p:to>
                                        <p:strVal val="hidden"/>
                                      </p:to>
                                    </p:set>
                                  </p:childTnLst>
                                </p:cTn>
                              </p:par>
                              <p:par>
                                <p:cTn id="80" presetID="10" presetClass="exit" presetSubtype="0" fill="hold" nodeType="withEffect">
                                  <p:stCondLst>
                                    <p:cond delay="0"/>
                                  </p:stCondLst>
                                  <p:childTnLst>
                                    <p:animEffect transition="out" filter="fade">
                                      <p:cBhvr>
                                        <p:cTn id="81" dur="500"/>
                                        <p:tgtEl>
                                          <p:spTgt spid="5"/>
                                        </p:tgtEl>
                                      </p:cBhvr>
                                    </p:animEffect>
                                    <p:set>
                                      <p:cBhvr>
                                        <p:cTn id="82" dur="1" fill="hold">
                                          <p:stCondLst>
                                            <p:cond delay="499"/>
                                          </p:stCondLst>
                                        </p:cTn>
                                        <p:tgtEl>
                                          <p:spTgt spid="5"/>
                                        </p:tgtEl>
                                        <p:attrNameLst>
                                          <p:attrName>style.visibility</p:attrName>
                                        </p:attrNameLst>
                                      </p:cBhvr>
                                      <p:to>
                                        <p:strVal val="hidden"/>
                                      </p:to>
                                    </p:set>
                                  </p:childTnLst>
                                </p:cTn>
                              </p:par>
                              <p:par>
                                <p:cTn id="83" presetID="10" presetClass="exit" presetSubtype="0" fill="hold" nodeType="withEffect">
                                  <p:stCondLst>
                                    <p:cond delay="0"/>
                                  </p:stCondLst>
                                  <p:childTnLst>
                                    <p:animEffect transition="out" filter="fade">
                                      <p:cBhvr>
                                        <p:cTn id="84" dur="500"/>
                                        <p:tgtEl>
                                          <p:spTgt spid="98"/>
                                        </p:tgtEl>
                                      </p:cBhvr>
                                    </p:animEffect>
                                    <p:set>
                                      <p:cBhvr>
                                        <p:cTn id="85" dur="1" fill="hold">
                                          <p:stCondLst>
                                            <p:cond delay="499"/>
                                          </p:stCondLst>
                                        </p:cTn>
                                        <p:tgtEl>
                                          <p:spTgt spid="98"/>
                                        </p:tgtEl>
                                        <p:attrNameLst>
                                          <p:attrName>style.visibility</p:attrName>
                                        </p:attrNameLst>
                                      </p:cBhvr>
                                      <p:to>
                                        <p:strVal val="hidden"/>
                                      </p:to>
                                    </p:set>
                                  </p:childTnLst>
                                </p:cTn>
                              </p:par>
                              <p:par>
                                <p:cTn id="86" presetID="10" presetClass="exit" presetSubtype="0" fill="hold" grpId="1" nodeType="withEffect">
                                  <p:stCondLst>
                                    <p:cond delay="0"/>
                                  </p:stCondLst>
                                  <p:childTnLst>
                                    <p:animEffect transition="out" filter="fade">
                                      <p:cBhvr>
                                        <p:cTn id="87" dur="500"/>
                                        <p:tgtEl>
                                          <p:spTgt spid="102"/>
                                        </p:tgtEl>
                                      </p:cBhvr>
                                    </p:animEffect>
                                    <p:set>
                                      <p:cBhvr>
                                        <p:cTn id="88" dur="1" fill="hold">
                                          <p:stCondLst>
                                            <p:cond delay="499"/>
                                          </p:stCondLst>
                                        </p:cTn>
                                        <p:tgtEl>
                                          <p:spTgt spid="102"/>
                                        </p:tgtEl>
                                        <p:attrNameLst>
                                          <p:attrName>style.visibility</p:attrName>
                                        </p:attrNameLst>
                                      </p:cBhvr>
                                      <p:to>
                                        <p:strVal val="hidden"/>
                                      </p:to>
                                    </p:set>
                                  </p:childTnLst>
                                </p:cTn>
                              </p:par>
                              <p:par>
                                <p:cTn id="89" presetID="10" presetClass="exit" presetSubtype="0" fill="hold" grpId="1" nodeType="withEffect">
                                  <p:stCondLst>
                                    <p:cond delay="0"/>
                                  </p:stCondLst>
                                  <p:childTnLst>
                                    <p:animEffect transition="out" filter="fade">
                                      <p:cBhvr>
                                        <p:cTn id="90" dur="500"/>
                                        <p:tgtEl>
                                          <p:spTgt spid="101"/>
                                        </p:tgtEl>
                                      </p:cBhvr>
                                    </p:animEffect>
                                    <p:set>
                                      <p:cBhvr>
                                        <p:cTn id="91" dur="1" fill="hold">
                                          <p:stCondLst>
                                            <p:cond delay="499"/>
                                          </p:stCondLst>
                                        </p:cTn>
                                        <p:tgtEl>
                                          <p:spTgt spid="101"/>
                                        </p:tgtEl>
                                        <p:attrNameLst>
                                          <p:attrName>style.visibility</p:attrName>
                                        </p:attrNameLst>
                                      </p:cBhvr>
                                      <p:to>
                                        <p:strVal val="hidden"/>
                                      </p:to>
                                    </p:set>
                                  </p:childTnLst>
                                </p:cTn>
                              </p:par>
                              <p:par>
                                <p:cTn id="92" presetID="10" presetClass="exit" presetSubtype="0" fill="hold" nodeType="withEffect">
                                  <p:stCondLst>
                                    <p:cond delay="0"/>
                                  </p:stCondLst>
                                  <p:childTnLst>
                                    <p:animEffect transition="out" filter="fade">
                                      <p:cBhvr>
                                        <p:cTn id="93" dur="500"/>
                                        <p:tgtEl>
                                          <p:spTgt spid="103"/>
                                        </p:tgtEl>
                                      </p:cBhvr>
                                    </p:animEffect>
                                    <p:set>
                                      <p:cBhvr>
                                        <p:cTn id="94" dur="1" fill="hold">
                                          <p:stCondLst>
                                            <p:cond delay="499"/>
                                          </p:stCondLst>
                                        </p:cTn>
                                        <p:tgtEl>
                                          <p:spTgt spid="103"/>
                                        </p:tgtEl>
                                        <p:attrNameLst>
                                          <p:attrName>style.visibility</p:attrName>
                                        </p:attrNameLst>
                                      </p:cBhvr>
                                      <p:to>
                                        <p:strVal val="hidden"/>
                                      </p:to>
                                    </p:set>
                                  </p:childTnLst>
                                </p:cTn>
                              </p:par>
                              <p:par>
                                <p:cTn id="95" presetID="10" presetClass="exit" presetSubtype="0" fill="hold" grpId="1" nodeType="withEffect">
                                  <p:stCondLst>
                                    <p:cond delay="0"/>
                                  </p:stCondLst>
                                  <p:childTnLst>
                                    <p:animEffect transition="out" filter="fade">
                                      <p:cBhvr>
                                        <p:cTn id="96" dur="500"/>
                                        <p:tgtEl>
                                          <p:spTgt spid="6"/>
                                        </p:tgtEl>
                                      </p:cBhvr>
                                    </p:animEffect>
                                    <p:set>
                                      <p:cBhvr>
                                        <p:cTn id="97" dur="1" fill="hold">
                                          <p:stCondLst>
                                            <p:cond delay="499"/>
                                          </p:stCondLst>
                                        </p:cTn>
                                        <p:tgtEl>
                                          <p:spTgt spid="6"/>
                                        </p:tgtEl>
                                        <p:attrNameLst>
                                          <p:attrName>style.visibility</p:attrName>
                                        </p:attrNameLst>
                                      </p:cBhvr>
                                      <p:to>
                                        <p:strVal val="hidden"/>
                                      </p:to>
                                    </p:set>
                                  </p:childTnLst>
                                </p:cTn>
                              </p:par>
                            </p:childTnLst>
                          </p:cTn>
                        </p:par>
                        <p:par>
                          <p:cTn id="98" fill="hold">
                            <p:stCondLst>
                              <p:cond delay="500"/>
                            </p:stCondLst>
                            <p:childTnLst>
                              <p:par>
                                <p:cTn id="99" presetID="10" presetClass="entr" presetSubtype="0" fill="hold" nodeType="afterEffect">
                                  <p:stCondLst>
                                    <p:cond delay="500"/>
                                  </p:stCondLst>
                                  <p:childTnLst>
                                    <p:set>
                                      <p:cBhvr>
                                        <p:cTn id="100" dur="1" fill="hold">
                                          <p:stCondLst>
                                            <p:cond delay="0"/>
                                          </p:stCondLst>
                                        </p:cTn>
                                        <p:tgtEl>
                                          <p:spTgt spid="363"/>
                                        </p:tgtEl>
                                        <p:attrNameLst>
                                          <p:attrName>style.visibility</p:attrName>
                                        </p:attrNameLst>
                                      </p:cBhvr>
                                      <p:to>
                                        <p:strVal val="visible"/>
                                      </p:to>
                                    </p:set>
                                    <p:animEffect transition="in" filter="fade">
                                      <p:cBhvr>
                                        <p:cTn id="101" dur="500"/>
                                        <p:tgtEl>
                                          <p:spTgt spid="363"/>
                                        </p:tgtEl>
                                      </p:cBhvr>
                                    </p:animEffect>
                                  </p:childTnLst>
                                </p:cTn>
                              </p:par>
                              <p:par>
                                <p:cTn id="102" presetID="10" presetClass="entr" presetSubtype="0" fill="hold" nodeType="withEffect">
                                  <p:stCondLst>
                                    <p:cond delay="1250"/>
                                  </p:stCondLst>
                                  <p:childTnLst>
                                    <p:set>
                                      <p:cBhvr>
                                        <p:cTn id="103" dur="1" fill="hold">
                                          <p:stCondLst>
                                            <p:cond delay="0"/>
                                          </p:stCondLst>
                                        </p:cTn>
                                        <p:tgtEl>
                                          <p:spTgt spid="347"/>
                                        </p:tgtEl>
                                        <p:attrNameLst>
                                          <p:attrName>style.visibility</p:attrName>
                                        </p:attrNameLst>
                                      </p:cBhvr>
                                      <p:to>
                                        <p:strVal val="visible"/>
                                      </p:to>
                                    </p:set>
                                    <p:animEffect transition="in" filter="fade">
                                      <p:cBhvr>
                                        <p:cTn id="104" dur="500"/>
                                        <p:tgtEl>
                                          <p:spTgt spid="347"/>
                                        </p:tgtEl>
                                      </p:cBhvr>
                                    </p:animEffect>
                                  </p:childTnLst>
                                </p:cTn>
                              </p:par>
                            </p:childTnLst>
                          </p:cTn>
                        </p:par>
                        <p:par>
                          <p:cTn id="105" fill="hold">
                            <p:stCondLst>
                              <p:cond delay="2250"/>
                            </p:stCondLst>
                            <p:childTnLst>
                              <p:par>
                                <p:cTn id="106" presetID="22" presetClass="entr" presetSubtype="8" fill="hold" grpId="2" nodeType="afterEffect">
                                  <p:stCondLst>
                                    <p:cond delay="500"/>
                                  </p:stCondLst>
                                  <p:childTnLst>
                                    <p:set>
                                      <p:cBhvr>
                                        <p:cTn id="107" dur="1" fill="hold">
                                          <p:stCondLst>
                                            <p:cond delay="0"/>
                                          </p:stCondLst>
                                        </p:cTn>
                                        <p:tgtEl>
                                          <p:spTgt spid="65"/>
                                        </p:tgtEl>
                                        <p:attrNameLst>
                                          <p:attrName>style.visibility</p:attrName>
                                        </p:attrNameLst>
                                      </p:cBhvr>
                                      <p:to>
                                        <p:strVal val="visible"/>
                                      </p:to>
                                    </p:set>
                                    <p:animEffect transition="in" filter="wipe(left)">
                                      <p:cBhvr>
                                        <p:cTn id="108" dur="500"/>
                                        <p:tgtEl>
                                          <p:spTgt spid="65"/>
                                        </p:tgtEl>
                                      </p:cBhvr>
                                    </p:animEffect>
                                  </p:childTnLst>
                                </p:cTn>
                              </p:par>
                              <p:par>
                                <p:cTn id="109" presetID="10" presetClass="entr" presetSubtype="0" fill="hold" nodeType="withEffect">
                                  <p:stCondLst>
                                    <p:cond delay="1750"/>
                                  </p:stCondLst>
                                  <p:childTnLst>
                                    <p:set>
                                      <p:cBhvr>
                                        <p:cTn id="110" dur="1" fill="hold">
                                          <p:stCondLst>
                                            <p:cond delay="0"/>
                                          </p:stCondLst>
                                        </p:cTn>
                                        <p:tgtEl>
                                          <p:spTgt spid="521"/>
                                        </p:tgtEl>
                                        <p:attrNameLst>
                                          <p:attrName>style.visibility</p:attrName>
                                        </p:attrNameLst>
                                      </p:cBhvr>
                                      <p:to>
                                        <p:strVal val="visible"/>
                                      </p:to>
                                    </p:set>
                                    <p:animEffect transition="in" filter="fade">
                                      <p:cBhvr>
                                        <p:cTn id="111" dur="500"/>
                                        <p:tgtEl>
                                          <p:spTgt spid="521"/>
                                        </p:tgtEl>
                                      </p:cBhvr>
                                    </p:animEffect>
                                  </p:childTnLst>
                                </p:cTn>
                              </p:par>
                              <p:par>
                                <p:cTn id="112" presetID="10" presetClass="entr" presetSubtype="0" fill="hold" nodeType="withEffect">
                                  <p:stCondLst>
                                    <p:cond delay="1750"/>
                                  </p:stCondLst>
                                  <p:childTnLst>
                                    <p:set>
                                      <p:cBhvr>
                                        <p:cTn id="113" dur="1" fill="hold">
                                          <p:stCondLst>
                                            <p:cond delay="0"/>
                                          </p:stCondLst>
                                        </p:cTn>
                                        <p:tgtEl>
                                          <p:spTgt spid="511"/>
                                        </p:tgtEl>
                                        <p:attrNameLst>
                                          <p:attrName>style.visibility</p:attrName>
                                        </p:attrNameLst>
                                      </p:cBhvr>
                                      <p:to>
                                        <p:strVal val="visible"/>
                                      </p:to>
                                    </p:set>
                                    <p:animEffect transition="in" filter="fade">
                                      <p:cBhvr>
                                        <p:cTn id="114" dur="500"/>
                                        <p:tgtEl>
                                          <p:spTgt spid="511"/>
                                        </p:tgtEl>
                                      </p:cBhvr>
                                    </p:animEffect>
                                  </p:childTnLst>
                                </p:cTn>
                              </p:par>
                            </p:childTnLst>
                          </p:cTn>
                        </p:par>
                        <p:par>
                          <p:cTn id="115" fill="hold">
                            <p:stCondLst>
                              <p:cond delay="4500"/>
                            </p:stCondLst>
                            <p:childTnLst>
                              <p:par>
                                <p:cTn id="116" presetID="22" presetClass="entr" presetSubtype="4" fill="hold" nodeType="afterEffect">
                                  <p:stCondLst>
                                    <p:cond delay="0"/>
                                  </p:stCondLst>
                                  <p:childTnLst>
                                    <p:set>
                                      <p:cBhvr>
                                        <p:cTn id="117" dur="1" fill="hold">
                                          <p:stCondLst>
                                            <p:cond delay="0"/>
                                          </p:stCondLst>
                                        </p:cTn>
                                        <p:tgtEl>
                                          <p:spTgt spid="10"/>
                                        </p:tgtEl>
                                        <p:attrNameLst>
                                          <p:attrName>style.visibility</p:attrName>
                                        </p:attrNameLst>
                                      </p:cBhvr>
                                      <p:to>
                                        <p:strVal val="visible"/>
                                      </p:to>
                                    </p:set>
                                    <p:animEffect transition="in" filter="wipe(down)">
                                      <p:cBhvr>
                                        <p:cTn id="118" dur="1000"/>
                                        <p:tgtEl>
                                          <p:spTgt spid="10"/>
                                        </p:tgtEl>
                                      </p:cBhvr>
                                    </p:animEffect>
                                  </p:childTnLst>
                                </p:cTn>
                              </p:par>
                            </p:childTnLst>
                          </p:cTn>
                        </p:par>
                        <p:par>
                          <p:cTn id="119" fill="hold">
                            <p:stCondLst>
                              <p:cond delay="5500"/>
                            </p:stCondLst>
                            <p:childTnLst>
                              <p:par>
                                <p:cTn id="120" presetID="10" presetClass="entr" presetSubtype="0" fill="hold" grpId="0" nodeType="afterEffect">
                                  <p:stCondLst>
                                    <p:cond delay="0"/>
                                  </p:stCondLst>
                                  <p:childTnLst>
                                    <p:set>
                                      <p:cBhvr>
                                        <p:cTn id="121" dur="1" fill="hold">
                                          <p:stCondLst>
                                            <p:cond delay="0"/>
                                          </p:stCondLst>
                                        </p:cTn>
                                        <p:tgtEl>
                                          <p:spTgt spid="520"/>
                                        </p:tgtEl>
                                        <p:attrNameLst>
                                          <p:attrName>style.visibility</p:attrName>
                                        </p:attrNameLst>
                                      </p:cBhvr>
                                      <p:to>
                                        <p:strVal val="visible"/>
                                      </p:to>
                                    </p:set>
                                    <p:animEffect transition="in" filter="fade">
                                      <p:cBhvr>
                                        <p:cTn id="122" dur="750"/>
                                        <p:tgtEl>
                                          <p:spTgt spid="520"/>
                                        </p:tgtEl>
                                      </p:cBhvr>
                                    </p:animEffect>
                                  </p:childTnLst>
                                </p:cTn>
                              </p:par>
                              <p:par>
                                <p:cTn id="123" presetID="10" presetClass="entr" presetSubtype="0" fill="hold" grpId="0" nodeType="withEffect">
                                  <p:stCondLst>
                                    <p:cond delay="750"/>
                                  </p:stCondLst>
                                  <p:childTnLst>
                                    <p:set>
                                      <p:cBhvr>
                                        <p:cTn id="124" dur="1" fill="hold">
                                          <p:stCondLst>
                                            <p:cond delay="0"/>
                                          </p:stCondLst>
                                        </p:cTn>
                                        <p:tgtEl>
                                          <p:spTgt spid="518"/>
                                        </p:tgtEl>
                                        <p:attrNameLst>
                                          <p:attrName>style.visibility</p:attrName>
                                        </p:attrNameLst>
                                      </p:cBhvr>
                                      <p:to>
                                        <p:strVal val="visible"/>
                                      </p:to>
                                    </p:set>
                                    <p:animEffect transition="in" filter="fade">
                                      <p:cBhvr>
                                        <p:cTn id="125" dur="500"/>
                                        <p:tgtEl>
                                          <p:spTgt spid="518"/>
                                        </p:tgtEl>
                                      </p:cBhvr>
                                    </p:animEffect>
                                  </p:childTnLst>
                                </p:cTn>
                              </p:par>
                              <p:par>
                                <p:cTn id="126" presetID="10" presetClass="entr" presetSubtype="0" fill="hold" grpId="0" nodeType="withEffect">
                                  <p:stCondLst>
                                    <p:cond delay="750"/>
                                  </p:stCondLst>
                                  <p:childTnLst>
                                    <p:set>
                                      <p:cBhvr>
                                        <p:cTn id="127" dur="1" fill="hold">
                                          <p:stCondLst>
                                            <p:cond delay="0"/>
                                          </p:stCondLst>
                                        </p:cTn>
                                        <p:tgtEl>
                                          <p:spTgt spid="519"/>
                                        </p:tgtEl>
                                        <p:attrNameLst>
                                          <p:attrName>style.visibility</p:attrName>
                                        </p:attrNameLst>
                                      </p:cBhvr>
                                      <p:to>
                                        <p:strVal val="visible"/>
                                      </p:to>
                                    </p:set>
                                    <p:animEffect transition="in" filter="fade">
                                      <p:cBhvr>
                                        <p:cTn id="128" dur="500"/>
                                        <p:tgtEl>
                                          <p:spTgt spid="519"/>
                                        </p:tgtEl>
                                      </p:cBhvr>
                                    </p:animEffect>
                                  </p:childTnLst>
                                </p:cTn>
                              </p:par>
                            </p:childTnLst>
                          </p:cTn>
                        </p:par>
                        <p:par>
                          <p:cTn id="129" fill="hold">
                            <p:stCondLst>
                              <p:cond delay="6750"/>
                            </p:stCondLst>
                            <p:childTnLst>
                              <p:par>
                                <p:cTn id="130" presetID="64" presetClass="path" presetSubtype="0" accel="50000" decel="50000" fill="hold" nodeType="afterEffect">
                                  <p:stCondLst>
                                    <p:cond delay="1000"/>
                                  </p:stCondLst>
                                  <p:childTnLst>
                                    <p:animMotion origin="layout" path="M -8.45034E-7 1.73854E-6 L -8.45034E-7 -0.1296 " pathEditMode="relative" rAng="0" ptsTypes="AA">
                                      <p:cBhvr>
                                        <p:cTn id="131" dur="2000" fill="hold"/>
                                        <p:tgtEl>
                                          <p:spTgt spid="511"/>
                                        </p:tgtEl>
                                        <p:attrNameLst>
                                          <p:attrName>ppt_x</p:attrName>
                                          <p:attrName>ppt_y</p:attrName>
                                        </p:attrNameLst>
                                      </p:cBhvr>
                                      <p:rCtr x="0" y="-6491"/>
                                    </p:animMotion>
                                  </p:childTnLst>
                                </p:cTn>
                              </p:par>
                              <p:par>
                                <p:cTn id="132" presetID="42" presetClass="path" presetSubtype="0" accel="50000" decel="50000" fill="hold" nodeType="withEffect">
                                  <p:stCondLst>
                                    <p:cond delay="1000"/>
                                  </p:stCondLst>
                                  <p:childTnLst>
                                    <p:animMotion origin="layout" path="M -8.45034E-7 3.5951E-6 L -8.45034E-7 0.12437 " pathEditMode="relative" rAng="0" ptsTypes="AA">
                                      <p:cBhvr>
                                        <p:cTn id="133" dur="2000" fill="hold"/>
                                        <p:tgtEl>
                                          <p:spTgt spid="521"/>
                                        </p:tgtEl>
                                        <p:attrNameLst>
                                          <p:attrName>ppt_x</p:attrName>
                                          <p:attrName>ppt_y</p:attrName>
                                        </p:attrNameLst>
                                      </p:cBhvr>
                                      <p:rCtr x="0" y="6219"/>
                                    </p:animMotion>
                                  </p:childTnLst>
                                </p:cTn>
                              </p:par>
                              <p:par>
                                <p:cTn id="134" presetID="10" presetClass="exit" presetSubtype="0" fill="hold" nodeType="withEffect">
                                  <p:stCondLst>
                                    <p:cond delay="1000"/>
                                  </p:stCondLst>
                                  <p:childTnLst>
                                    <p:animEffect transition="out" filter="fade">
                                      <p:cBhvr>
                                        <p:cTn id="135" dur="250"/>
                                        <p:tgtEl>
                                          <p:spTgt spid="10"/>
                                        </p:tgtEl>
                                      </p:cBhvr>
                                    </p:animEffect>
                                    <p:set>
                                      <p:cBhvr>
                                        <p:cTn id="136" dur="1" fill="hold">
                                          <p:stCondLst>
                                            <p:cond delay="249"/>
                                          </p:stCondLst>
                                        </p:cTn>
                                        <p:tgtEl>
                                          <p:spTgt spid="10"/>
                                        </p:tgtEl>
                                        <p:attrNameLst>
                                          <p:attrName>style.visibility</p:attrName>
                                        </p:attrNameLst>
                                      </p:cBhvr>
                                      <p:to>
                                        <p:strVal val="hidden"/>
                                      </p:to>
                                    </p:set>
                                  </p:childTnLst>
                                </p:cTn>
                              </p:par>
                              <p:par>
                                <p:cTn id="137" presetID="10" presetClass="exit" presetSubtype="0" fill="hold" grpId="1" nodeType="withEffect">
                                  <p:stCondLst>
                                    <p:cond delay="750"/>
                                  </p:stCondLst>
                                  <p:childTnLst>
                                    <p:animEffect transition="out" filter="fade">
                                      <p:cBhvr>
                                        <p:cTn id="138" dur="500"/>
                                        <p:tgtEl>
                                          <p:spTgt spid="520"/>
                                        </p:tgtEl>
                                      </p:cBhvr>
                                    </p:animEffect>
                                    <p:set>
                                      <p:cBhvr>
                                        <p:cTn id="139" dur="1" fill="hold">
                                          <p:stCondLst>
                                            <p:cond delay="499"/>
                                          </p:stCondLst>
                                        </p:cTn>
                                        <p:tgtEl>
                                          <p:spTgt spid="520"/>
                                        </p:tgtEl>
                                        <p:attrNameLst>
                                          <p:attrName>style.visibility</p:attrName>
                                        </p:attrNameLst>
                                      </p:cBhvr>
                                      <p:to>
                                        <p:strVal val="hidden"/>
                                      </p:to>
                                    </p:set>
                                  </p:childTnLst>
                                </p:cTn>
                              </p:par>
                            </p:childTnLst>
                          </p:cTn>
                        </p:par>
                        <p:par>
                          <p:cTn id="140" fill="hold">
                            <p:stCondLst>
                              <p:cond delay="9750"/>
                            </p:stCondLst>
                            <p:childTnLst>
                              <p:par>
                                <p:cTn id="141" presetID="1" presetClass="entr" presetSubtype="0" fill="hold" nodeType="afterEffect">
                                  <p:stCondLst>
                                    <p:cond delay="250"/>
                                  </p:stCondLst>
                                  <p:childTnLst>
                                    <p:set>
                                      <p:cBhvr>
                                        <p:cTn id="142" dur="1" fill="hold">
                                          <p:stCondLst>
                                            <p:cond delay="0"/>
                                          </p:stCondLst>
                                        </p:cTn>
                                        <p:tgtEl>
                                          <p:spTgt spid="532"/>
                                        </p:tgtEl>
                                        <p:attrNameLst>
                                          <p:attrName>style.visibility</p:attrName>
                                        </p:attrNameLst>
                                      </p:cBhvr>
                                      <p:to>
                                        <p:strVal val="visible"/>
                                      </p:to>
                                    </p:set>
                                  </p:childTnLst>
                                </p:cTn>
                              </p:par>
                              <p:par>
                                <p:cTn id="143" presetID="1" presetClass="entr" presetSubtype="0" fill="hold" grpId="0" nodeType="withEffect">
                                  <p:stCondLst>
                                    <p:cond delay="250"/>
                                  </p:stCondLst>
                                  <p:childTnLst>
                                    <p:set>
                                      <p:cBhvr>
                                        <p:cTn id="144" dur="1" fill="hold">
                                          <p:stCondLst>
                                            <p:cond delay="0"/>
                                          </p:stCondLst>
                                        </p:cTn>
                                        <p:tgtEl>
                                          <p:spTgt spid="6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animBg="1"/>
      <p:bldP spid="65" grpId="1" animBg="1"/>
      <p:bldP spid="65" grpId="2" animBg="1"/>
      <p:bldP spid="101" grpId="0"/>
      <p:bldP spid="101" grpId="1"/>
      <p:bldP spid="102" grpId="0"/>
      <p:bldP spid="102" grpId="1"/>
      <p:bldP spid="6" grpId="0"/>
      <p:bldP spid="6" grpId="1"/>
      <p:bldP spid="518" grpId="0"/>
      <p:bldP spid="519" grpId="0"/>
      <p:bldP spid="520" grpId="0" animBg="1"/>
      <p:bldP spid="520" grpId="1" animBg="1"/>
      <p:bldP spid="66" grpId="0"/>
      <p:bldP spid="346" grpId="0"/>
      <p:bldP spid="346" grpId="1"/>
      <p:bldP spid="537" grpId="0"/>
      <p:bldP spid="537" grpId="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Rectangle 50"/>
          <p:cNvSpPr/>
          <p:nvPr/>
        </p:nvSpPr>
        <p:spPr bwMode="auto">
          <a:xfrm>
            <a:off x="416142" y="1727659"/>
            <a:ext cx="11612880" cy="446592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182828" rIns="182828" bIns="45706" numCol="1" spcCol="0" rtlCol="0" fromWordArt="0" anchor="t" anchorCtr="0" forceAA="0" compatLnSpc="1">
            <a:prstTxWarp prst="textNoShape">
              <a:avLst/>
            </a:prstTxWarp>
            <a:noAutofit/>
          </a:bodyPr>
          <a:lstStyle/>
          <a:p>
            <a:pPr algn="r" defTabSz="931505">
              <a:lnSpc>
                <a:spcPct val="90000"/>
              </a:lnSpc>
              <a:spcAft>
                <a:spcPts val="600"/>
              </a:spcAft>
            </a:pPr>
            <a:endParaRPr lang="en-US" sz="1800" dirty="0">
              <a:solidFill>
                <a:srgbClr val="505050"/>
              </a:solidFill>
              <a:latin typeface="Segoe UI Semibold" panose="020B0702040204020203" pitchFamily="34" charset="0"/>
              <a:cs typeface="Segoe UI Semibold" panose="020B0702040204020203" pitchFamily="34" charset="0"/>
            </a:endParaRPr>
          </a:p>
        </p:txBody>
      </p:sp>
      <p:grpSp>
        <p:nvGrpSpPr>
          <p:cNvPr id="38" name="Group 37"/>
          <p:cNvGrpSpPr/>
          <p:nvPr/>
        </p:nvGrpSpPr>
        <p:grpSpPr>
          <a:xfrm>
            <a:off x="7833540" y="2591994"/>
            <a:ext cx="3511884" cy="3509996"/>
            <a:chOff x="7720783" y="2591865"/>
            <a:chExt cx="3512382" cy="3510494"/>
          </a:xfrm>
        </p:grpSpPr>
        <p:grpSp>
          <p:nvGrpSpPr>
            <p:cNvPr id="88" name="Group 87"/>
            <p:cNvGrpSpPr>
              <a:grpSpLocks noChangeAspect="1"/>
            </p:cNvGrpSpPr>
            <p:nvPr/>
          </p:nvGrpSpPr>
          <p:grpSpPr>
            <a:xfrm>
              <a:off x="7720783" y="2591865"/>
              <a:ext cx="822960" cy="1068695"/>
              <a:chOff x="9791917" y="3493013"/>
              <a:chExt cx="493807" cy="641258"/>
            </a:xfrm>
          </p:grpSpPr>
          <p:sp>
            <p:nvSpPr>
              <p:cNvPr id="89" name="Oval 122"/>
              <p:cNvSpPr>
                <a:spLocks noChangeArrowheads="1"/>
              </p:cNvSpPr>
              <p:nvPr/>
            </p:nvSpPr>
            <p:spPr bwMode="auto">
              <a:xfrm>
                <a:off x="9800365" y="3493013"/>
                <a:ext cx="476912" cy="90621"/>
              </a:xfrm>
              <a:prstGeom prst="ellipse">
                <a:avLst/>
              </a:pr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418" fontAlgn="auto">
                  <a:spcBef>
                    <a:spcPts val="0"/>
                  </a:spcBef>
                  <a:spcAft>
                    <a:spcPts val="0"/>
                  </a:spcAft>
                  <a:defRPr/>
                </a:pPr>
                <a:endParaRPr lang="en-US" sz="1800" kern="0">
                  <a:solidFill>
                    <a:srgbClr val="FFFFFF"/>
                  </a:solidFill>
                  <a:latin typeface="Segoe UI"/>
                  <a:cs typeface="+mn-cs"/>
                </a:endParaRPr>
              </a:p>
            </p:txBody>
          </p:sp>
          <p:sp>
            <p:nvSpPr>
              <p:cNvPr id="90" name="Freeform 123"/>
              <p:cNvSpPr>
                <a:spLocks noEditPoints="1"/>
              </p:cNvSpPr>
              <p:nvPr/>
            </p:nvSpPr>
            <p:spPr bwMode="auto">
              <a:xfrm>
                <a:off x="9791917" y="3555988"/>
                <a:ext cx="493807" cy="578283"/>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418" fontAlgn="auto">
                  <a:spcBef>
                    <a:spcPts val="0"/>
                  </a:spcBef>
                  <a:spcAft>
                    <a:spcPts val="0"/>
                  </a:spcAft>
                  <a:defRPr/>
                </a:pPr>
                <a:endParaRPr lang="en-US" sz="1800" kern="0">
                  <a:solidFill>
                    <a:srgbClr val="FFFFFF"/>
                  </a:solidFill>
                  <a:latin typeface="Segoe UI"/>
                  <a:cs typeface="+mn-cs"/>
                </a:endParaRPr>
              </a:p>
            </p:txBody>
          </p:sp>
        </p:grpSp>
        <p:grpSp>
          <p:nvGrpSpPr>
            <p:cNvPr id="137" name="Group 136"/>
            <p:cNvGrpSpPr/>
            <p:nvPr/>
          </p:nvGrpSpPr>
          <p:grpSpPr>
            <a:xfrm>
              <a:off x="7916538" y="4492661"/>
              <a:ext cx="3316627" cy="1609698"/>
              <a:chOff x="6364740" y="4685481"/>
              <a:chExt cx="3316627" cy="1609698"/>
            </a:xfrm>
          </p:grpSpPr>
          <p:sp>
            <p:nvSpPr>
              <p:cNvPr id="138" name="Rectangle 137"/>
              <p:cNvSpPr/>
              <p:nvPr/>
            </p:nvSpPr>
            <p:spPr bwMode="auto">
              <a:xfrm>
                <a:off x="6381948" y="4685481"/>
                <a:ext cx="2188984" cy="47682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8" rIns="0" bIns="47558" numCol="1" rtlCol="0" anchor="b" anchorCtr="0" compatLnSpc="1">
                <a:prstTxWarp prst="textNoShape">
                  <a:avLst/>
                </a:prstTxWarp>
              </a:bodyPr>
              <a:lstStyle/>
              <a:p>
                <a:pPr defTabSz="950846"/>
                <a:r>
                  <a:rPr lang="en-US" sz="1399" dirty="0" smtClean="0">
                    <a:solidFill>
                      <a:srgbClr val="FF8C00"/>
                    </a:solidFill>
                    <a:cs typeface="Segoe UI Light" panose="020B0502040204020203" pitchFamily="34" charset="0"/>
                  </a:rPr>
                  <a:t>dbo.Patients</a:t>
                </a:r>
                <a:endParaRPr lang="en-US" sz="1399" dirty="0">
                  <a:solidFill>
                    <a:srgbClr val="FF8C00"/>
                  </a:solidFill>
                  <a:cs typeface="Segoe UI Light" panose="020B0502040204020203" pitchFamily="34" charset="0"/>
                </a:endParaRPr>
              </a:p>
            </p:txBody>
          </p:sp>
          <p:sp>
            <p:nvSpPr>
              <p:cNvPr id="139" name="Rectangle 138"/>
              <p:cNvSpPr/>
              <p:nvPr/>
            </p:nvSpPr>
            <p:spPr bwMode="auto">
              <a:xfrm>
                <a:off x="6364740" y="5401023"/>
                <a:ext cx="1395172" cy="284657"/>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56" tIns="36571" rIns="0" bIns="146283" numCol="1" spcCol="0" rtlCol="0" fromWordArt="0" anchor="t" anchorCtr="0" forceAA="0" compatLnSpc="1">
                <a:prstTxWarp prst="textNoShape">
                  <a:avLst/>
                </a:prstTxWarp>
                <a:noAutofit/>
              </a:bodyPr>
              <a:lstStyle/>
              <a:p>
                <a:pPr defTabSz="932384" fontAlgn="auto">
                  <a:spcBef>
                    <a:spcPts val="0"/>
                  </a:spcBef>
                  <a:spcAft>
                    <a:spcPts val="0"/>
                  </a:spcAft>
                </a:pPr>
                <a:r>
                  <a:rPr lang="en-US" sz="1399" dirty="0">
                    <a:solidFill>
                      <a:srgbClr val="FFFFFF"/>
                    </a:solidFill>
                  </a:rPr>
                  <a:t>Jane Doe</a:t>
                </a:r>
              </a:p>
            </p:txBody>
          </p:sp>
          <p:sp>
            <p:nvSpPr>
              <p:cNvPr id="141" name="Rectangle 140"/>
              <p:cNvSpPr/>
              <p:nvPr/>
            </p:nvSpPr>
            <p:spPr bwMode="auto">
              <a:xfrm>
                <a:off x="6364740" y="5116366"/>
                <a:ext cx="1395172" cy="284657"/>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56" tIns="54856" rIns="0" bIns="146283" numCol="1" spcCol="0" rtlCol="0" fromWordArt="0" anchor="t" anchorCtr="0" forceAA="0" compatLnSpc="1">
                <a:prstTxWarp prst="textNoShape">
                  <a:avLst/>
                </a:prstTxWarp>
                <a:noAutofit/>
              </a:bodyPr>
              <a:lstStyle/>
              <a:p>
                <a:pPr defTabSz="932384" fontAlgn="auto">
                  <a:spcBef>
                    <a:spcPts val="0"/>
                  </a:spcBef>
                  <a:spcAft>
                    <a:spcPts val="0"/>
                  </a:spcAft>
                </a:pPr>
                <a:r>
                  <a:rPr lang="en-US" sz="1199" dirty="0">
                    <a:solidFill>
                      <a:srgbClr val="FFFFFF"/>
                    </a:solidFill>
                    <a:latin typeface="Segoe UI Semibold" panose="020B0702040204020203" pitchFamily="34" charset="0"/>
                    <a:cs typeface="Segoe UI Semibold" panose="020B0702040204020203" pitchFamily="34" charset="0"/>
                  </a:rPr>
                  <a:t>Name</a:t>
                </a:r>
              </a:p>
            </p:txBody>
          </p:sp>
          <p:sp>
            <p:nvSpPr>
              <p:cNvPr id="142" name="Rectangle 141"/>
              <p:cNvSpPr/>
              <p:nvPr/>
            </p:nvSpPr>
            <p:spPr bwMode="auto">
              <a:xfrm>
                <a:off x="7782150" y="5401023"/>
                <a:ext cx="1166510" cy="284657"/>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56" tIns="36571" rIns="0" bIns="146283" numCol="1" spcCol="0" rtlCol="0" fromWordArt="0" anchor="t" anchorCtr="0" forceAA="0" compatLnSpc="1">
                <a:prstTxWarp prst="textNoShape">
                  <a:avLst/>
                </a:prstTxWarp>
                <a:noAutofit/>
              </a:bodyPr>
              <a:lstStyle/>
              <a:p>
                <a:pPr defTabSz="932384" fontAlgn="auto">
                  <a:spcBef>
                    <a:spcPts val="0"/>
                  </a:spcBef>
                  <a:spcAft>
                    <a:spcPts val="0"/>
                  </a:spcAft>
                </a:pPr>
                <a:r>
                  <a:rPr lang="en-US" sz="1399" dirty="0">
                    <a:solidFill>
                      <a:srgbClr val="FFFFFF"/>
                    </a:solidFill>
                  </a:rPr>
                  <a:t>243-24-9812</a:t>
                </a:r>
              </a:p>
            </p:txBody>
          </p:sp>
          <p:sp>
            <p:nvSpPr>
              <p:cNvPr id="144" name="Rectangle 143"/>
              <p:cNvSpPr/>
              <p:nvPr/>
            </p:nvSpPr>
            <p:spPr bwMode="auto">
              <a:xfrm>
                <a:off x="7782150" y="5116366"/>
                <a:ext cx="1166510" cy="284657"/>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56" tIns="54856" rIns="0" bIns="146283" numCol="1" spcCol="0" rtlCol="0" fromWordArt="0" anchor="t" anchorCtr="0" forceAA="0" compatLnSpc="1">
                <a:prstTxWarp prst="textNoShape">
                  <a:avLst/>
                </a:prstTxWarp>
                <a:noAutofit/>
              </a:bodyPr>
              <a:lstStyle/>
              <a:p>
                <a:pPr defTabSz="932384" fontAlgn="auto">
                  <a:spcBef>
                    <a:spcPts val="0"/>
                  </a:spcBef>
                  <a:spcAft>
                    <a:spcPts val="0"/>
                  </a:spcAft>
                </a:pPr>
                <a:r>
                  <a:rPr lang="en-US" sz="1199" dirty="0">
                    <a:solidFill>
                      <a:srgbClr val="FFFFFF"/>
                    </a:solidFill>
                    <a:latin typeface="Segoe UI Semibold" panose="020B0702040204020203" pitchFamily="34" charset="0"/>
                    <a:cs typeface="Segoe UI Semibold" panose="020B0702040204020203" pitchFamily="34" charset="0"/>
                  </a:rPr>
                  <a:t>SSN</a:t>
                </a:r>
              </a:p>
            </p:txBody>
          </p:sp>
          <p:sp>
            <p:nvSpPr>
              <p:cNvPr id="145" name="Rectangle 144"/>
              <p:cNvSpPr/>
              <p:nvPr/>
            </p:nvSpPr>
            <p:spPr bwMode="auto">
              <a:xfrm>
                <a:off x="8962591" y="5401023"/>
                <a:ext cx="718776" cy="284657"/>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56" tIns="36571" rIns="0" bIns="146283" numCol="1" spcCol="0" rtlCol="0" fromWordArt="0" anchor="t" anchorCtr="0" forceAA="0" compatLnSpc="1">
                <a:prstTxWarp prst="textNoShape">
                  <a:avLst/>
                </a:prstTxWarp>
                <a:noAutofit/>
              </a:bodyPr>
              <a:lstStyle/>
              <a:p>
                <a:pPr defTabSz="932384" fontAlgn="auto">
                  <a:spcBef>
                    <a:spcPts val="0"/>
                  </a:spcBef>
                  <a:spcAft>
                    <a:spcPts val="0"/>
                  </a:spcAft>
                </a:pPr>
                <a:r>
                  <a:rPr lang="en-US" sz="1399" dirty="0">
                    <a:solidFill>
                      <a:srgbClr val="FFFFFF"/>
                    </a:solidFill>
                  </a:rPr>
                  <a:t>USA</a:t>
                </a:r>
              </a:p>
            </p:txBody>
          </p:sp>
          <p:sp>
            <p:nvSpPr>
              <p:cNvPr id="146" name="Rectangle 145"/>
              <p:cNvSpPr/>
              <p:nvPr/>
            </p:nvSpPr>
            <p:spPr bwMode="auto">
              <a:xfrm>
                <a:off x="8962591" y="5116366"/>
                <a:ext cx="718776" cy="284657"/>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56" tIns="54856" rIns="0" bIns="146283" numCol="1" spcCol="0" rtlCol="0" fromWordArt="0" anchor="t" anchorCtr="0" forceAA="0" compatLnSpc="1">
                <a:prstTxWarp prst="textNoShape">
                  <a:avLst/>
                </a:prstTxWarp>
                <a:noAutofit/>
              </a:bodyPr>
              <a:lstStyle/>
              <a:p>
                <a:pPr defTabSz="932384" fontAlgn="auto">
                  <a:spcBef>
                    <a:spcPts val="0"/>
                  </a:spcBef>
                  <a:spcAft>
                    <a:spcPts val="0"/>
                  </a:spcAft>
                </a:pPr>
                <a:r>
                  <a:rPr lang="en-US" sz="1199" dirty="0">
                    <a:solidFill>
                      <a:srgbClr val="FFFFFF"/>
                    </a:solidFill>
                    <a:latin typeface="Segoe UI Semibold" panose="020B0702040204020203" pitchFamily="34" charset="0"/>
                    <a:cs typeface="Segoe UI Semibold" panose="020B0702040204020203" pitchFamily="34" charset="0"/>
                  </a:rPr>
                  <a:t>Country</a:t>
                </a:r>
              </a:p>
            </p:txBody>
          </p:sp>
          <p:sp>
            <p:nvSpPr>
              <p:cNvPr id="161" name="Rectangle 160"/>
              <p:cNvSpPr/>
              <p:nvPr/>
            </p:nvSpPr>
            <p:spPr bwMode="auto">
              <a:xfrm>
                <a:off x="6364740" y="5711559"/>
                <a:ext cx="1395172" cy="284657"/>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56" tIns="36571" rIns="0" bIns="146283" numCol="1" spcCol="0" rtlCol="0" fromWordArt="0" anchor="t" anchorCtr="0" forceAA="0" compatLnSpc="1">
                <a:prstTxWarp prst="textNoShape">
                  <a:avLst/>
                </a:prstTxWarp>
                <a:noAutofit/>
              </a:bodyPr>
              <a:lstStyle/>
              <a:p>
                <a:pPr defTabSz="932384" fontAlgn="auto">
                  <a:spcBef>
                    <a:spcPts val="0"/>
                  </a:spcBef>
                  <a:spcAft>
                    <a:spcPts val="0"/>
                  </a:spcAft>
                </a:pPr>
                <a:r>
                  <a:rPr lang="en-US" sz="1399" dirty="0">
                    <a:solidFill>
                      <a:srgbClr val="FFFFFF"/>
                    </a:solidFill>
                  </a:rPr>
                  <a:t>Jim Gray</a:t>
                </a:r>
              </a:p>
            </p:txBody>
          </p:sp>
          <p:sp>
            <p:nvSpPr>
              <p:cNvPr id="162" name="Rectangle 161"/>
              <p:cNvSpPr/>
              <p:nvPr/>
            </p:nvSpPr>
            <p:spPr bwMode="auto">
              <a:xfrm>
                <a:off x="7782150" y="5711559"/>
                <a:ext cx="1166510" cy="284657"/>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56" tIns="36571" rIns="0" bIns="146283" numCol="1" spcCol="0" rtlCol="0" fromWordArt="0" anchor="t" anchorCtr="0" forceAA="0" compatLnSpc="1">
                <a:prstTxWarp prst="textNoShape">
                  <a:avLst/>
                </a:prstTxWarp>
                <a:noAutofit/>
              </a:bodyPr>
              <a:lstStyle/>
              <a:p>
                <a:pPr defTabSz="932384" fontAlgn="auto">
                  <a:spcBef>
                    <a:spcPts val="0"/>
                  </a:spcBef>
                  <a:spcAft>
                    <a:spcPts val="0"/>
                  </a:spcAft>
                </a:pPr>
                <a:r>
                  <a:rPr lang="en-US" sz="1399" dirty="0">
                    <a:solidFill>
                      <a:srgbClr val="FFFFFF"/>
                    </a:solidFill>
                  </a:rPr>
                  <a:t>198-33-0987</a:t>
                </a:r>
              </a:p>
            </p:txBody>
          </p:sp>
          <p:sp>
            <p:nvSpPr>
              <p:cNvPr id="163" name="Rectangle 162"/>
              <p:cNvSpPr/>
              <p:nvPr/>
            </p:nvSpPr>
            <p:spPr bwMode="auto">
              <a:xfrm>
                <a:off x="8962591" y="5711559"/>
                <a:ext cx="718776" cy="284657"/>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56" tIns="36571" rIns="0" bIns="146283" numCol="1" spcCol="0" rtlCol="0" fromWordArt="0" anchor="t" anchorCtr="0" forceAA="0" compatLnSpc="1">
                <a:prstTxWarp prst="textNoShape">
                  <a:avLst/>
                </a:prstTxWarp>
                <a:noAutofit/>
              </a:bodyPr>
              <a:lstStyle/>
              <a:p>
                <a:pPr defTabSz="932384" fontAlgn="auto">
                  <a:spcBef>
                    <a:spcPts val="0"/>
                  </a:spcBef>
                  <a:spcAft>
                    <a:spcPts val="0"/>
                  </a:spcAft>
                </a:pPr>
                <a:r>
                  <a:rPr lang="en-US" sz="1399" dirty="0">
                    <a:solidFill>
                      <a:srgbClr val="FFFFFF"/>
                    </a:solidFill>
                  </a:rPr>
                  <a:t>USA</a:t>
                </a:r>
              </a:p>
            </p:txBody>
          </p:sp>
          <p:sp>
            <p:nvSpPr>
              <p:cNvPr id="164" name="Rectangle 163"/>
              <p:cNvSpPr/>
              <p:nvPr/>
            </p:nvSpPr>
            <p:spPr bwMode="auto">
              <a:xfrm>
                <a:off x="6364740" y="6010522"/>
                <a:ext cx="1395172" cy="284657"/>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56" tIns="36571" rIns="0" bIns="146283" numCol="1" spcCol="0" rtlCol="0" fromWordArt="0" anchor="t" anchorCtr="0" forceAA="0" compatLnSpc="1">
                <a:prstTxWarp prst="textNoShape">
                  <a:avLst/>
                </a:prstTxWarp>
                <a:noAutofit/>
              </a:bodyPr>
              <a:lstStyle/>
              <a:p>
                <a:pPr defTabSz="932384" fontAlgn="auto">
                  <a:spcBef>
                    <a:spcPts val="0"/>
                  </a:spcBef>
                  <a:spcAft>
                    <a:spcPts val="0"/>
                  </a:spcAft>
                </a:pPr>
                <a:r>
                  <a:rPr lang="en-US" sz="1399" dirty="0">
                    <a:solidFill>
                      <a:srgbClr val="FFFFFF"/>
                    </a:solidFill>
                  </a:rPr>
                  <a:t>John Smith</a:t>
                </a:r>
              </a:p>
            </p:txBody>
          </p:sp>
          <p:sp>
            <p:nvSpPr>
              <p:cNvPr id="165" name="Rectangle 164"/>
              <p:cNvSpPr/>
              <p:nvPr/>
            </p:nvSpPr>
            <p:spPr bwMode="auto">
              <a:xfrm>
                <a:off x="7782150" y="6010522"/>
                <a:ext cx="1166510" cy="284657"/>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56" tIns="36571" rIns="0" bIns="146283" numCol="1" spcCol="0" rtlCol="0" fromWordArt="0" anchor="t" anchorCtr="0" forceAA="0" compatLnSpc="1">
                <a:prstTxWarp prst="textNoShape">
                  <a:avLst/>
                </a:prstTxWarp>
                <a:noAutofit/>
              </a:bodyPr>
              <a:lstStyle/>
              <a:p>
                <a:pPr defTabSz="932384" fontAlgn="auto">
                  <a:spcBef>
                    <a:spcPts val="0"/>
                  </a:spcBef>
                  <a:spcAft>
                    <a:spcPts val="0"/>
                  </a:spcAft>
                </a:pPr>
                <a:r>
                  <a:rPr lang="en-US" sz="1399" dirty="0">
                    <a:solidFill>
                      <a:srgbClr val="FFFFFF"/>
                    </a:solidFill>
                  </a:rPr>
                  <a:t>123-82-1095</a:t>
                </a:r>
              </a:p>
            </p:txBody>
          </p:sp>
          <p:sp>
            <p:nvSpPr>
              <p:cNvPr id="166" name="Rectangle 165"/>
              <p:cNvSpPr/>
              <p:nvPr/>
            </p:nvSpPr>
            <p:spPr bwMode="auto">
              <a:xfrm>
                <a:off x="8962591" y="6010522"/>
                <a:ext cx="718776" cy="284657"/>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56" tIns="36571" rIns="0" bIns="146283" numCol="1" spcCol="0" rtlCol="0" fromWordArt="0" anchor="t" anchorCtr="0" forceAA="0" compatLnSpc="1">
                <a:prstTxWarp prst="textNoShape">
                  <a:avLst/>
                </a:prstTxWarp>
                <a:noAutofit/>
              </a:bodyPr>
              <a:lstStyle/>
              <a:p>
                <a:pPr defTabSz="932384" fontAlgn="auto">
                  <a:spcBef>
                    <a:spcPts val="0"/>
                  </a:spcBef>
                  <a:spcAft>
                    <a:spcPts val="0"/>
                  </a:spcAft>
                </a:pPr>
                <a:r>
                  <a:rPr lang="en-US" sz="1399" dirty="0">
                    <a:solidFill>
                      <a:srgbClr val="FFFFFF"/>
                    </a:solidFill>
                  </a:rPr>
                  <a:t>USA</a:t>
                </a:r>
              </a:p>
            </p:txBody>
          </p:sp>
        </p:grpSp>
      </p:grpSp>
      <p:grpSp>
        <p:nvGrpSpPr>
          <p:cNvPr id="9" name="Group 8"/>
          <p:cNvGrpSpPr/>
          <p:nvPr/>
        </p:nvGrpSpPr>
        <p:grpSpPr>
          <a:xfrm>
            <a:off x="8025563" y="4492519"/>
            <a:ext cx="3316156" cy="1609470"/>
            <a:chOff x="5883395" y="4685481"/>
            <a:chExt cx="3316627" cy="1609698"/>
          </a:xfrm>
        </p:grpSpPr>
        <p:sp>
          <p:nvSpPr>
            <p:cNvPr id="150" name="Rectangle 149"/>
            <p:cNvSpPr/>
            <p:nvPr/>
          </p:nvSpPr>
          <p:spPr bwMode="auto">
            <a:xfrm>
              <a:off x="5900609" y="4685481"/>
              <a:ext cx="2188984" cy="47682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8" rIns="0" bIns="47558" numCol="1" rtlCol="0" anchor="b" anchorCtr="0" compatLnSpc="1">
              <a:prstTxWarp prst="textNoShape">
                <a:avLst/>
              </a:prstTxWarp>
            </a:bodyPr>
            <a:lstStyle/>
            <a:p>
              <a:pPr defTabSz="950846"/>
              <a:r>
                <a:rPr lang="en-US" sz="1399" dirty="0" smtClean="0">
                  <a:solidFill>
                    <a:srgbClr val="FF8C00"/>
                  </a:solidFill>
                  <a:cs typeface="Segoe UI Light" panose="020B0502040204020203" pitchFamily="34" charset="0"/>
                </a:rPr>
                <a:t>dbo.Patients</a:t>
              </a:r>
              <a:endParaRPr lang="en-US" sz="1399" dirty="0">
                <a:solidFill>
                  <a:srgbClr val="FF8C00"/>
                </a:solidFill>
                <a:cs typeface="Segoe UI Light" panose="020B0502040204020203" pitchFamily="34" charset="0"/>
              </a:endParaRPr>
            </a:p>
          </p:txBody>
        </p:sp>
        <p:sp>
          <p:nvSpPr>
            <p:cNvPr id="159" name="Rectangle 158"/>
            <p:cNvSpPr/>
            <p:nvPr/>
          </p:nvSpPr>
          <p:spPr bwMode="auto">
            <a:xfrm>
              <a:off x="5883395" y="5401023"/>
              <a:ext cx="1395172" cy="284657"/>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56" tIns="36571" rIns="0" bIns="146283" numCol="1" spcCol="0" rtlCol="0" fromWordArt="0" anchor="t" anchorCtr="0" forceAA="0" compatLnSpc="1">
              <a:prstTxWarp prst="textNoShape">
                <a:avLst/>
              </a:prstTxWarp>
              <a:noAutofit/>
            </a:bodyPr>
            <a:lstStyle/>
            <a:p>
              <a:pPr defTabSz="932384" fontAlgn="auto">
                <a:spcBef>
                  <a:spcPts val="0"/>
                </a:spcBef>
                <a:spcAft>
                  <a:spcPts val="0"/>
                </a:spcAft>
              </a:pPr>
              <a:r>
                <a:rPr lang="en-US" sz="1399" dirty="0">
                  <a:solidFill>
                    <a:srgbClr val="000000"/>
                  </a:solidFill>
                </a:rPr>
                <a:t>Jane Doe</a:t>
              </a:r>
            </a:p>
          </p:txBody>
        </p:sp>
        <p:sp>
          <p:nvSpPr>
            <p:cNvPr id="160" name="Rectangle 159"/>
            <p:cNvSpPr/>
            <p:nvPr/>
          </p:nvSpPr>
          <p:spPr bwMode="auto">
            <a:xfrm>
              <a:off x="5883395" y="5116366"/>
              <a:ext cx="1395172" cy="284657"/>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56" tIns="54856" rIns="0" bIns="146283" numCol="1" spcCol="0" rtlCol="0" fromWordArt="0" anchor="t" anchorCtr="0" forceAA="0" compatLnSpc="1">
              <a:prstTxWarp prst="textNoShape">
                <a:avLst/>
              </a:prstTxWarp>
              <a:noAutofit/>
            </a:bodyPr>
            <a:lstStyle/>
            <a:p>
              <a:pPr defTabSz="932384" fontAlgn="auto">
                <a:spcBef>
                  <a:spcPts val="0"/>
                </a:spcBef>
                <a:spcAft>
                  <a:spcPts val="0"/>
                </a:spcAft>
              </a:pPr>
              <a:r>
                <a:rPr lang="en-US" sz="1199" dirty="0">
                  <a:solidFill>
                    <a:srgbClr val="FFFFFF"/>
                  </a:solidFill>
                  <a:latin typeface="Segoe UI Semibold" panose="020B0702040204020203" pitchFamily="34" charset="0"/>
                  <a:cs typeface="Segoe UI Semibold" panose="020B0702040204020203" pitchFamily="34" charset="0"/>
                </a:rPr>
                <a:t>Name</a:t>
              </a:r>
            </a:p>
          </p:txBody>
        </p:sp>
        <p:sp>
          <p:nvSpPr>
            <p:cNvPr id="157" name="Rectangle 156"/>
            <p:cNvSpPr/>
            <p:nvPr/>
          </p:nvSpPr>
          <p:spPr bwMode="auto">
            <a:xfrm>
              <a:off x="7300805" y="5401023"/>
              <a:ext cx="1166510" cy="284657"/>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56" tIns="36571" rIns="0" bIns="146283" numCol="1" spcCol="0" rtlCol="0" fromWordArt="0" anchor="t" anchorCtr="0" forceAA="0" compatLnSpc="1">
              <a:prstTxWarp prst="textNoShape">
                <a:avLst/>
              </a:prstTxWarp>
              <a:noAutofit/>
            </a:bodyPr>
            <a:lstStyle/>
            <a:p>
              <a:pPr defTabSz="932384" fontAlgn="auto">
                <a:spcBef>
                  <a:spcPts val="0"/>
                </a:spcBef>
                <a:spcAft>
                  <a:spcPts val="0"/>
                </a:spcAft>
              </a:pPr>
              <a:r>
                <a:rPr lang="en-US" sz="1399" dirty="0">
                  <a:solidFill>
                    <a:srgbClr val="000000"/>
                  </a:solidFill>
                </a:rPr>
                <a:t>1x7fg655se2e</a:t>
              </a:r>
            </a:p>
          </p:txBody>
        </p:sp>
        <p:sp>
          <p:nvSpPr>
            <p:cNvPr id="158" name="Rectangle 157"/>
            <p:cNvSpPr/>
            <p:nvPr/>
          </p:nvSpPr>
          <p:spPr bwMode="auto">
            <a:xfrm>
              <a:off x="7300805" y="5116366"/>
              <a:ext cx="1166510" cy="284657"/>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56" tIns="54856" rIns="0" bIns="146283" numCol="1" spcCol="0" rtlCol="0" fromWordArt="0" anchor="t" anchorCtr="0" forceAA="0" compatLnSpc="1">
              <a:prstTxWarp prst="textNoShape">
                <a:avLst/>
              </a:prstTxWarp>
              <a:noAutofit/>
            </a:bodyPr>
            <a:lstStyle/>
            <a:p>
              <a:pPr defTabSz="932384" fontAlgn="auto">
                <a:spcBef>
                  <a:spcPts val="0"/>
                </a:spcBef>
                <a:spcAft>
                  <a:spcPts val="0"/>
                </a:spcAft>
              </a:pPr>
              <a:r>
                <a:rPr lang="en-US" sz="1199" dirty="0">
                  <a:solidFill>
                    <a:srgbClr val="FFFFFF"/>
                  </a:solidFill>
                  <a:latin typeface="Segoe UI Semibold" panose="020B0702040204020203" pitchFamily="34" charset="0"/>
                  <a:cs typeface="Segoe UI Semibold" panose="020B0702040204020203" pitchFamily="34" charset="0"/>
                </a:rPr>
                <a:t>SSN</a:t>
              </a:r>
            </a:p>
          </p:txBody>
        </p:sp>
        <p:sp>
          <p:nvSpPr>
            <p:cNvPr id="155" name="Rectangle 154"/>
            <p:cNvSpPr/>
            <p:nvPr/>
          </p:nvSpPr>
          <p:spPr bwMode="auto">
            <a:xfrm>
              <a:off x="8481246" y="5401023"/>
              <a:ext cx="718776" cy="284657"/>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56" tIns="36571" rIns="0" bIns="146283" numCol="1" spcCol="0" rtlCol="0" fromWordArt="0" anchor="t" anchorCtr="0" forceAA="0" compatLnSpc="1">
              <a:prstTxWarp prst="textNoShape">
                <a:avLst/>
              </a:prstTxWarp>
              <a:noAutofit/>
            </a:bodyPr>
            <a:lstStyle/>
            <a:p>
              <a:pPr defTabSz="932384" fontAlgn="auto">
                <a:spcBef>
                  <a:spcPts val="0"/>
                </a:spcBef>
                <a:spcAft>
                  <a:spcPts val="0"/>
                </a:spcAft>
              </a:pPr>
              <a:r>
                <a:rPr lang="en-US" sz="1399" dirty="0">
                  <a:solidFill>
                    <a:srgbClr val="000000"/>
                  </a:solidFill>
                </a:rPr>
                <a:t>USA</a:t>
              </a:r>
            </a:p>
          </p:txBody>
        </p:sp>
        <p:sp>
          <p:nvSpPr>
            <p:cNvPr id="131" name="Rectangle 130"/>
            <p:cNvSpPr/>
            <p:nvPr/>
          </p:nvSpPr>
          <p:spPr bwMode="auto">
            <a:xfrm>
              <a:off x="5883395" y="5711559"/>
              <a:ext cx="1395172" cy="284657"/>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56" tIns="36571" rIns="0" bIns="146283" numCol="1" spcCol="0" rtlCol="0" fromWordArt="0" anchor="t" anchorCtr="0" forceAA="0" compatLnSpc="1">
              <a:prstTxWarp prst="textNoShape">
                <a:avLst/>
              </a:prstTxWarp>
              <a:noAutofit/>
            </a:bodyPr>
            <a:lstStyle/>
            <a:p>
              <a:pPr defTabSz="932384" fontAlgn="auto">
                <a:spcBef>
                  <a:spcPts val="0"/>
                </a:spcBef>
                <a:spcAft>
                  <a:spcPts val="0"/>
                </a:spcAft>
              </a:pPr>
              <a:r>
                <a:rPr lang="en-US" sz="1399" dirty="0">
                  <a:solidFill>
                    <a:srgbClr val="000000"/>
                  </a:solidFill>
                </a:rPr>
                <a:t>Jim Gray</a:t>
              </a:r>
            </a:p>
          </p:txBody>
        </p:sp>
        <p:sp>
          <p:nvSpPr>
            <p:cNvPr id="132" name="Rectangle 131"/>
            <p:cNvSpPr/>
            <p:nvPr/>
          </p:nvSpPr>
          <p:spPr bwMode="auto">
            <a:xfrm>
              <a:off x="7300805" y="5711559"/>
              <a:ext cx="1166510" cy="284657"/>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56" tIns="36571" rIns="0" bIns="146283" numCol="1" spcCol="0" rtlCol="0" fromWordArt="0" anchor="t" anchorCtr="0" forceAA="0" compatLnSpc="1">
              <a:prstTxWarp prst="textNoShape">
                <a:avLst/>
              </a:prstTxWarp>
              <a:noAutofit/>
            </a:bodyPr>
            <a:lstStyle/>
            <a:p>
              <a:pPr defTabSz="932384" fontAlgn="auto">
                <a:spcBef>
                  <a:spcPts val="0"/>
                </a:spcBef>
                <a:spcAft>
                  <a:spcPts val="0"/>
                </a:spcAft>
              </a:pPr>
              <a:r>
                <a:rPr lang="en-US" sz="1399" dirty="0">
                  <a:solidFill>
                    <a:srgbClr val="000000"/>
                  </a:solidFill>
                </a:rPr>
                <a:t>0x7ff654ae6d</a:t>
              </a:r>
            </a:p>
          </p:txBody>
        </p:sp>
        <p:sp>
          <p:nvSpPr>
            <p:cNvPr id="133" name="Rectangle 132"/>
            <p:cNvSpPr/>
            <p:nvPr/>
          </p:nvSpPr>
          <p:spPr bwMode="auto">
            <a:xfrm>
              <a:off x="8481246" y="5711559"/>
              <a:ext cx="718776" cy="284657"/>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56" tIns="36571" rIns="0" bIns="146283" numCol="1" spcCol="0" rtlCol="0" fromWordArt="0" anchor="t" anchorCtr="0" forceAA="0" compatLnSpc="1">
              <a:prstTxWarp prst="textNoShape">
                <a:avLst/>
              </a:prstTxWarp>
              <a:noAutofit/>
            </a:bodyPr>
            <a:lstStyle/>
            <a:p>
              <a:pPr defTabSz="932384" fontAlgn="auto">
                <a:spcBef>
                  <a:spcPts val="0"/>
                </a:spcBef>
                <a:spcAft>
                  <a:spcPts val="0"/>
                </a:spcAft>
              </a:pPr>
              <a:r>
                <a:rPr lang="en-US" sz="1399" dirty="0">
                  <a:solidFill>
                    <a:srgbClr val="000000"/>
                  </a:solidFill>
                </a:rPr>
                <a:t>USA</a:t>
              </a:r>
            </a:p>
          </p:txBody>
        </p:sp>
        <p:sp>
          <p:nvSpPr>
            <p:cNvPr id="134" name="Rectangle 133"/>
            <p:cNvSpPr/>
            <p:nvPr/>
          </p:nvSpPr>
          <p:spPr bwMode="auto">
            <a:xfrm>
              <a:off x="5883395" y="6010522"/>
              <a:ext cx="1395172" cy="284657"/>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56" tIns="36571" rIns="0" bIns="146283" numCol="1" spcCol="0" rtlCol="0" fromWordArt="0" anchor="t" anchorCtr="0" forceAA="0" compatLnSpc="1">
              <a:prstTxWarp prst="textNoShape">
                <a:avLst/>
              </a:prstTxWarp>
              <a:noAutofit/>
            </a:bodyPr>
            <a:lstStyle/>
            <a:p>
              <a:pPr defTabSz="932384" fontAlgn="auto">
                <a:spcBef>
                  <a:spcPts val="0"/>
                </a:spcBef>
                <a:spcAft>
                  <a:spcPts val="0"/>
                </a:spcAft>
              </a:pPr>
              <a:r>
                <a:rPr lang="en-US" sz="1399" dirty="0">
                  <a:solidFill>
                    <a:srgbClr val="000000"/>
                  </a:solidFill>
                </a:rPr>
                <a:t>John Smith</a:t>
              </a:r>
            </a:p>
          </p:txBody>
        </p:sp>
        <p:sp>
          <p:nvSpPr>
            <p:cNvPr id="135" name="Rectangle 134"/>
            <p:cNvSpPr/>
            <p:nvPr/>
          </p:nvSpPr>
          <p:spPr bwMode="auto">
            <a:xfrm>
              <a:off x="7300805" y="6010522"/>
              <a:ext cx="1166510" cy="284657"/>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56" tIns="36571" rIns="0" bIns="146283" numCol="1" spcCol="0" rtlCol="0" fromWordArt="0" anchor="t" anchorCtr="0" forceAA="0" compatLnSpc="1">
              <a:prstTxWarp prst="textNoShape">
                <a:avLst/>
              </a:prstTxWarp>
              <a:noAutofit/>
            </a:bodyPr>
            <a:lstStyle/>
            <a:p>
              <a:pPr defTabSz="932384" fontAlgn="auto">
                <a:spcBef>
                  <a:spcPts val="0"/>
                </a:spcBef>
                <a:spcAft>
                  <a:spcPts val="0"/>
                </a:spcAft>
              </a:pPr>
              <a:r>
                <a:rPr lang="en-US" sz="1399" dirty="0">
                  <a:solidFill>
                    <a:srgbClr val="000000"/>
                  </a:solidFill>
                </a:rPr>
                <a:t>0y8fj754ea2c</a:t>
              </a:r>
            </a:p>
          </p:txBody>
        </p:sp>
        <p:sp>
          <p:nvSpPr>
            <p:cNvPr id="136" name="Rectangle 135"/>
            <p:cNvSpPr/>
            <p:nvPr/>
          </p:nvSpPr>
          <p:spPr bwMode="auto">
            <a:xfrm>
              <a:off x="8481246" y="6010522"/>
              <a:ext cx="718776" cy="284657"/>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56" tIns="36571" rIns="0" bIns="146283" numCol="1" spcCol="0" rtlCol="0" fromWordArt="0" anchor="t" anchorCtr="0" forceAA="0" compatLnSpc="1">
              <a:prstTxWarp prst="textNoShape">
                <a:avLst/>
              </a:prstTxWarp>
              <a:noAutofit/>
            </a:bodyPr>
            <a:lstStyle/>
            <a:p>
              <a:pPr defTabSz="932384" fontAlgn="auto">
                <a:spcBef>
                  <a:spcPts val="0"/>
                </a:spcBef>
                <a:spcAft>
                  <a:spcPts val="0"/>
                </a:spcAft>
              </a:pPr>
              <a:r>
                <a:rPr lang="en-US" sz="1399" dirty="0">
                  <a:solidFill>
                    <a:srgbClr val="000000"/>
                  </a:solidFill>
                </a:rPr>
                <a:t>USA</a:t>
              </a:r>
            </a:p>
          </p:txBody>
        </p:sp>
        <p:sp>
          <p:nvSpPr>
            <p:cNvPr id="156" name="Rectangle 155"/>
            <p:cNvSpPr/>
            <p:nvPr/>
          </p:nvSpPr>
          <p:spPr bwMode="auto">
            <a:xfrm>
              <a:off x="8481246" y="5116366"/>
              <a:ext cx="718776" cy="284657"/>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56" tIns="54856" rIns="0" bIns="146283" numCol="1" spcCol="0" rtlCol="0" fromWordArt="0" anchor="t" anchorCtr="0" forceAA="0" compatLnSpc="1">
              <a:prstTxWarp prst="textNoShape">
                <a:avLst/>
              </a:prstTxWarp>
              <a:noAutofit/>
            </a:bodyPr>
            <a:lstStyle/>
            <a:p>
              <a:pPr defTabSz="932384" fontAlgn="auto">
                <a:spcBef>
                  <a:spcPts val="0"/>
                </a:spcBef>
                <a:spcAft>
                  <a:spcPts val="0"/>
                </a:spcAft>
              </a:pPr>
              <a:r>
                <a:rPr lang="en-US" sz="1199" dirty="0">
                  <a:solidFill>
                    <a:srgbClr val="FFFFFF"/>
                  </a:solidFill>
                  <a:latin typeface="Segoe UI Semibold" panose="020B0702040204020203" pitchFamily="34" charset="0"/>
                  <a:cs typeface="Segoe UI Semibold" panose="020B0702040204020203" pitchFamily="34" charset="0"/>
                </a:rPr>
                <a:t>Country</a:t>
              </a:r>
            </a:p>
          </p:txBody>
        </p:sp>
      </p:grpSp>
      <p:grpSp>
        <p:nvGrpSpPr>
          <p:cNvPr id="46" name="Group 45"/>
          <p:cNvGrpSpPr/>
          <p:nvPr/>
        </p:nvGrpSpPr>
        <p:grpSpPr>
          <a:xfrm>
            <a:off x="7646718" y="2886452"/>
            <a:ext cx="3692682" cy="3217303"/>
            <a:chOff x="7537612" y="2886365"/>
            <a:chExt cx="3693202" cy="3217759"/>
          </a:xfrm>
        </p:grpSpPr>
        <p:grpSp>
          <p:nvGrpSpPr>
            <p:cNvPr id="44" name="Group 43"/>
            <p:cNvGrpSpPr/>
            <p:nvPr/>
          </p:nvGrpSpPr>
          <p:grpSpPr>
            <a:xfrm>
              <a:off x="7537612" y="2886365"/>
              <a:ext cx="1685938" cy="1782544"/>
              <a:chOff x="7537612" y="2886365"/>
              <a:chExt cx="1685938" cy="1782544"/>
            </a:xfrm>
          </p:grpSpPr>
          <p:sp>
            <p:nvSpPr>
              <p:cNvPr id="91" name="U-Turn Arrow 90"/>
              <p:cNvSpPr>
                <a:spLocks/>
              </p:cNvSpPr>
              <p:nvPr/>
            </p:nvSpPr>
            <p:spPr bwMode="auto">
              <a:xfrm rot="5400000">
                <a:off x="8250885" y="3252125"/>
                <a:ext cx="1188720" cy="457200"/>
              </a:xfrm>
              <a:prstGeom prst="uturnArrow">
                <a:avLst>
                  <a:gd name="adj1" fmla="val 19654"/>
                  <a:gd name="adj2" fmla="val 20379"/>
                  <a:gd name="adj3" fmla="val 16398"/>
                  <a:gd name="adj4" fmla="val 44310"/>
                  <a:gd name="adj5" fmla="val 100000"/>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342768" indent="-342768" algn="ctr" defTabSz="932114">
                  <a:lnSpc>
                    <a:spcPct val="90000"/>
                  </a:lnSpc>
                  <a:buFont typeface="Wingdings 3" panose="05040102010807070707" pitchFamily="18" charset="2"/>
                  <a:buChar char="Æ"/>
                </a:pPr>
                <a:endParaRPr lang="en-IN" sz="2000" b="1" dirty="0" err="1">
                  <a:solidFill>
                    <a:srgbClr val="FFFFFF"/>
                  </a:solidFill>
                  <a:latin typeface="Segoe UI Light"/>
                  <a:ea typeface="Segoe UI" pitchFamily="34" charset="0"/>
                  <a:cs typeface="Segoe UI" pitchFamily="34" charset="0"/>
                </a:endParaRPr>
              </a:p>
            </p:txBody>
          </p:sp>
          <p:sp>
            <p:nvSpPr>
              <p:cNvPr id="59" name="Rectangle 58"/>
              <p:cNvSpPr/>
              <p:nvPr/>
            </p:nvSpPr>
            <p:spPr bwMode="auto">
              <a:xfrm>
                <a:off x="7537612" y="3666350"/>
                <a:ext cx="1685938" cy="47682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8" rIns="0" bIns="47558" numCol="1" rtlCol="0" anchor="b" anchorCtr="0" compatLnSpc="1">
                <a:prstTxWarp prst="textNoShape">
                  <a:avLst/>
                </a:prstTxWarp>
              </a:bodyPr>
              <a:lstStyle/>
              <a:p>
                <a:pPr defTabSz="950846"/>
                <a:r>
                  <a:rPr lang="en-US" sz="1599" dirty="0">
                    <a:solidFill>
                      <a:srgbClr val="FF8C00"/>
                    </a:solidFill>
                    <a:cs typeface="Segoe UI Light" panose="020B0502040204020203" pitchFamily="34" charset="0"/>
                  </a:rPr>
                  <a:t>Result Set</a:t>
                </a:r>
              </a:p>
            </p:txBody>
          </p:sp>
          <p:grpSp>
            <p:nvGrpSpPr>
              <p:cNvPr id="15" name="Group 14"/>
              <p:cNvGrpSpPr/>
              <p:nvPr/>
            </p:nvGrpSpPr>
            <p:grpSpPr>
              <a:xfrm>
                <a:off x="7537613" y="4099587"/>
                <a:ext cx="1079031" cy="569322"/>
                <a:chOff x="9327920" y="4752525"/>
                <a:chExt cx="1108123" cy="569322"/>
              </a:xfrm>
            </p:grpSpPr>
            <p:sp>
              <p:nvSpPr>
                <p:cNvPr id="129" name="Rectangle 128"/>
                <p:cNvSpPr/>
                <p:nvPr/>
              </p:nvSpPr>
              <p:spPr bwMode="auto">
                <a:xfrm>
                  <a:off x="9327920" y="5037186"/>
                  <a:ext cx="1108123" cy="284661"/>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56" tIns="36571" rIns="0" bIns="146283" numCol="1" spcCol="0" rtlCol="0" fromWordArt="0" anchor="t" anchorCtr="0" forceAA="0" compatLnSpc="1">
                  <a:prstTxWarp prst="textNoShape">
                    <a:avLst/>
                  </a:prstTxWarp>
                  <a:noAutofit/>
                </a:bodyPr>
                <a:lstStyle/>
                <a:p>
                  <a:pPr defTabSz="932384" fontAlgn="auto">
                    <a:spcBef>
                      <a:spcPts val="0"/>
                    </a:spcBef>
                    <a:spcAft>
                      <a:spcPts val="0"/>
                    </a:spcAft>
                  </a:pPr>
                  <a:r>
                    <a:rPr lang="en-US" sz="1399" dirty="0" smtClean="0">
                      <a:solidFill>
                        <a:srgbClr val="000000"/>
                      </a:solidFill>
                    </a:rPr>
                    <a:t>Jim Gray</a:t>
                  </a:r>
                  <a:endParaRPr lang="en-US" sz="1399" dirty="0">
                    <a:solidFill>
                      <a:srgbClr val="000000"/>
                    </a:solidFill>
                  </a:endParaRPr>
                </a:p>
              </p:txBody>
            </p:sp>
            <p:sp>
              <p:nvSpPr>
                <p:cNvPr id="130" name="Rectangle 129"/>
                <p:cNvSpPr/>
                <p:nvPr/>
              </p:nvSpPr>
              <p:spPr bwMode="auto">
                <a:xfrm>
                  <a:off x="9327920" y="4752525"/>
                  <a:ext cx="1108123" cy="280540"/>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56" tIns="54856" rIns="0" bIns="146283" numCol="1" spcCol="0" rtlCol="0" fromWordArt="0" anchor="t" anchorCtr="0" forceAA="0" compatLnSpc="1">
                  <a:prstTxWarp prst="textNoShape">
                    <a:avLst/>
                  </a:prstTxWarp>
                  <a:noAutofit/>
                </a:bodyPr>
                <a:lstStyle/>
                <a:p>
                  <a:pPr defTabSz="932384" fontAlgn="auto">
                    <a:spcBef>
                      <a:spcPts val="0"/>
                    </a:spcBef>
                    <a:spcAft>
                      <a:spcPts val="0"/>
                    </a:spcAft>
                  </a:pPr>
                  <a:r>
                    <a:rPr lang="en-US" sz="1199" dirty="0">
                      <a:solidFill>
                        <a:srgbClr val="FFFFFF"/>
                      </a:solidFill>
                      <a:latin typeface="Segoe UI Semibold" panose="020B0702040204020203" pitchFamily="34" charset="0"/>
                      <a:cs typeface="Segoe UI Semibold" panose="020B0702040204020203" pitchFamily="34" charset="0"/>
                    </a:rPr>
                    <a:t>Name</a:t>
                  </a:r>
                </a:p>
              </p:txBody>
            </p:sp>
          </p:grpSp>
        </p:grpSp>
        <p:grpSp>
          <p:nvGrpSpPr>
            <p:cNvPr id="179" name="Group 178"/>
            <p:cNvGrpSpPr/>
            <p:nvPr/>
          </p:nvGrpSpPr>
          <p:grpSpPr>
            <a:xfrm>
              <a:off x="7914187" y="4494426"/>
              <a:ext cx="3316627" cy="1609698"/>
              <a:chOff x="6364740" y="4685481"/>
              <a:chExt cx="3316627" cy="1609698"/>
            </a:xfrm>
          </p:grpSpPr>
          <p:sp>
            <p:nvSpPr>
              <p:cNvPr id="182" name="Rectangle 181"/>
              <p:cNvSpPr/>
              <p:nvPr/>
            </p:nvSpPr>
            <p:spPr bwMode="auto">
              <a:xfrm>
                <a:off x="6364740" y="5401023"/>
                <a:ext cx="1395172" cy="284657"/>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56" tIns="36571" rIns="0" bIns="146283" numCol="1" spcCol="0" rtlCol="0" fromWordArt="0" anchor="t" anchorCtr="0" forceAA="0" compatLnSpc="1">
                <a:prstTxWarp prst="textNoShape">
                  <a:avLst/>
                </a:prstTxWarp>
                <a:noAutofit/>
              </a:bodyPr>
              <a:lstStyle/>
              <a:p>
                <a:pPr defTabSz="932384" fontAlgn="auto">
                  <a:spcBef>
                    <a:spcPts val="0"/>
                  </a:spcBef>
                  <a:spcAft>
                    <a:spcPts val="0"/>
                  </a:spcAft>
                </a:pPr>
                <a:r>
                  <a:rPr lang="en-US" sz="1399" dirty="0">
                    <a:solidFill>
                      <a:srgbClr val="000000"/>
                    </a:solidFill>
                  </a:rPr>
                  <a:t>Jane Doe</a:t>
                </a:r>
              </a:p>
            </p:txBody>
          </p:sp>
          <p:sp>
            <p:nvSpPr>
              <p:cNvPr id="183" name="Rectangle 182"/>
              <p:cNvSpPr/>
              <p:nvPr/>
            </p:nvSpPr>
            <p:spPr bwMode="auto">
              <a:xfrm>
                <a:off x="6364740" y="5116366"/>
                <a:ext cx="1395172" cy="284657"/>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56" tIns="54856" rIns="0" bIns="146283" numCol="1" spcCol="0" rtlCol="0" fromWordArt="0" anchor="t" anchorCtr="0" forceAA="0" compatLnSpc="1">
                <a:prstTxWarp prst="textNoShape">
                  <a:avLst/>
                </a:prstTxWarp>
                <a:noAutofit/>
              </a:bodyPr>
              <a:lstStyle/>
              <a:p>
                <a:pPr defTabSz="932384" fontAlgn="auto">
                  <a:spcBef>
                    <a:spcPts val="0"/>
                  </a:spcBef>
                  <a:spcAft>
                    <a:spcPts val="0"/>
                  </a:spcAft>
                </a:pPr>
                <a:r>
                  <a:rPr lang="en-US" sz="1199" dirty="0">
                    <a:solidFill>
                      <a:srgbClr val="FFFFFF"/>
                    </a:solidFill>
                    <a:latin typeface="Segoe UI Semibold" panose="020B0702040204020203" pitchFamily="34" charset="0"/>
                    <a:cs typeface="Segoe UI Semibold" panose="020B0702040204020203" pitchFamily="34" charset="0"/>
                  </a:rPr>
                  <a:t>Name</a:t>
                </a:r>
              </a:p>
            </p:txBody>
          </p:sp>
          <p:sp>
            <p:nvSpPr>
              <p:cNvPr id="184" name="Rectangle 183"/>
              <p:cNvSpPr/>
              <p:nvPr/>
            </p:nvSpPr>
            <p:spPr bwMode="auto">
              <a:xfrm>
                <a:off x="7782150" y="5401023"/>
                <a:ext cx="1166510" cy="284657"/>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56" tIns="36571" rIns="0" bIns="146283" numCol="1" spcCol="0" rtlCol="0" fromWordArt="0" anchor="t" anchorCtr="0" forceAA="0" compatLnSpc="1">
                <a:prstTxWarp prst="textNoShape">
                  <a:avLst/>
                </a:prstTxWarp>
                <a:noAutofit/>
              </a:bodyPr>
              <a:lstStyle/>
              <a:p>
                <a:pPr defTabSz="932384" fontAlgn="auto">
                  <a:spcBef>
                    <a:spcPts val="0"/>
                  </a:spcBef>
                  <a:spcAft>
                    <a:spcPts val="0"/>
                  </a:spcAft>
                </a:pPr>
                <a:r>
                  <a:rPr lang="en-US" sz="1399" dirty="0">
                    <a:solidFill>
                      <a:srgbClr val="000000"/>
                    </a:solidFill>
                  </a:rPr>
                  <a:t>1x7fg655se2e</a:t>
                </a:r>
              </a:p>
            </p:txBody>
          </p:sp>
          <p:sp>
            <p:nvSpPr>
              <p:cNvPr id="185" name="Rectangle 184"/>
              <p:cNvSpPr/>
              <p:nvPr/>
            </p:nvSpPr>
            <p:spPr bwMode="auto">
              <a:xfrm>
                <a:off x="7782150" y="5116366"/>
                <a:ext cx="1166510" cy="284657"/>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56" tIns="54856" rIns="0" bIns="146283" numCol="1" spcCol="0" rtlCol="0" fromWordArt="0" anchor="t" anchorCtr="0" forceAA="0" compatLnSpc="1">
                <a:prstTxWarp prst="textNoShape">
                  <a:avLst/>
                </a:prstTxWarp>
                <a:noAutofit/>
              </a:bodyPr>
              <a:lstStyle/>
              <a:p>
                <a:pPr defTabSz="932384" fontAlgn="auto">
                  <a:spcBef>
                    <a:spcPts val="0"/>
                  </a:spcBef>
                  <a:spcAft>
                    <a:spcPts val="0"/>
                  </a:spcAft>
                </a:pPr>
                <a:r>
                  <a:rPr lang="en-US" sz="1199" dirty="0">
                    <a:solidFill>
                      <a:srgbClr val="FFFFFF"/>
                    </a:solidFill>
                    <a:latin typeface="Segoe UI Semibold" panose="020B0702040204020203" pitchFamily="34" charset="0"/>
                    <a:cs typeface="Segoe UI Semibold" panose="020B0702040204020203" pitchFamily="34" charset="0"/>
                  </a:rPr>
                  <a:t>SSN</a:t>
                </a:r>
              </a:p>
            </p:txBody>
          </p:sp>
          <p:sp>
            <p:nvSpPr>
              <p:cNvPr id="186" name="Rectangle 185"/>
              <p:cNvSpPr/>
              <p:nvPr/>
            </p:nvSpPr>
            <p:spPr bwMode="auto">
              <a:xfrm>
                <a:off x="8962591" y="5401023"/>
                <a:ext cx="718776" cy="284657"/>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56" tIns="36571" rIns="0" bIns="146283" numCol="1" spcCol="0" rtlCol="0" fromWordArt="0" anchor="t" anchorCtr="0" forceAA="0" compatLnSpc="1">
                <a:prstTxWarp prst="textNoShape">
                  <a:avLst/>
                </a:prstTxWarp>
                <a:noAutofit/>
              </a:bodyPr>
              <a:lstStyle/>
              <a:p>
                <a:pPr defTabSz="932384" fontAlgn="auto">
                  <a:spcBef>
                    <a:spcPts val="0"/>
                  </a:spcBef>
                  <a:spcAft>
                    <a:spcPts val="0"/>
                  </a:spcAft>
                </a:pPr>
                <a:r>
                  <a:rPr lang="en-US" sz="1399" dirty="0">
                    <a:solidFill>
                      <a:srgbClr val="000000"/>
                    </a:solidFill>
                  </a:rPr>
                  <a:t>USA</a:t>
                </a:r>
              </a:p>
            </p:txBody>
          </p:sp>
          <p:sp>
            <p:nvSpPr>
              <p:cNvPr id="187" name="Rectangle 186"/>
              <p:cNvSpPr/>
              <p:nvPr/>
            </p:nvSpPr>
            <p:spPr bwMode="auto">
              <a:xfrm>
                <a:off x="8962591" y="5116366"/>
                <a:ext cx="718776" cy="284657"/>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56" tIns="54856" rIns="0" bIns="146283" numCol="1" spcCol="0" rtlCol="0" fromWordArt="0" anchor="t" anchorCtr="0" forceAA="0" compatLnSpc="1">
                <a:prstTxWarp prst="textNoShape">
                  <a:avLst/>
                </a:prstTxWarp>
                <a:noAutofit/>
              </a:bodyPr>
              <a:lstStyle/>
              <a:p>
                <a:pPr defTabSz="932384" fontAlgn="auto">
                  <a:spcBef>
                    <a:spcPts val="0"/>
                  </a:spcBef>
                  <a:spcAft>
                    <a:spcPts val="0"/>
                  </a:spcAft>
                </a:pPr>
                <a:r>
                  <a:rPr lang="en-US" sz="1199" dirty="0">
                    <a:solidFill>
                      <a:srgbClr val="FFFFFF"/>
                    </a:solidFill>
                    <a:latin typeface="Segoe UI Semibold" panose="020B0702040204020203" pitchFamily="34" charset="0"/>
                    <a:cs typeface="Segoe UI Semibold" panose="020B0702040204020203" pitchFamily="34" charset="0"/>
                  </a:rPr>
                  <a:t>Country</a:t>
                </a:r>
              </a:p>
            </p:txBody>
          </p:sp>
          <p:sp>
            <p:nvSpPr>
              <p:cNvPr id="188" name="Rectangle 187"/>
              <p:cNvSpPr/>
              <p:nvPr/>
            </p:nvSpPr>
            <p:spPr bwMode="auto">
              <a:xfrm>
                <a:off x="6364740" y="5711559"/>
                <a:ext cx="1395172" cy="284657"/>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56" tIns="36571" rIns="0" bIns="146283" numCol="1" spcCol="0" rtlCol="0" fromWordArt="0" anchor="t" anchorCtr="0" forceAA="0" compatLnSpc="1">
                <a:prstTxWarp prst="textNoShape">
                  <a:avLst/>
                </a:prstTxWarp>
                <a:noAutofit/>
              </a:bodyPr>
              <a:lstStyle/>
              <a:p>
                <a:pPr defTabSz="932384" fontAlgn="auto">
                  <a:spcBef>
                    <a:spcPts val="0"/>
                  </a:spcBef>
                  <a:spcAft>
                    <a:spcPts val="0"/>
                  </a:spcAft>
                </a:pPr>
                <a:r>
                  <a:rPr lang="en-US" sz="1399" dirty="0">
                    <a:solidFill>
                      <a:srgbClr val="000000"/>
                    </a:solidFill>
                  </a:rPr>
                  <a:t>Jim Gray</a:t>
                </a:r>
              </a:p>
            </p:txBody>
          </p:sp>
          <p:sp>
            <p:nvSpPr>
              <p:cNvPr id="189" name="Rectangle 188"/>
              <p:cNvSpPr/>
              <p:nvPr/>
            </p:nvSpPr>
            <p:spPr bwMode="auto">
              <a:xfrm>
                <a:off x="7782150" y="5711559"/>
                <a:ext cx="1166510" cy="284657"/>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56" tIns="36571" rIns="0" bIns="146283" numCol="1" spcCol="0" rtlCol="0" fromWordArt="0" anchor="t" anchorCtr="0" forceAA="0" compatLnSpc="1">
                <a:prstTxWarp prst="textNoShape">
                  <a:avLst/>
                </a:prstTxWarp>
                <a:noAutofit/>
              </a:bodyPr>
              <a:lstStyle/>
              <a:p>
                <a:pPr defTabSz="932384" fontAlgn="auto">
                  <a:spcBef>
                    <a:spcPts val="0"/>
                  </a:spcBef>
                  <a:spcAft>
                    <a:spcPts val="0"/>
                  </a:spcAft>
                </a:pPr>
                <a:r>
                  <a:rPr lang="en-US" sz="1399" dirty="0">
                    <a:solidFill>
                      <a:srgbClr val="000000"/>
                    </a:solidFill>
                  </a:rPr>
                  <a:t>0x7ff654ae6d</a:t>
                </a:r>
              </a:p>
            </p:txBody>
          </p:sp>
          <p:sp>
            <p:nvSpPr>
              <p:cNvPr id="190" name="Rectangle 189"/>
              <p:cNvSpPr/>
              <p:nvPr/>
            </p:nvSpPr>
            <p:spPr bwMode="auto">
              <a:xfrm>
                <a:off x="8962591" y="5711559"/>
                <a:ext cx="718776" cy="284657"/>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56" tIns="36571" rIns="0" bIns="146283" numCol="1" spcCol="0" rtlCol="0" fromWordArt="0" anchor="t" anchorCtr="0" forceAA="0" compatLnSpc="1">
                <a:prstTxWarp prst="textNoShape">
                  <a:avLst/>
                </a:prstTxWarp>
                <a:noAutofit/>
              </a:bodyPr>
              <a:lstStyle/>
              <a:p>
                <a:pPr defTabSz="932384" fontAlgn="auto">
                  <a:spcBef>
                    <a:spcPts val="0"/>
                  </a:spcBef>
                  <a:spcAft>
                    <a:spcPts val="0"/>
                  </a:spcAft>
                </a:pPr>
                <a:r>
                  <a:rPr lang="en-US" sz="1399" dirty="0">
                    <a:solidFill>
                      <a:srgbClr val="000000"/>
                    </a:solidFill>
                  </a:rPr>
                  <a:t>USA</a:t>
                </a:r>
              </a:p>
            </p:txBody>
          </p:sp>
          <p:sp>
            <p:nvSpPr>
              <p:cNvPr id="191" name="Rectangle 190"/>
              <p:cNvSpPr/>
              <p:nvPr/>
            </p:nvSpPr>
            <p:spPr bwMode="auto">
              <a:xfrm>
                <a:off x="6364740" y="6010522"/>
                <a:ext cx="1395172" cy="284657"/>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56" tIns="36571" rIns="0" bIns="146283" numCol="1" spcCol="0" rtlCol="0" fromWordArt="0" anchor="t" anchorCtr="0" forceAA="0" compatLnSpc="1">
                <a:prstTxWarp prst="textNoShape">
                  <a:avLst/>
                </a:prstTxWarp>
                <a:noAutofit/>
              </a:bodyPr>
              <a:lstStyle/>
              <a:p>
                <a:pPr defTabSz="932384" fontAlgn="auto">
                  <a:spcBef>
                    <a:spcPts val="0"/>
                  </a:spcBef>
                  <a:spcAft>
                    <a:spcPts val="0"/>
                  </a:spcAft>
                </a:pPr>
                <a:r>
                  <a:rPr lang="en-US" sz="1399" dirty="0">
                    <a:solidFill>
                      <a:srgbClr val="000000"/>
                    </a:solidFill>
                  </a:rPr>
                  <a:t>John Smith</a:t>
                </a:r>
              </a:p>
            </p:txBody>
          </p:sp>
          <p:sp>
            <p:nvSpPr>
              <p:cNvPr id="192" name="Rectangle 191"/>
              <p:cNvSpPr/>
              <p:nvPr/>
            </p:nvSpPr>
            <p:spPr bwMode="auto">
              <a:xfrm>
                <a:off x="7782150" y="6010522"/>
                <a:ext cx="1166510" cy="284657"/>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56" tIns="36571" rIns="0" bIns="146283" numCol="1" spcCol="0" rtlCol="0" fromWordArt="0" anchor="t" anchorCtr="0" forceAA="0" compatLnSpc="1">
                <a:prstTxWarp prst="textNoShape">
                  <a:avLst/>
                </a:prstTxWarp>
                <a:noAutofit/>
              </a:bodyPr>
              <a:lstStyle/>
              <a:p>
                <a:pPr defTabSz="932384" fontAlgn="auto">
                  <a:spcBef>
                    <a:spcPts val="0"/>
                  </a:spcBef>
                  <a:spcAft>
                    <a:spcPts val="0"/>
                  </a:spcAft>
                </a:pPr>
                <a:r>
                  <a:rPr lang="en-US" sz="1399" dirty="0">
                    <a:solidFill>
                      <a:srgbClr val="000000"/>
                    </a:solidFill>
                  </a:rPr>
                  <a:t>0y8fj754ea2c</a:t>
                </a:r>
              </a:p>
            </p:txBody>
          </p:sp>
          <p:sp>
            <p:nvSpPr>
              <p:cNvPr id="193" name="Rectangle 192"/>
              <p:cNvSpPr/>
              <p:nvPr/>
            </p:nvSpPr>
            <p:spPr bwMode="auto">
              <a:xfrm>
                <a:off x="8962591" y="6010522"/>
                <a:ext cx="718776" cy="284657"/>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56" tIns="36571" rIns="0" bIns="146283" numCol="1" spcCol="0" rtlCol="0" fromWordArt="0" anchor="t" anchorCtr="0" forceAA="0" compatLnSpc="1">
                <a:prstTxWarp prst="textNoShape">
                  <a:avLst/>
                </a:prstTxWarp>
                <a:noAutofit/>
              </a:bodyPr>
              <a:lstStyle/>
              <a:p>
                <a:pPr defTabSz="932384" fontAlgn="auto">
                  <a:spcBef>
                    <a:spcPts val="0"/>
                  </a:spcBef>
                  <a:spcAft>
                    <a:spcPts val="0"/>
                  </a:spcAft>
                </a:pPr>
                <a:r>
                  <a:rPr lang="en-US" sz="1399" dirty="0">
                    <a:solidFill>
                      <a:srgbClr val="000000"/>
                    </a:solidFill>
                  </a:rPr>
                  <a:t>USA</a:t>
                </a:r>
              </a:p>
            </p:txBody>
          </p:sp>
          <p:sp>
            <p:nvSpPr>
              <p:cNvPr id="181" name="Rectangle 180"/>
              <p:cNvSpPr/>
              <p:nvPr/>
            </p:nvSpPr>
            <p:spPr bwMode="auto">
              <a:xfrm>
                <a:off x="6381948" y="4685481"/>
                <a:ext cx="2188984" cy="47682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8" rIns="0" bIns="47558" numCol="1" rtlCol="0" anchor="b" anchorCtr="0" compatLnSpc="1">
                <a:prstTxWarp prst="textNoShape">
                  <a:avLst/>
                </a:prstTxWarp>
              </a:bodyPr>
              <a:lstStyle/>
              <a:p>
                <a:pPr defTabSz="950846"/>
                <a:r>
                  <a:rPr lang="en-US" sz="1399" dirty="0" smtClean="0">
                    <a:solidFill>
                      <a:srgbClr val="FF8C00"/>
                    </a:solidFill>
                    <a:cs typeface="Segoe UI Light" panose="020B0502040204020203" pitchFamily="34" charset="0"/>
                  </a:rPr>
                  <a:t>dbo.Patients</a:t>
                </a:r>
                <a:endParaRPr lang="en-US" sz="1399" dirty="0">
                  <a:solidFill>
                    <a:srgbClr val="FF8C00"/>
                  </a:solidFill>
                  <a:cs typeface="Segoe UI Light" panose="020B0502040204020203" pitchFamily="34" charset="0"/>
                </a:endParaRPr>
              </a:p>
            </p:txBody>
          </p:sp>
        </p:grpSp>
      </p:grpSp>
      <p:cxnSp>
        <p:nvCxnSpPr>
          <p:cNvPr id="66" name="Straight Connector 65"/>
          <p:cNvCxnSpPr/>
          <p:nvPr/>
        </p:nvCxnSpPr>
        <p:spPr>
          <a:xfrm>
            <a:off x="6562294" y="1727660"/>
            <a:ext cx="14094" cy="4459048"/>
          </a:xfrm>
          <a:prstGeom prst="line">
            <a:avLst/>
          </a:prstGeom>
          <a:ln w="63500">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2" name="TextBox 91"/>
          <p:cNvSpPr txBox="1"/>
          <p:nvPr/>
        </p:nvSpPr>
        <p:spPr>
          <a:xfrm>
            <a:off x="7661094" y="1824502"/>
            <a:ext cx="1539891" cy="282513"/>
          </a:xfrm>
          <a:prstGeom prst="rect">
            <a:avLst/>
          </a:prstGeom>
          <a:noFill/>
        </p:spPr>
        <p:txBody>
          <a:bodyPr wrap="square" lIns="0" tIns="0" rIns="0" bIns="0" rtlCol="0">
            <a:spAutoFit/>
          </a:bodyPr>
          <a:lstStyle/>
          <a:p>
            <a:pPr defTabSz="931505">
              <a:spcAft>
                <a:spcPts val="600"/>
              </a:spcAft>
            </a:pPr>
            <a:r>
              <a:rPr lang="en-US" sz="1800" dirty="0">
                <a:solidFill>
                  <a:srgbClr val="505050"/>
                </a:solidFill>
                <a:latin typeface="Segoe UI Semibold" panose="020B0702040204020203" pitchFamily="34" charset="0"/>
                <a:cs typeface="Segoe UI Semibold" panose="020B0702040204020203" pitchFamily="34" charset="0"/>
              </a:rPr>
              <a:t>SQL Server</a:t>
            </a:r>
          </a:p>
        </p:txBody>
      </p:sp>
      <p:sp>
        <p:nvSpPr>
          <p:cNvPr id="102" name="Right Arrow 101"/>
          <p:cNvSpPr/>
          <p:nvPr/>
        </p:nvSpPr>
        <p:spPr bwMode="auto">
          <a:xfrm>
            <a:off x="6672628" y="2838614"/>
            <a:ext cx="1097280" cy="194238"/>
          </a:xfrm>
          <a:prstGeom prst="rightArrow">
            <a:avLst>
              <a:gd name="adj1" fmla="val 50000"/>
              <a:gd name="adj2" fmla="val 42077"/>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342768" indent="-342768" algn="ctr" defTabSz="932114">
              <a:lnSpc>
                <a:spcPct val="90000"/>
              </a:lnSpc>
              <a:buFont typeface="Wingdings 3" panose="05040102010807070707" pitchFamily="18" charset="2"/>
              <a:buChar char="Æ"/>
            </a:pPr>
            <a:endParaRPr lang="en-IN" sz="2000" b="1" dirty="0" err="1">
              <a:solidFill>
                <a:srgbClr val="FFFFFF"/>
              </a:solidFill>
              <a:latin typeface="Segoe UI Light"/>
              <a:ea typeface="Segoe UI" pitchFamily="34" charset="0"/>
              <a:cs typeface="Segoe UI" pitchFamily="34" charset="0"/>
            </a:endParaRPr>
          </a:p>
        </p:txBody>
      </p:sp>
      <p:grpSp>
        <p:nvGrpSpPr>
          <p:cNvPr id="19" name="Group 18"/>
          <p:cNvGrpSpPr/>
          <p:nvPr/>
        </p:nvGrpSpPr>
        <p:grpSpPr>
          <a:xfrm>
            <a:off x="9291292" y="4344228"/>
            <a:ext cx="1272813" cy="542665"/>
            <a:chOff x="6963658" y="5721150"/>
            <a:chExt cx="1272813" cy="542665"/>
          </a:xfrm>
        </p:grpSpPr>
        <p:sp>
          <p:nvSpPr>
            <p:cNvPr id="147" name="TextBox 146"/>
            <p:cNvSpPr txBox="1"/>
            <p:nvPr/>
          </p:nvSpPr>
          <p:spPr>
            <a:xfrm>
              <a:off x="6963658" y="5721150"/>
              <a:ext cx="1272813" cy="376685"/>
            </a:xfrm>
            <a:prstGeom prst="rect">
              <a:avLst/>
            </a:prstGeom>
            <a:noFill/>
          </p:spPr>
          <p:txBody>
            <a:bodyPr wrap="none" rtlCol="0">
              <a:spAutoFit/>
            </a:bodyPr>
            <a:lstStyle/>
            <a:p>
              <a:pPr defTabSz="931684"/>
              <a:r>
                <a:rPr lang="en-US" sz="1800" dirty="0">
                  <a:solidFill>
                    <a:srgbClr val="FF8C00"/>
                  </a:solidFill>
                  <a:latin typeface="Segoe UI Semibold" panose="020B0702040204020203" pitchFamily="34" charset="0"/>
                  <a:cs typeface="Segoe UI Semibold" panose="020B0702040204020203" pitchFamily="34" charset="0"/>
                </a:rPr>
                <a:t>ciphertext</a:t>
              </a:r>
            </a:p>
          </p:txBody>
        </p:sp>
        <p:cxnSp>
          <p:nvCxnSpPr>
            <p:cNvPr id="148" name="Straight Connector 147"/>
            <p:cNvCxnSpPr/>
            <p:nvPr/>
          </p:nvCxnSpPr>
          <p:spPr>
            <a:xfrm flipH="1">
              <a:off x="7263880" y="6035880"/>
              <a:ext cx="176896" cy="227935"/>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103" name="Right Arrow 102"/>
          <p:cNvSpPr/>
          <p:nvPr/>
        </p:nvSpPr>
        <p:spPr bwMode="auto">
          <a:xfrm flipH="1">
            <a:off x="6678712" y="3881349"/>
            <a:ext cx="914400" cy="194238"/>
          </a:xfrm>
          <a:prstGeom prst="rightArrow">
            <a:avLst>
              <a:gd name="adj1" fmla="val 50000"/>
              <a:gd name="adj2" fmla="val 42077"/>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342768" indent="-342768" algn="ctr" defTabSz="932114">
              <a:lnSpc>
                <a:spcPct val="90000"/>
              </a:lnSpc>
              <a:buFont typeface="Wingdings 3" panose="05040102010807070707" pitchFamily="18" charset="2"/>
              <a:buChar char="Æ"/>
            </a:pPr>
            <a:endParaRPr lang="en-IN" sz="2000" b="1" dirty="0" err="1">
              <a:solidFill>
                <a:srgbClr val="FFFFFF"/>
              </a:solidFill>
              <a:latin typeface="Segoe UI Light"/>
              <a:ea typeface="Segoe UI" pitchFamily="34" charset="0"/>
              <a:cs typeface="Segoe UI" pitchFamily="34" charset="0"/>
            </a:endParaRPr>
          </a:p>
        </p:txBody>
      </p:sp>
      <p:grpSp>
        <p:nvGrpSpPr>
          <p:cNvPr id="5" name="Group 4"/>
          <p:cNvGrpSpPr/>
          <p:nvPr/>
        </p:nvGrpSpPr>
        <p:grpSpPr>
          <a:xfrm>
            <a:off x="4325151" y="2604847"/>
            <a:ext cx="915494" cy="428005"/>
            <a:chOff x="4324882" y="3030591"/>
            <a:chExt cx="915624" cy="428066"/>
          </a:xfrm>
        </p:grpSpPr>
        <p:sp>
          <p:nvSpPr>
            <p:cNvPr id="83" name="TextBox 82"/>
            <p:cNvSpPr txBox="1"/>
            <p:nvPr/>
          </p:nvSpPr>
          <p:spPr>
            <a:xfrm>
              <a:off x="4324882" y="3030591"/>
              <a:ext cx="915624" cy="184251"/>
            </a:xfrm>
            <a:prstGeom prst="rect">
              <a:avLst/>
            </a:prstGeom>
            <a:noFill/>
          </p:spPr>
          <p:txBody>
            <a:bodyPr wrap="square" lIns="182828" tIns="146262" rIns="182828" bIns="146262" rtlCol="0">
              <a:noAutofit/>
            </a:bodyPr>
            <a:lstStyle/>
            <a:p>
              <a:pPr defTabSz="931505">
                <a:lnSpc>
                  <a:spcPct val="90000"/>
                </a:lnSpc>
                <a:spcAft>
                  <a:spcPts val="600"/>
                </a:spcAft>
              </a:pPr>
              <a:r>
                <a:rPr lang="en-US" sz="1199" dirty="0">
                  <a:solidFill>
                    <a:srgbClr val="FF8C00"/>
                  </a:solidFill>
                  <a:latin typeface="Segoe UI Semibold" panose="020B0702040204020203" pitchFamily="34" charset="0"/>
                  <a:cs typeface="Segoe UI Semibold" panose="020B0702040204020203" pitchFamily="34" charset="0"/>
                </a:rPr>
                <a:t>Query</a:t>
              </a:r>
            </a:p>
          </p:txBody>
        </p:sp>
        <p:sp>
          <p:nvSpPr>
            <p:cNvPr id="67" name="Right Arrow 66"/>
            <p:cNvSpPr/>
            <p:nvPr/>
          </p:nvSpPr>
          <p:spPr bwMode="auto">
            <a:xfrm>
              <a:off x="4498625" y="3264391"/>
              <a:ext cx="640080" cy="194266"/>
            </a:xfrm>
            <a:prstGeom prst="rightArrow">
              <a:avLst>
                <a:gd name="adj1" fmla="val 50000"/>
                <a:gd name="adj2" fmla="val 42077"/>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342768" indent="-342768" algn="ctr" defTabSz="932114">
                <a:lnSpc>
                  <a:spcPct val="90000"/>
                </a:lnSpc>
                <a:buFont typeface="Wingdings 3" panose="05040102010807070707" pitchFamily="18" charset="2"/>
                <a:buChar char="Æ"/>
              </a:pPr>
              <a:endParaRPr lang="en-IN" sz="2000" b="1" dirty="0" err="1">
                <a:solidFill>
                  <a:srgbClr val="FFFFFF"/>
                </a:solidFill>
                <a:latin typeface="Segoe UI Light"/>
                <a:ea typeface="Segoe UI" pitchFamily="34" charset="0"/>
                <a:cs typeface="Segoe UI" pitchFamily="34" charset="0"/>
              </a:endParaRPr>
            </a:p>
          </p:txBody>
        </p:sp>
      </p:grpSp>
      <p:sp>
        <p:nvSpPr>
          <p:cNvPr id="65" name="Title 3"/>
          <p:cNvSpPr>
            <a:spLocks noGrp="1"/>
          </p:cNvSpPr>
          <p:nvPr>
            <p:ph type="title"/>
          </p:nvPr>
        </p:nvSpPr>
        <p:spPr/>
        <p:txBody>
          <a:bodyPr/>
          <a:lstStyle/>
          <a:p>
            <a:r>
              <a:rPr lang="en-US" dirty="0" err="1" smtClean="0"/>
              <a:t>Toujours</a:t>
            </a:r>
            <a:r>
              <a:rPr lang="en-US" dirty="0" smtClean="0"/>
              <a:t> </a:t>
            </a:r>
            <a:r>
              <a:rPr lang="en-US" dirty="0" err="1" smtClean="0"/>
              <a:t>Encrypté</a:t>
            </a:r>
            <a:r>
              <a:rPr lang="en-US" dirty="0" smtClean="0"/>
              <a:t/>
            </a:r>
            <a:br>
              <a:rPr lang="en-US" dirty="0" smtClean="0"/>
            </a:br>
            <a:endParaRPr lang="en-US" sz="3598" dirty="0">
              <a:solidFill>
                <a:srgbClr val="C00000"/>
              </a:solidFill>
            </a:endParaRPr>
          </a:p>
        </p:txBody>
      </p:sp>
      <p:sp>
        <p:nvSpPr>
          <p:cNvPr id="14" name="Text Placeholder 13"/>
          <p:cNvSpPr>
            <a:spLocks noGrp="1"/>
          </p:cNvSpPr>
          <p:nvPr>
            <p:ph type="body" sz="quarter" idx="13"/>
          </p:nvPr>
        </p:nvSpPr>
        <p:spPr/>
        <p:txBody>
          <a:bodyPr/>
          <a:lstStyle/>
          <a:p>
            <a:endParaRPr lang="fr-FR"/>
          </a:p>
        </p:txBody>
      </p:sp>
      <p:sp>
        <p:nvSpPr>
          <p:cNvPr id="16" name="Text Placeholder 15"/>
          <p:cNvSpPr>
            <a:spLocks noGrp="1"/>
          </p:cNvSpPr>
          <p:nvPr>
            <p:ph type="body" sz="quarter" idx="14"/>
          </p:nvPr>
        </p:nvSpPr>
        <p:spPr/>
        <p:txBody>
          <a:bodyPr/>
          <a:lstStyle/>
          <a:p>
            <a:r>
              <a:rPr lang="fr-FR" dirty="0" smtClean="0"/>
              <a:t>Transporter les données de cryptées de bout en bout</a:t>
            </a:r>
            <a:endParaRPr lang="fr-FR" dirty="0"/>
          </a:p>
        </p:txBody>
      </p:sp>
      <p:sp>
        <p:nvSpPr>
          <p:cNvPr id="17" name="Text Placeholder 16"/>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sp>
        <p:nvSpPr>
          <p:cNvPr id="120" name="Right Arrow 119"/>
          <p:cNvSpPr/>
          <p:nvPr/>
        </p:nvSpPr>
        <p:spPr bwMode="auto">
          <a:xfrm flipH="1">
            <a:off x="3116021" y="3882469"/>
            <a:ext cx="2011395" cy="191997"/>
          </a:xfrm>
          <a:prstGeom prst="rightArrow">
            <a:avLst>
              <a:gd name="adj1" fmla="val 50000"/>
              <a:gd name="adj2" fmla="val 42077"/>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342768" indent="-342768" algn="ctr" defTabSz="932114">
              <a:lnSpc>
                <a:spcPct val="90000"/>
              </a:lnSpc>
              <a:buFont typeface="Wingdings 3" panose="05040102010807070707" pitchFamily="18" charset="2"/>
              <a:buChar char="Æ"/>
            </a:pPr>
            <a:endParaRPr lang="en-IN" sz="2000" b="1" dirty="0" err="1">
              <a:solidFill>
                <a:srgbClr val="FFFFFF"/>
              </a:solidFill>
              <a:latin typeface="Segoe UI Light"/>
              <a:ea typeface="Segoe UI" pitchFamily="34" charset="0"/>
              <a:cs typeface="Segoe UI" pitchFamily="34" charset="0"/>
            </a:endParaRPr>
          </a:p>
        </p:txBody>
      </p:sp>
      <p:grpSp>
        <p:nvGrpSpPr>
          <p:cNvPr id="41" name="Group 40"/>
          <p:cNvGrpSpPr/>
          <p:nvPr/>
        </p:nvGrpSpPr>
        <p:grpSpPr>
          <a:xfrm>
            <a:off x="553587" y="1811495"/>
            <a:ext cx="4021690" cy="1850950"/>
            <a:chOff x="552782" y="1811255"/>
            <a:chExt cx="4022261" cy="1851214"/>
          </a:xfrm>
        </p:grpSpPr>
        <p:sp>
          <p:nvSpPr>
            <p:cNvPr id="128" name="TextBox 127"/>
            <p:cNvSpPr txBox="1"/>
            <p:nvPr/>
          </p:nvSpPr>
          <p:spPr>
            <a:xfrm>
              <a:off x="2531358" y="1811255"/>
              <a:ext cx="1136060" cy="376738"/>
            </a:xfrm>
            <a:prstGeom prst="rect">
              <a:avLst/>
            </a:prstGeom>
            <a:noFill/>
          </p:spPr>
          <p:txBody>
            <a:bodyPr wrap="square" rtlCol="0">
              <a:spAutoFit/>
            </a:bodyPr>
            <a:lstStyle/>
            <a:p>
              <a:pPr algn="r" defTabSz="931684"/>
              <a:r>
                <a:rPr lang="en-US" sz="1800" dirty="0">
                  <a:solidFill>
                    <a:srgbClr val="505050"/>
                  </a:solidFill>
                  <a:latin typeface="Segoe UI Semibold" panose="020B0702040204020203" pitchFamily="34" charset="0"/>
                  <a:cs typeface="Segoe UI Semibold" panose="020B0702040204020203" pitchFamily="34" charset="0"/>
                </a:rPr>
                <a:t>Trusted</a:t>
              </a:r>
            </a:p>
          </p:txBody>
        </p:sp>
        <p:grpSp>
          <p:nvGrpSpPr>
            <p:cNvPr id="11" name="Group 10"/>
            <p:cNvGrpSpPr/>
            <p:nvPr/>
          </p:nvGrpSpPr>
          <p:grpSpPr>
            <a:xfrm>
              <a:off x="552782" y="1848373"/>
              <a:ext cx="1367562" cy="1042265"/>
              <a:chOff x="9997894" y="2293268"/>
              <a:chExt cx="1540109" cy="1173769"/>
            </a:xfrm>
          </p:grpSpPr>
          <p:sp>
            <p:nvSpPr>
              <p:cNvPr id="114" name="TextBox 113"/>
              <p:cNvSpPr txBox="1"/>
              <p:nvPr/>
            </p:nvSpPr>
            <p:spPr>
              <a:xfrm>
                <a:off x="9997894" y="2293268"/>
                <a:ext cx="1540109" cy="222595"/>
              </a:xfrm>
              <a:prstGeom prst="rect">
                <a:avLst/>
              </a:prstGeom>
              <a:noFill/>
            </p:spPr>
            <p:txBody>
              <a:bodyPr wrap="square" lIns="0" tIns="0" rIns="0" bIns="0" rtlCol="0">
                <a:spAutoFit/>
              </a:bodyPr>
              <a:lstStyle/>
              <a:p>
                <a:pPr algn="ctr" defTabSz="931505">
                  <a:lnSpc>
                    <a:spcPct val="90000"/>
                  </a:lnSpc>
                  <a:spcAft>
                    <a:spcPts val="600"/>
                  </a:spcAft>
                </a:pPr>
                <a:r>
                  <a:rPr lang="en-US" sz="1399" dirty="0">
                    <a:solidFill>
                      <a:srgbClr val="505050"/>
                    </a:solidFill>
                    <a:latin typeface="Segoe UI Semibold" panose="020B0702040204020203" pitchFamily="34" charset="0"/>
                    <a:cs typeface="Segoe UI Semibold" panose="020B0702040204020203" pitchFamily="34" charset="0"/>
                  </a:rPr>
                  <a:t>Apps</a:t>
                </a:r>
              </a:p>
            </p:txBody>
          </p:sp>
          <p:grpSp>
            <p:nvGrpSpPr>
              <p:cNvPr id="115" name="Group 114"/>
              <p:cNvGrpSpPr/>
              <p:nvPr/>
            </p:nvGrpSpPr>
            <p:grpSpPr>
              <a:xfrm>
                <a:off x="10113632" y="2549677"/>
                <a:ext cx="1218343" cy="917360"/>
                <a:chOff x="1111115" y="2480113"/>
                <a:chExt cx="1346196" cy="1013628"/>
              </a:xfrm>
            </p:grpSpPr>
            <p:sp>
              <p:nvSpPr>
                <p:cNvPr id="116" name="Freeform 115"/>
                <p:cNvSpPr>
                  <a:spLocks noChangeAspect="1"/>
                </p:cNvSpPr>
                <p:nvPr/>
              </p:nvSpPr>
              <p:spPr bwMode="auto">
                <a:xfrm>
                  <a:off x="1184439" y="2654562"/>
                  <a:ext cx="1272611" cy="826375"/>
                </a:xfrm>
                <a:custGeom>
                  <a:avLst/>
                  <a:gdLst>
                    <a:gd name="connsiteX0" fmla="*/ 678350 w 1481959"/>
                    <a:gd name="connsiteY0" fmla="*/ 258990 h 962317"/>
                    <a:gd name="connsiteX1" fmla="*/ 688805 w 1481959"/>
                    <a:gd name="connsiteY1" fmla="*/ 259224 h 962317"/>
                    <a:gd name="connsiteX2" fmla="*/ 971484 w 1481959"/>
                    <a:gd name="connsiteY2" fmla="*/ 259224 h 962317"/>
                    <a:gd name="connsiteX3" fmla="*/ 1006067 w 1481959"/>
                    <a:gd name="connsiteY3" fmla="*/ 292305 h 962317"/>
                    <a:gd name="connsiteX4" fmla="*/ 1006067 w 1481959"/>
                    <a:gd name="connsiteY4" fmla="*/ 576488 h 962317"/>
                    <a:gd name="connsiteX5" fmla="*/ 1004269 w 1481959"/>
                    <a:gd name="connsiteY5" fmla="*/ 595185 h 962317"/>
                    <a:gd name="connsiteX6" fmla="*/ 996845 w 1481959"/>
                    <a:gd name="connsiteY6" fmla="*/ 596703 h 962317"/>
                    <a:gd name="connsiteX7" fmla="*/ 946477 w 1481959"/>
                    <a:gd name="connsiteY7" fmla="*/ 546841 h 962317"/>
                    <a:gd name="connsiteX8" fmla="*/ 903068 w 1481959"/>
                    <a:gd name="connsiteY8" fmla="*/ 547059 h 962317"/>
                    <a:gd name="connsiteX9" fmla="*/ 711725 w 1481959"/>
                    <a:gd name="connsiteY9" fmla="*/ 740344 h 962317"/>
                    <a:gd name="connsiteX10" fmla="*/ 661739 w 1481959"/>
                    <a:gd name="connsiteY10" fmla="*/ 719332 h 962317"/>
                    <a:gd name="connsiteX11" fmla="*/ 535436 w 1481959"/>
                    <a:gd name="connsiteY11" fmla="*/ 593028 h 962317"/>
                    <a:gd name="connsiteX12" fmla="*/ 520710 w 1481959"/>
                    <a:gd name="connsiteY12" fmla="*/ 557602 h 962317"/>
                    <a:gd name="connsiteX13" fmla="*/ 597984 w 1481959"/>
                    <a:gd name="connsiteY13" fmla="*/ 478826 h 962317"/>
                    <a:gd name="connsiteX14" fmla="*/ 709855 w 1481959"/>
                    <a:gd name="connsiteY14" fmla="*/ 368988 h 962317"/>
                    <a:gd name="connsiteX15" fmla="*/ 720565 w 1481959"/>
                    <a:gd name="connsiteY15" fmla="*/ 351055 h 962317"/>
                    <a:gd name="connsiteX16" fmla="*/ 722022 w 1481959"/>
                    <a:gd name="connsiteY16" fmla="*/ 347917 h 962317"/>
                    <a:gd name="connsiteX17" fmla="*/ 723721 w 1481959"/>
                    <a:gd name="connsiteY17" fmla="*/ 338718 h 962317"/>
                    <a:gd name="connsiteX18" fmla="*/ 723262 w 1481959"/>
                    <a:gd name="connsiteY18" fmla="*/ 334338 h 962317"/>
                    <a:gd name="connsiteX19" fmla="*/ 723111 w 1481959"/>
                    <a:gd name="connsiteY19" fmla="*/ 333602 h 962317"/>
                    <a:gd name="connsiteX20" fmla="*/ 714729 w 1481959"/>
                    <a:gd name="connsiteY20" fmla="*/ 315979 h 962317"/>
                    <a:gd name="connsiteX21" fmla="*/ 678087 w 1481959"/>
                    <a:gd name="connsiteY21" fmla="*/ 280035 h 962317"/>
                    <a:gd name="connsiteX22" fmla="*/ 668098 w 1481959"/>
                    <a:gd name="connsiteY22" fmla="*/ 262301 h 962317"/>
                    <a:gd name="connsiteX23" fmla="*/ 678350 w 1481959"/>
                    <a:gd name="connsiteY23" fmla="*/ 258990 h 962317"/>
                    <a:gd name="connsiteX24" fmla="*/ 72174 w 1481959"/>
                    <a:gd name="connsiteY24" fmla="*/ 72174 h 962317"/>
                    <a:gd name="connsiteX25" fmla="*/ 72174 w 1481959"/>
                    <a:gd name="connsiteY25" fmla="*/ 887737 h 962317"/>
                    <a:gd name="connsiteX26" fmla="*/ 1402569 w 1481959"/>
                    <a:gd name="connsiteY26" fmla="*/ 887737 h 962317"/>
                    <a:gd name="connsiteX27" fmla="*/ 1402569 w 1481959"/>
                    <a:gd name="connsiteY27" fmla="*/ 72174 h 962317"/>
                    <a:gd name="connsiteX28" fmla="*/ 65620 w 1481959"/>
                    <a:gd name="connsiteY28" fmla="*/ 0 h 962317"/>
                    <a:gd name="connsiteX29" fmla="*/ 1416339 w 1481959"/>
                    <a:gd name="connsiteY29" fmla="*/ 0 h 962317"/>
                    <a:gd name="connsiteX30" fmla="*/ 1481959 w 1481959"/>
                    <a:gd name="connsiteY30" fmla="*/ 65621 h 962317"/>
                    <a:gd name="connsiteX31" fmla="*/ 1481959 w 1481959"/>
                    <a:gd name="connsiteY31" fmla="*/ 896697 h 962317"/>
                    <a:gd name="connsiteX32" fmla="*/ 1416339 w 1481959"/>
                    <a:gd name="connsiteY32" fmla="*/ 962317 h 962317"/>
                    <a:gd name="connsiteX33" fmla="*/ 65620 w 1481959"/>
                    <a:gd name="connsiteY33" fmla="*/ 962317 h 962317"/>
                    <a:gd name="connsiteX34" fmla="*/ 0 w 1481959"/>
                    <a:gd name="connsiteY34" fmla="*/ 896697 h 962317"/>
                    <a:gd name="connsiteX35" fmla="*/ 0 w 1481959"/>
                    <a:gd name="connsiteY35" fmla="*/ 65621 h 962317"/>
                    <a:gd name="connsiteX36" fmla="*/ 65620 w 1481959"/>
                    <a:gd name="connsiteY36" fmla="*/ 0 h 962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481959" h="962317">
                      <a:moveTo>
                        <a:pt x="678350" y="258990"/>
                      </a:moveTo>
                      <a:cubicBezTo>
                        <a:pt x="681742" y="259020"/>
                        <a:pt x="685484" y="259288"/>
                        <a:pt x="688805" y="259224"/>
                      </a:cubicBezTo>
                      <a:lnTo>
                        <a:pt x="971484" y="259224"/>
                      </a:lnTo>
                      <a:cubicBezTo>
                        <a:pt x="1000302" y="256718"/>
                        <a:pt x="1008071" y="270753"/>
                        <a:pt x="1006067" y="292305"/>
                      </a:cubicBezTo>
                      <a:lnTo>
                        <a:pt x="1006067" y="576488"/>
                      </a:lnTo>
                      <a:lnTo>
                        <a:pt x="1004269" y="595185"/>
                      </a:lnTo>
                      <a:cubicBezTo>
                        <a:pt x="1002451" y="598026"/>
                        <a:pt x="999695" y="598003"/>
                        <a:pt x="996845" y="596703"/>
                      </a:cubicBezTo>
                      <a:lnTo>
                        <a:pt x="946477" y="546841"/>
                      </a:lnTo>
                      <a:cubicBezTo>
                        <a:pt x="934430" y="534914"/>
                        <a:pt x="914995" y="535011"/>
                        <a:pt x="903068" y="547059"/>
                      </a:cubicBezTo>
                      <a:lnTo>
                        <a:pt x="711725" y="740344"/>
                      </a:lnTo>
                      <a:cubicBezTo>
                        <a:pt x="699360" y="748226"/>
                        <a:pt x="689313" y="744295"/>
                        <a:pt x="661739" y="719332"/>
                      </a:cubicBezTo>
                      <a:lnTo>
                        <a:pt x="535436" y="593028"/>
                      </a:lnTo>
                      <a:cubicBezTo>
                        <a:pt x="524870" y="579553"/>
                        <a:pt x="516830" y="569445"/>
                        <a:pt x="520710" y="557602"/>
                      </a:cubicBezTo>
                      <a:lnTo>
                        <a:pt x="597984" y="478826"/>
                      </a:lnTo>
                      <a:lnTo>
                        <a:pt x="709855" y="368988"/>
                      </a:lnTo>
                      <a:cubicBezTo>
                        <a:pt x="715078" y="361976"/>
                        <a:pt x="718582" y="356117"/>
                        <a:pt x="720565" y="351055"/>
                      </a:cubicBezTo>
                      <a:cubicBezTo>
                        <a:pt x="721405" y="350159"/>
                        <a:pt x="721848" y="349083"/>
                        <a:pt x="722022" y="347917"/>
                      </a:cubicBezTo>
                      <a:cubicBezTo>
                        <a:pt x="723326" y="344409"/>
                        <a:pt x="723862" y="341379"/>
                        <a:pt x="723721" y="338718"/>
                      </a:cubicBezTo>
                      <a:cubicBezTo>
                        <a:pt x="723959" y="337241"/>
                        <a:pt x="723892" y="335759"/>
                        <a:pt x="723262" y="334338"/>
                      </a:cubicBezTo>
                      <a:cubicBezTo>
                        <a:pt x="723291" y="334071"/>
                        <a:pt x="723225" y="333829"/>
                        <a:pt x="723111" y="333602"/>
                      </a:cubicBezTo>
                      <a:cubicBezTo>
                        <a:pt x="722700" y="327088"/>
                        <a:pt x="719734" y="320887"/>
                        <a:pt x="714729" y="315979"/>
                      </a:cubicBezTo>
                      <a:lnTo>
                        <a:pt x="678087" y="280035"/>
                      </a:lnTo>
                      <a:lnTo>
                        <a:pt x="668098" y="262301"/>
                      </a:lnTo>
                      <a:cubicBezTo>
                        <a:pt x="669005" y="259420"/>
                        <a:pt x="673283" y="258942"/>
                        <a:pt x="678350" y="258990"/>
                      </a:cubicBezTo>
                      <a:close/>
                      <a:moveTo>
                        <a:pt x="72174" y="72174"/>
                      </a:moveTo>
                      <a:lnTo>
                        <a:pt x="72174" y="887737"/>
                      </a:lnTo>
                      <a:lnTo>
                        <a:pt x="1402569" y="887737"/>
                      </a:lnTo>
                      <a:lnTo>
                        <a:pt x="1402569" y="72174"/>
                      </a:lnTo>
                      <a:close/>
                      <a:moveTo>
                        <a:pt x="65620" y="0"/>
                      </a:moveTo>
                      <a:lnTo>
                        <a:pt x="1416339" y="0"/>
                      </a:lnTo>
                      <a:cubicBezTo>
                        <a:pt x="1452581" y="0"/>
                        <a:pt x="1481959" y="29379"/>
                        <a:pt x="1481959" y="65621"/>
                      </a:cubicBezTo>
                      <a:lnTo>
                        <a:pt x="1481959" y="896697"/>
                      </a:lnTo>
                      <a:cubicBezTo>
                        <a:pt x="1481959" y="932938"/>
                        <a:pt x="1452581" y="962317"/>
                        <a:pt x="1416339" y="962317"/>
                      </a:cubicBezTo>
                      <a:lnTo>
                        <a:pt x="65620" y="962317"/>
                      </a:lnTo>
                      <a:cubicBezTo>
                        <a:pt x="29379" y="962317"/>
                        <a:pt x="0" y="932938"/>
                        <a:pt x="0" y="896697"/>
                      </a:cubicBezTo>
                      <a:lnTo>
                        <a:pt x="0" y="65621"/>
                      </a:lnTo>
                      <a:cubicBezTo>
                        <a:pt x="0" y="29379"/>
                        <a:pt x="29379" y="0"/>
                        <a:pt x="65620" y="0"/>
                      </a:cubicBezTo>
                      <a:close/>
                    </a:path>
                  </a:pathLst>
                </a:custGeom>
                <a:solidFill>
                  <a:schemeClr val="accent1"/>
                </a:solidFill>
                <a:ln w="9525" cap="flat" cmpd="sng" algn="ctr">
                  <a:noFill/>
                  <a:prstDash val="solid"/>
                </a:ln>
                <a:effectLst/>
              </p:spPr>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a:defRPr/>
                  </a:pPr>
                  <a:endParaRPr lang="en-US" sz="1398" kern="0" spc="-50" dirty="0">
                    <a:ln>
                      <a:solidFill>
                        <a:srgbClr val="FFFFFF">
                          <a:alpha val="0"/>
                        </a:srgbClr>
                      </a:solidFill>
                    </a:ln>
                    <a:solidFill>
                      <a:srgbClr val="000000"/>
                    </a:solidFill>
                    <a:latin typeface="Segoe UI"/>
                    <a:ea typeface="Segoe UI" pitchFamily="34" charset="0"/>
                    <a:cs typeface="Segoe UI" pitchFamily="34" charset="0"/>
                  </a:endParaRPr>
                </a:p>
              </p:txBody>
            </p:sp>
            <p:sp>
              <p:nvSpPr>
                <p:cNvPr id="117" name="Freeform 116"/>
                <p:cNvSpPr>
                  <a:spLocks noChangeAspect="1"/>
                </p:cNvSpPr>
                <p:nvPr/>
              </p:nvSpPr>
              <p:spPr bwMode="auto">
                <a:xfrm>
                  <a:off x="1182634" y="2480113"/>
                  <a:ext cx="1274677" cy="149574"/>
                </a:xfrm>
                <a:custGeom>
                  <a:avLst/>
                  <a:gdLst>
                    <a:gd name="connsiteX0" fmla="*/ 1126907 w 1484366"/>
                    <a:gd name="connsiteY0" fmla="*/ 92222 h 174178"/>
                    <a:gd name="connsiteX1" fmla="*/ 1126907 w 1484366"/>
                    <a:gd name="connsiteY1" fmla="*/ 100883 h 174178"/>
                    <a:gd name="connsiteX2" fmla="*/ 1184646 w 1484366"/>
                    <a:gd name="connsiteY2" fmla="*/ 100883 h 174178"/>
                    <a:gd name="connsiteX3" fmla="*/ 1184646 w 1484366"/>
                    <a:gd name="connsiteY3" fmla="*/ 92222 h 174178"/>
                    <a:gd name="connsiteX4" fmla="*/ 1229754 w 1484366"/>
                    <a:gd name="connsiteY4" fmla="*/ 51724 h 174178"/>
                    <a:gd name="connsiteX5" fmla="*/ 1276267 w 1484366"/>
                    <a:gd name="connsiteY5" fmla="*/ 51724 h 174178"/>
                    <a:gd name="connsiteX6" fmla="*/ 1276267 w 1484366"/>
                    <a:gd name="connsiteY6" fmla="*/ 98237 h 174178"/>
                    <a:gd name="connsiteX7" fmla="*/ 1229754 w 1484366"/>
                    <a:gd name="connsiteY7" fmla="*/ 98237 h 174178"/>
                    <a:gd name="connsiteX8" fmla="*/ 1224142 w 1484366"/>
                    <a:gd name="connsiteY8" fmla="*/ 46112 h 174178"/>
                    <a:gd name="connsiteX9" fmla="*/ 1224142 w 1484366"/>
                    <a:gd name="connsiteY9" fmla="*/ 103850 h 174178"/>
                    <a:gd name="connsiteX10" fmla="*/ 1281879 w 1484366"/>
                    <a:gd name="connsiteY10" fmla="*/ 103850 h 174178"/>
                    <a:gd name="connsiteX11" fmla="*/ 1281879 w 1484366"/>
                    <a:gd name="connsiteY11" fmla="*/ 46112 h 174178"/>
                    <a:gd name="connsiteX12" fmla="*/ 1335992 w 1484366"/>
                    <a:gd name="connsiteY12" fmla="*/ 45213 h 174178"/>
                    <a:gd name="connsiteX13" fmla="*/ 1328262 w 1484366"/>
                    <a:gd name="connsiteY13" fmla="*/ 54101 h 174178"/>
                    <a:gd name="connsiteX14" fmla="*/ 1352498 w 1484366"/>
                    <a:gd name="connsiteY14" fmla="*/ 75181 h 174178"/>
                    <a:gd name="connsiteX15" fmla="*/ 1328262 w 1484366"/>
                    <a:gd name="connsiteY15" fmla="*/ 96262 h 174178"/>
                    <a:gd name="connsiteX16" fmla="*/ 1335992 w 1484366"/>
                    <a:gd name="connsiteY16" fmla="*/ 105149 h 174178"/>
                    <a:gd name="connsiteX17" fmla="*/ 1361471 w 1484366"/>
                    <a:gd name="connsiteY17" fmla="*/ 82986 h 174178"/>
                    <a:gd name="connsiteX18" fmla="*/ 1386951 w 1484366"/>
                    <a:gd name="connsiteY18" fmla="*/ 105149 h 174178"/>
                    <a:gd name="connsiteX19" fmla="*/ 1394681 w 1484366"/>
                    <a:gd name="connsiteY19" fmla="*/ 96262 h 174178"/>
                    <a:gd name="connsiteX20" fmla="*/ 1370445 w 1484366"/>
                    <a:gd name="connsiteY20" fmla="*/ 75181 h 174178"/>
                    <a:gd name="connsiteX21" fmla="*/ 1394681 w 1484366"/>
                    <a:gd name="connsiteY21" fmla="*/ 54101 h 174178"/>
                    <a:gd name="connsiteX22" fmla="*/ 1386951 w 1484366"/>
                    <a:gd name="connsiteY22" fmla="*/ 45213 h 174178"/>
                    <a:gd name="connsiteX23" fmla="*/ 1361471 w 1484366"/>
                    <a:gd name="connsiteY23" fmla="*/ 67375 h 174178"/>
                    <a:gd name="connsiteX24" fmla="*/ 63432 w 1484366"/>
                    <a:gd name="connsiteY24" fmla="*/ 0 h 174178"/>
                    <a:gd name="connsiteX25" fmla="*/ 83802 w 1484366"/>
                    <a:gd name="connsiteY25" fmla="*/ 0 h 174178"/>
                    <a:gd name="connsiteX26" fmla="*/ 1420934 w 1484366"/>
                    <a:gd name="connsiteY26" fmla="*/ 0 h 174178"/>
                    <a:gd name="connsiteX27" fmla="*/ 1484366 w 1484366"/>
                    <a:gd name="connsiteY27" fmla="*/ 63432 h 174178"/>
                    <a:gd name="connsiteX28" fmla="*/ 1484366 w 1484366"/>
                    <a:gd name="connsiteY28" fmla="*/ 150684 h 174178"/>
                    <a:gd name="connsiteX29" fmla="*/ 1479753 w 1484366"/>
                    <a:gd name="connsiteY29" fmla="*/ 174178 h 174178"/>
                    <a:gd name="connsiteX30" fmla="*/ 1430558 w 1484366"/>
                    <a:gd name="connsiteY30" fmla="*/ 149160 h 174178"/>
                    <a:gd name="connsiteX31" fmla="*/ 49548 w 1484366"/>
                    <a:gd name="connsiteY31" fmla="*/ 149661 h 174178"/>
                    <a:gd name="connsiteX32" fmla="*/ 1505 w 1484366"/>
                    <a:gd name="connsiteY32" fmla="*/ 161689 h 174178"/>
                    <a:gd name="connsiteX33" fmla="*/ 0 w 1484366"/>
                    <a:gd name="connsiteY33" fmla="*/ 63432 h 174178"/>
                    <a:gd name="connsiteX34" fmla="*/ 1289 w 1484366"/>
                    <a:gd name="connsiteY34" fmla="*/ 50648 h 174178"/>
                    <a:gd name="connsiteX35" fmla="*/ 4985 w 1484366"/>
                    <a:gd name="connsiteY35" fmla="*/ 38742 h 174178"/>
                    <a:gd name="connsiteX36" fmla="*/ 18580 w 1484366"/>
                    <a:gd name="connsiteY36" fmla="*/ 18578 h 174178"/>
                    <a:gd name="connsiteX37" fmla="*/ 38741 w 1484366"/>
                    <a:gd name="connsiteY37" fmla="*/ 4985 h 174178"/>
                    <a:gd name="connsiteX38" fmla="*/ 50648 w 1484366"/>
                    <a:gd name="connsiteY38" fmla="*/ 1289 h 174178"/>
                    <a:gd name="connsiteX39" fmla="*/ 63432 w 1484366"/>
                    <a:gd name="connsiteY39" fmla="*/ 0 h 174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484366" h="174178">
                      <a:moveTo>
                        <a:pt x="1126907" y="92222"/>
                      </a:moveTo>
                      <a:lnTo>
                        <a:pt x="1126907" y="100883"/>
                      </a:lnTo>
                      <a:lnTo>
                        <a:pt x="1184646" y="100883"/>
                      </a:lnTo>
                      <a:lnTo>
                        <a:pt x="1184646" y="92222"/>
                      </a:lnTo>
                      <a:close/>
                      <a:moveTo>
                        <a:pt x="1229754" y="51724"/>
                      </a:moveTo>
                      <a:lnTo>
                        <a:pt x="1276267" y="51724"/>
                      </a:lnTo>
                      <a:lnTo>
                        <a:pt x="1276267" y="98237"/>
                      </a:lnTo>
                      <a:lnTo>
                        <a:pt x="1229754" y="98237"/>
                      </a:lnTo>
                      <a:close/>
                      <a:moveTo>
                        <a:pt x="1224142" y="46112"/>
                      </a:moveTo>
                      <a:lnTo>
                        <a:pt x="1224142" y="103850"/>
                      </a:lnTo>
                      <a:lnTo>
                        <a:pt x="1281879" y="103850"/>
                      </a:lnTo>
                      <a:lnTo>
                        <a:pt x="1281879" y="46112"/>
                      </a:lnTo>
                      <a:close/>
                      <a:moveTo>
                        <a:pt x="1335992" y="45213"/>
                      </a:moveTo>
                      <a:lnTo>
                        <a:pt x="1328262" y="54101"/>
                      </a:lnTo>
                      <a:lnTo>
                        <a:pt x="1352498" y="75181"/>
                      </a:lnTo>
                      <a:lnTo>
                        <a:pt x="1328262" y="96262"/>
                      </a:lnTo>
                      <a:lnTo>
                        <a:pt x="1335992" y="105149"/>
                      </a:lnTo>
                      <a:lnTo>
                        <a:pt x="1361471" y="82986"/>
                      </a:lnTo>
                      <a:lnTo>
                        <a:pt x="1386951" y="105149"/>
                      </a:lnTo>
                      <a:lnTo>
                        <a:pt x="1394681" y="96262"/>
                      </a:lnTo>
                      <a:lnTo>
                        <a:pt x="1370445" y="75181"/>
                      </a:lnTo>
                      <a:lnTo>
                        <a:pt x="1394681" y="54101"/>
                      </a:lnTo>
                      <a:lnTo>
                        <a:pt x="1386951" y="45213"/>
                      </a:lnTo>
                      <a:lnTo>
                        <a:pt x="1361471" y="67375"/>
                      </a:lnTo>
                      <a:close/>
                      <a:moveTo>
                        <a:pt x="63432" y="0"/>
                      </a:moveTo>
                      <a:lnTo>
                        <a:pt x="83802" y="0"/>
                      </a:lnTo>
                      <a:lnTo>
                        <a:pt x="1420934" y="0"/>
                      </a:lnTo>
                      <a:cubicBezTo>
                        <a:pt x="1455967" y="0"/>
                        <a:pt x="1484366" y="28399"/>
                        <a:pt x="1484366" y="63432"/>
                      </a:cubicBezTo>
                      <a:lnTo>
                        <a:pt x="1484366" y="150684"/>
                      </a:lnTo>
                      <a:cubicBezTo>
                        <a:pt x="1484366" y="159000"/>
                        <a:pt x="1482766" y="166943"/>
                        <a:pt x="1479753" y="174178"/>
                      </a:cubicBezTo>
                      <a:cubicBezTo>
                        <a:pt x="1468946" y="158703"/>
                        <a:pt x="1450867" y="149160"/>
                        <a:pt x="1430558" y="149160"/>
                      </a:cubicBezTo>
                      <a:lnTo>
                        <a:pt x="49548" y="149661"/>
                      </a:lnTo>
                      <a:cubicBezTo>
                        <a:pt x="33534" y="148156"/>
                        <a:pt x="13509" y="150663"/>
                        <a:pt x="1505" y="161689"/>
                      </a:cubicBezTo>
                      <a:cubicBezTo>
                        <a:pt x="1002" y="128937"/>
                        <a:pt x="501" y="96184"/>
                        <a:pt x="0" y="63432"/>
                      </a:cubicBezTo>
                      <a:cubicBezTo>
                        <a:pt x="0" y="59053"/>
                        <a:pt x="444" y="54777"/>
                        <a:pt x="1289" y="50648"/>
                      </a:cubicBezTo>
                      <a:cubicBezTo>
                        <a:pt x="2135" y="46519"/>
                        <a:pt x="3380" y="42536"/>
                        <a:pt x="4985" y="38742"/>
                      </a:cubicBezTo>
                      <a:cubicBezTo>
                        <a:pt x="8195" y="31153"/>
                        <a:pt x="12839" y="24319"/>
                        <a:pt x="18580" y="18578"/>
                      </a:cubicBezTo>
                      <a:cubicBezTo>
                        <a:pt x="24319" y="12839"/>
                        <a:pt x="31152" y="8195"/>
                        <a:pt x="38741" y="4985"/>
                      </a:cubicBezTo>
                      <a:cubicBezTo>
                        <a:pt x="42536" y="3380"/>
                        <a:pt x="46519" y="2133"/>
                        <a:pt x="50648" y="1289"/>
                      </a:cubicBezTo>
                      <a:cubicBezTo>
                        <a:pt x="54778" y="444"/>
                        <a:pt x="59053" y="0"/>
                        <a:pt x="63432" y="0"/>
                      </a:cubicBezTo>
                      <a:close/>
                    </a:path>
                  </a:pathLst>
                </a:custGeom>
                <a:solidFill>
                  <a:schemeClr val="accent1">
                    <a:lumMod val="50000"/>
                  </a:schemeClr>
                </a:solidFill>
                <a:ln w="9525" cap="flat" cmpd="sng" algn="ctr">
                  <a:noFill/>
                  <a:prstDash val="solid"/>
                </a:ln>
                <a:effectLst/>
              </p:spPr>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a:defRPr/>
                  </a:pPr>
                  <a:endParaRPr lang="en-US" sz="1398" kern="0" spc="-50" dirty="0">
                    <a:ln>
                      <a:solidFill>
                        <a:srgbClr val="FFFFFF">
                          <a:alpha val="0"/>
                        </a:srgbClr>
                      </a:solidFill>
                    </a:ln>
                    <a:solidFill>
                      <a:srgbClr val="000000"/>
                    </a:solidFill>
                    <a:latin typeface="Segoe UI"/>
                    <a:ea typeface="Segoe UI" pitchFamily="34" charset="0"/>
                    <a:cs typeface="Segoe UI" pitchFamily="34" charset="0"/>
                  </a:endParaRPr>
                </a:p>
              </p:txBody>
            </p:sp>
            <p:sp>
              <p:nvSpPr>
                <p:cNvPr id="118" name="Freeform 117"/>
                <p:cNvSpPr>
                  <a:spLocks noChangeAspect="1"/>
                </p:cNvSpPr>
                <p:nvPr/>
              </p:nvSpPr>
              <p:spPr bwMode="auto">
                <a:xfrm>
                  <a:off x="1111115" y="2667366"/>
                  <a:ext cx="1251598" cy="826375"/>
                </a:xfrm>
                <a:custGeom>
                  <a:avLst/>
                  <a:gdLst>
                    <a:gd name="connsiteX0" fmla="*/ 65139 w 1457489"/>
                    <a:gd name="connsiteY0" fmla="*/ 0 h 962317"/>
                    <a:gd name="connsiteX1" fmla="*/ 1416820 w 1457489"/>
                    <a:gd name="connsiteY1" fmla="*/ 0 h 962317"/>
                    <a:gd name="connsiteX2" fmla="*/ 1442175 w 1457489"/>
                    <a:gd name="connsiteY2" fmla="*/ 5119 h 962317"/>
                    <a:gd name="connsiteX3" fmla="*/ 1457489 w 1457489"/>
                    <a:gd name="connsiteY3" fmla="*/ 15444 h 962317"/>
                    <a:gd name="connsiteX4" fmla="*/ 181174 w 1457489"/>
                    <a:gd name="connsiteY4" fmla="*/ 962317 h 962317"/>
                    <a:gd name="connsiteX5" fmla="*/ 65139 w 1457489"/>
                    <a:gd name="connsiteY5" fmla="*/ 962317 h 962317"/>
                    <a:gd name="connsiteX6" fmla="*/ 0 w 1457489"/>
                    <a:gd name="connsiteY6" fmla="*/ 897178 h 962317"/>
                    <a:gd name="connsiteX7" fmla="*/ 0 w 1457489"/>
                    <a:gd name="connsiteY7" fmla="*/ 65139 h 962317"/>
                    <a:gd name="connsiteX8" fmla="*/ 65139 w 1457489"/>
                    <a:gd name="connsiteY8" fmla="*/ 0 h 962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57489" h="962317">
                      <a:moveTo>
                        <a:pt x="65139" y="0"/>
                      </a:moveTo>
                      <a:lnTo>
                        <a:pt x="1416820" y="0"/>
                      </a:lnTo>
                      <a:cubicBezTo>
                        <a:pt x="1425814" y="0"/>
                        <a:pt x="1434382" y="1823"/>
                        <a:pt x="1442175" y="5119"/>
                      </a:cubicBezTo>
                      <a:lnTo>
                        <a:pt x="1457489" y="15444"/>
                      </a:lnTo>
                      <a:lnTo>
                        <a:pt x="181174" y="962317"/>
                      </a:lnTo>
                      <a:lnTo>
                        <a:pt x="65139" y="962317"/>
                      </a:lnTo>
                      <a:cubicBezTo>
                        <a:pt x="29164" y="962317"/>
                        <a:pt x="0" y="933153"/>
                        <a:pt x="0" y="897178"/>
                      </a:cubicBezTo>
                      <a:lnTo>
                        <a:pt x="0" y="65139"/>
                      </a:lnTo>
                      <a:cubicBezTo>
                        <a:pt x="0" y="29164"/>
                        <a:pt x="29164" y="0"/>
                        <a:pt x="65139" y="0"/>
                      </a:cubicBezTo>
                      <a:close/>
                    </a:path>
                  </a:pathLst>
                </a:custGeom>
                <a:solidFill>
                  <a:schemeClr val="bg1">
                    <a:alpha val="18000"/>
                  </a:schemeClr>
                </a:solidFill>
                <a:ln w="9525" cap="flat" cmpd="sng" algn="ctr">
                  <a:noFill/>
                  <a:prstDash val="solid"/>
                </a:ln>
                <a:effectLst/>
              </p:spPr>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a:defRPr/>
                  </a:pPr>
                  <a:endParaRPr lang="en-US" sz="1398" kern="0" spc="-50" dirty="0">
                    <a:ln>
                      <a:solidFill>
                        <a:srgbClr val="FFFFFF">
                          <a:alpha val="0"/>
                        </a:srgbClr>
                      </a:solidFill>
                    </a:ln>
                    <a:solidFill>
                      <a:srgbClr val="000000"/>
                    </a:solidFill>
                    <a:latin typeface="Segoe UI"/>
                    <a:ea typeface="Segoe UI" pitchFamily="34" charset="0"/>
                    <a:cs typeface="Segoe UI" pitchFamily="34" charset="0"/>
                  </a:endParaRPr>
                </a:p>
              </p:txBody>
            </p:sp>
          </p:grpSp>
        </p:grpSp>
        <p:grpSp>
          <p:nvGrpSpPr>
            <p:cNvPr id="2" name="Group 1"/>
            <p:cNvGrpSpPr/>
            <p:nvPr/>
          </p:nvGrpSpPr>
          <p:grpSpPr>
            <a:xfrm rot="5400000">
              <a:off x="1940317" y="2232031"/>
              <a:ext cx="227184" cy="606728"/>
              <a:chOff x="2152752" y="2134851"/>
              <a:chExt cx="227184" cy="606728"/>
            </a:xfrm>
          </p:grpSpPr>
          <p:cxnSp>
            <p:nvCxnSpPr>
              <p:cNvPr id="93" name="Straight Connector 92"/>
              <p:cNvCxnSpPr/>
              <p:nvPr/>
            </p:nvCxnSpPr>
            <p:spPr>
              <a:xfrm rot="16200000" flipV="1">
                <a:off x="2271957" y="2026872"/>
                <a:ext cx="0" cy="215958"/>
              </a:xfrm>
              <a:prstGeom prst="line">
                <a:avLst/>
              </a:prstGeom>
              <a:ln w="15875">
                <a:solidFill>
                  <a:srgbClr val="C00000"/>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40" name="Straight Connector 139"/>
              <p:cNvCxnSpPr/>
              <p:nvPr/>
            </p:nvCxnSpPr>
            <p:spPr>
              <a:xfrm>
                <a:off x="2152752" y="2145434"/>
                <a:ext cx="3345" cy="596145"/>
              </a:xfrm>
              <a:prstGeom prst="line">
                <a:avLst/>
              </a:prstGeom>
              <a:ln w="15875">
                <a:solidFill>
                  <a:srgbClr val="C00000"/>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3" name="Group 12"/>
            <p:cNvGrpSpPr/>
            <p:nvPr/>
          </p:nvGrpSpPr>
          <p:grpSpPr>
            <a:xfrm>
              <a:off x="1910229" y="2673596"/>
              <a:ext cx="2664814" cy="988873"/>
              <a:chOff x="9864062" y="3145684"/>
              <a:chExt cx="2664814" cy="988873"/>
            </a:xfrm>
          </p:grpSpPr>
          <p:sp>
            <p:nvSpPr>
              <p:cNvPr id="124" name="Rectangle 123"/>
              <p:cNvSpPr/>
              <p:nvPr/>
            </p:nvSpPr>
            <p:spPr bwMode="auto">
              <a:xfrm>
                <a:off x="9905384" y="3145684"/>
                <a:ext cx="2474220" cy="988873"/>
              </a:xfrm>
              <a:prstGeom prst="rect">
                <a:avLst/>
              </a:prstGeom>
              <a:solidFill>
                <a:schemeClr val="bg1"/>
              </a:solidFill>
              <a:ln w="15875">
                <a:solidFill>
                  <a:srgbClr val="C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342834" indent="-342834" algn="ctr" defTabSz="932293">
                  <a:lnSpc>
                    <a:spcPct val="90000"/>
                  </a:lnSpc>
                  <a:buFont typeface="Wingdings 3" panose="05040102010807070707" pitchFamily="18" charset="2"/>
                  <a:buChar char="Æ"/>
                </a:pPr>
                <a:endParaRPr lang="en-US" sz="2000" b="1" dirty="0" err="1">
                  <a:solidFill>
                    <a:srgbClr val="FFFFFF"/>
                  </a:solidFill>
                  <a:latin typeface="Segoe UI Light"/>
                  <a:ea typeface="Segoe UI" pitchFamily="34" charset="0"/>
                  <a:cs typeface="Segoe UI" pitchFamily="34" charset="0"/>
                </a:endParaRPr>
              </a:p>
            </p:txBody>
          </p:sp>
          <p:sp>
            <p:nvSpPr>
              <p:cNvPr id="125" name="TextBox 124"/>
              <p:cNvSpPr txBox="1"/>
              <p:nvPr/>
            </p:nvSpPr>
            <p:spPr>
              <a:xfrm>
                <a:off x="9928331" y="3187759"/>
                <a:ext cx="2600545" cy="564191"/>
              </a:xfrm>
              <a:prstGeom prst="rect">
                <a:avLst/>
              </a:prstGeom>
              <a:noFill/>
              <a:ln w="38100">
                <a:noFill/>
              </a:ln>
            </p:spPr>
            <p:txBody>
              <a:bodyPr wrap="square">
                <a:spAutoFit/>
              </a:bodyPr>
              <a:lstStyle>
                <a:defPPr>
                  <a:defRPr lang="en-US"/>
                </a:defPPr>
                <a:lvl1pPr>
                  <a:lnSpc>
                    <a:spcPct val="107000"/>
                  </a:lnSpc>
                  <a:defRPr sz="1200">
                    <a:solidFill>
                      <a:srgbClr val="0000FF"/>
                    </a:solidFill>
                    <a:latin typeface="Consolas" panose="020B0609020204030204" pitchFamily="49" charset="0"/>
                    <a:ea typeface="Calibri" panose="020F0502020204030204" pitchFamily="34" charset="0"/>
                    <a:cs typeface="Consolas" panose="020B0609020204030204" pitchFamily="49" charset="0"/>
                  </a:defRPr>
                </a:lvl1pPr>
              </a:lstStyle>
              <a:p>
                <a:pPr defTabSz="931684"/>
                <a:r>
                  <a:rPr lang="en-US" sz="1399" b="1" dirty="0">
                    <a:solidFill>
                      <a:srgbClr val="494949"/>
                    </a:solidFill>
                  </a:rPr>
                  <a:t>SELECT Name FROM Patients WHERE SSN=@SSN</a:t>
                </a:r>
              </a:p>
            </p:txBody>
          </p:sp>
          <p:sp>
            <p:nvSpPr>
              <p:cNvPr id="127" name="TextBox 126"/>
              <p:cNvSpPr txBox="1"/>
              <p:nvPr/>
            </p:nvSpPr>
            <p:spPr>
              <a:xfrm>
                <a:off x="9864062" y="3779652"/>
                <a:ext cx="2639288" cy="329188"/>
              </a:xfrm>
              <a:prstGeom prst="rect">
                <a:avLst/>
              </a:prstGeom>
              <a:noFill/>
              <a:ln w="38100">
                <a:noFill/>
              </a:ln>
            </p:spPr>
            <p:txBody>
              <a:bodyPr wrap="square">
                <a:spAutoFit/>
              </a:bodyPr>
              <a:lstStyle>
                <a:defPPr>
                  <a:defRPr lang="en-US"/>
                </a:defPPr>
                <a:lvl1pPr>
                  <a:lnSpc>
                    <a:spcPct val="107000"/>
                  </a:lnSpc>
                  <a:defRPr sz="1200">
                    <a:solidFill>
                      <a:srgbClr val="0000FF"/>
                    </a:solidFill>
                    <a:latin typeface="Consolas" panose="020B0609020204030204" pitchFamily="49" charset="0"/>
                    <a:ea typeface="Calibri" panose="020F0502020204030204" pitchFamily="34" charset="0"/>
                    <a:cs typeface="Consolas" panose="020B0609020204030204" pitchFamily="49" charset="0"/>
                  </a:defRPr>
                </a:lvl1pPr>
              </a:lstStyle>
              <a:p>
                <a:pPr algn="ctr" defTabSz="931684"/>
                <a:r>
                  <a:rPr lang="en-US" sz="1399" b="1" dirty="0">
                    <a:solidFill>
                      <a:srgbClr val="C00000"/>
                    </a:solidFill>
                  </a:rPr>
                  <a:t>@SSN='198-33-0987'</a:t>
                </a:r>
              </a:p>
            </p:txBody>
          </p:sp>
        </p:grpSp>
      </p:grpSp>
      <p:grpSp>
        <p:nvGrpSpPr>
          <p:cNvPr id="168" name="Group 167"/>
          <p:cNvGrpSpPr/>
          <p:nvPr/>
        </p:nvGrpSpPr>
        <p:grpSpPr>
          <a:xfrm>
            <a:off x="2129232" y="3674414"/>
            <a:ext cx="1354711" cy="1212479"/>
            <a:chOff x="2160735" y="4203828"/>
            <a:chExt cx="1354904" cy="1212651"/>
          </a:xfrm>
        </p:grpSpPr>
        <p:sp>
          <p:nvSpPr>
            <p:cNvPr id="169" name="Rectangle 168"/>
            <p:cNvSpPr/>
            <p:nvPr/>
          </p:nvSpPr>
          <p:spPr bwMode="auto">
            <a:xfrm>
              <a:off x="2160735" y="4203828"/>
              <a:ext cx="1249308" cy="47682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8" rIns="0" bIns="47558" numCol="1" rtlCol="0" anchor="b" anchorCtr="0" compatLnSpc="1">
              <a:prstTxWarp prst="textNoShape">
                <a:avLst/>
              </a:prstTxWarp>
            </a:bodyPr>
            <a:lstStyle/>
            <a:p>
              <a:pPr defTabSz="950846"/>
              <a:r>
                <a:rPr lang="en-US" sz="1599" dirty="0">
                  <a:solidFill>
                    <a:srgbClr val="FF8C00"/>
                  </a:solidFill>
                  <a:cs typeface="Segoe UI Light" panose="020B0502040204020203" pitchFamily="34" charset="0"/>
                </a:rPr>
                <a:t>Result Set</a:t>
              </a:r>
            </a:p>
          </p:txBody>
        </p:sp>
        <p:grpSp>
          <p:nvGrpSpPr>
            <p:cNvPr id="170" name="Group 169"/>
            <p:cNvGrpSpPr/>
            <p:nvPr/>
          </p:nvGrpSpPr>
          <p:grpSpPr>
            <a:xfrm>
              <a:off x="2170701" y="4637065"/>
              <a:ext cx="1344938" cy="779414"/>
              <a:chOff x="9377352" y="4752525"/>
              <a:chExt cx="1492723" cy="569315"/>
            </a:xfrm>
          </p:grpSpPr>
          <p:sp>
            <p:nvSpPr>
              <p:cNvPr id="171" name="Rectangle 170"/>
              <p:cNvSpPr/>
              <p:nvPr/>
            </p:nvSpPr>
            <p:spPr bwMode="auto">
              <a:xfrm>
                <a:off x="9377352" y="5037183"/>
                <a:ext cx="1492723" cy="284657"/>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54856" rIns="91427" bIns="146283" numCol="1" spcCol="0" rtlCol="0" fromWordArt="0" anchor="t" anchorCtr="0" forceAA="0" compatLnSpc="1">
                <a:prstTxWarp prst="textNoShape">
                  <a:avLst/>
                </a:prstTxWarp>
                <a:noAutofit/>
              </a:bodyPr>
              <a:lstStyle/>
              <a:p>
                <a:pPr defTabSz="931684"/>
                <a:r>
                  <a:rPr lang="en-US" sz="1800" dirty="0">
                    <a:solidFill>
                      <a:srgbClr val="000000"/>
                    </a:solidFill>
                  </a:rPr>
                  <a:t>Jim Gray</a:t>
                </a:r>
              </a:p>
            </p:txBody>
          </p:sp>
          <p:sp>
            <p:nvSpPr>
              <p:cNvPr id="172" name="Rectangle 171"/>
              <p:cNvSpPr/>
              <p:nvPr/>
            </p:nvSpPr>
            <p:spPr bwMode="auto">
              <a:xfrm>
                <a:off x="9377352" y="4752525"/>
                <a:ext cx="1492723" cy="284657"/>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73142" rIns="0" bIns="146283" numCol="1" spcCol="0" rtlCol="0" fromWordArt="0" anchor="t" anchorCtr="0" forceAA="0" compatLnSpc="1">
                <a:prstTxWarp prst="textNoShape">
                  <a:avLst/>
                </a:prstTxWarp>
                <a:noAutofit/>
              </a:bodyPr>
              <a:lstStyle/>
              <a:p>
                <a:pPr defTabSz="932384" fontAlgn="auto">
                  <a:spcBef>
                    <a:spcPts val="0"/>
                  </a:spcBef>
                  <a:spcAft>
                    <a:spcPts val="0"/>
                  </a:spcAft>
                </a:pPr>
                <a:r>
                  <a:rPr lang="en-US" sz="1599" dirty="0">
                    <a:solidFill>
                      <a:srgbClr val="FFFFFF"/>
                    </a:solidFill>
                    <a:latin typeface="Segoe UI Semibold" panose="020B0702040204020203" pitchFamily="34" charset="0"/>
                    <a:cs typeface="Segoe UI Semibold" panose="020B0702040204020203" pitchFamily="34" charset="0"/>
                  </a:rPr>
                  <a:t>Name</a:t>
                </a:r>
              </a:p>
            </p:txBody>
          </p:sp>
        </p:grpSp>
      </p:grpSp>
      <p:grpSp>
        <p:nvGrpSpPr>
          <p:cNvPr id="3" name="Group 2"/>
          <p:cNvGrpSpPr/>
          <p:nvPr/>
        </p:nvGrpSpPr>
        <p:grpSpPr>
          <a:xfrm>
            <a:off x="7833540" y="1824570"/>
            <a:ext cx="3660562" cy="1828416"/>
            <a:chOff x="7716442" y="1824332"/>
            <a:chExt cx="3661081" cy="1828675"/>
          </a:xfrm>
        </p:grpSpPr>
        <p:grpSp>
          <p:nvGrpSpPr>
            <p:cNvPr id="43" name="Group 42"/>
            <p:cNvGrpSpPr/>
            <p:nvPr/>
          </p:nvGrpSpPr>
          <p:grpSpPr>
            <a:xfrm>
              <a:off x="8160734" y="1824332"/>
              <a:ext cx="3216789" cy="988873"/>
              <a:chOff x="8160734" y="1824332"/>
              <a:chExt cx="3216789" cy="988873"/>
            </a:xfrm>
          </p:grpSpPr>
          <p:grpSp>
            <p:nvGrpSpPr>
              <p:cNvPr id="23" name="Group 22"/>
              <p:cNvGrpSpPr/>
              <p:nvPr/>
            </p:nvGrpSpPr>
            <p:grpSpPr>
              <a:xfrm>
                <a:off x="8680721" y="1824332"/>
                <a:ext cx="2696802" cy="988873"/>
                <a:chOff x="8490581" y="1954958"/>
                <a:chExt cx="2696802" cy="988873"/>
              </a:xfrm>
            </p:grpSpPr>
            <p:sp>
              <p:nvSpPr>
                <p:cNvPr id="6" name="Rectangle 5"/>
                <p:cNvSpPr/>
                <p:nvPr/>
              </p:nvSpPr>
              <p:spPr bwMode="auto">
                <a:xfrm>
                  <a:off x="8578406" y="1954958"/>
                  <a:ext cx="2474220" cy="988873"/>
                </a:xfrm>
                <a:prstGeom prst="rect">
                  <a:avLst/>
                </a:prstGeom>
                <a:solidFill>
                  <a:schemeClr val="bg1"/>
                </a:solidFill>
                <a:ln w="15875">
                  <a:solidFill>
                    <a:srgbClr val="C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342834" indent="-342834" algn="ctr" defTabSz="932293">
                    <a:lnSpc>
                      <a:spcPct val="90000"/>
                    </a:lnSpc>
                    <a:buFont typeface="Wingdings 3" panose="05040102010807070707" pitchFamily="18" charset="2"/>
                    <a:buChar char="Æ"/>
                  </a:pPr>
                  <a:endParaRPr lang="en-US" sz="2000" b="1" dirty="0" err="1">
                    <a:solidFill>
                      <a:srgbClr val="FFFFFF"/>
                    </a:solidFill>
                    <a:latin typeface="Segoe UI Light"/>
                    <a:ea typeface="Segoe UI" pitchFamily="34" charset="0"/>
                    <a:cs typeface="Segoe UI" pitchFamily="34" charset="0"/>
                  </a:endParaRPr>
                </a:p>
              </p:txBody>
            </p:sp>
            <p:sp>
              <p:nvSpPr>
                <p:cNvPr id="121" name="TextBox 120"/>
                <p:cNvSpPr txBox="1"/>
                <p:nvPr/>
              </p:nvSpPr>
              <p:spPr>
                <a:xfrm>
                  <a:off x="8586838" y="1981267"/>
                  <a:ext cx="2600545" cy="564191"/>
                </a:xfrm>
                <a:prstGeom prst="rect">
                  <a:avLst/>
                </a:prstGeom>
                <a:noFill/>
                <a:ln w="38100">
                  <a:noFill/>
                </a:ln>
              </p:spPr>
              <p:txBody>
                <a:bodyPr wrap="square">
                  <a:spAutoFit/>
                </a:bodyPr>
                <a:lstStyle>
                  <a:defPPr>
                    <a:defRPr lang="en-US"/>
                  </a:defPPr>
                  <a:lvl1pPr>
                    <a:lnSpc>
                      <a:spcPct val="107000"/>
                    </a:lnSpc>
                    <a:defRPr sz="1200">
                      <a:solidFill>
                        <a:srgbClr val="0000FF"/>
                      </a:solidFill>
                      <a:latin typeface="Consolas" panose="020B0609020204030204" pitchFamily="49" charset="0"/>
                      <a:ea typeface="Calibri" panose="020F0502020204030204" pitchFamily="34" charset="0"/>
                      <a:cs typeface="Consolas" panose="020B0609020204030204" pitchFamily="49" charset="0"/>
                    </a:defRPr>
                  </a:lvl1pPr>
                </a:lstStyle>
                <a:p>
                  <a:pPr defTabSz="931684"/>
                  <a:r>
                    <a:rPr lang="en-US" sz="1399" b="1" dirty="0">
                      <a:solidFill>
                        <a:srgbClr val="494949"/>
                      </a:solidFill>
                    </a:rPr>
                    <a:t>SELECT Name FROM Patients WHERE SSN=@SSN</a:t>
                  </a:r>
                </a:p>
              </p:txBody>
            </p:sp>
            <p:sp>
              <p:nvSpPr>
                <p:cNvPr id="122" name="TextBox 121"/>
                <p:cNvSpPr txBox="1"/>
                <p:nvPr/>
              </p:nvSpPr>
              <p:spPr>
                <a:xfrm>
                  <a:off x="8490581" y="2592327"/>
                  <a:ext cx="2639288" cy="329188"/>
                </a:xfrm>
                <a:prstGeom prst="rect">
                  <a:avLst/>
                </a:prstGeom>
                <a:noFill/>
                <a:ln w="38100">
                  <a:noFill/>
                </a:ln>
              </p:spPr>
              <p:txBody>
                <a:bodyPr wrap="square">
                  <a:spAutoFit/>
                </a:bodyPr>
                <a:lstStyle>
                  <a:defPPr>
                    <a:defRPr lang="en-US"/>
                  </a:defPPr>
                  <a:lvl1pPr>
                    <a:lnSpc>
                      <a:spcPct val="107000"/>
                    </a:lnSpc>
                    <a:defRPr sz="1200">
                      <a:solidFill>
                        <a:srgbClr val="0000FF"/>
                      </a:solidFill>
                      <a:latin typeface="Consolas" panose="020B0609020204030204" pitchFamily="49" charset="0"/>
                      <a:ea typeface="Calibri" panose="020F0502020204030204" pitchFamily="34" charset="0"/>
                      <a:cs typeface="Consolas" panose="020B0609020204030204" pitchFamily="49" charset="0"/>
                    </a:defRPr>
                  </a:lvl1pPr>
                </a:lstStyle>
                <a:p>
                  <a:pPr algn="ctr" defTabSz="931684"/>
                  <a:r>
                    <a:rPr lang="en-US" sz="1399" b="1" dirty="0">
                      <a:solidFill>
                        <a:srgbClr val="C00000"/>
                      </a:solidFill>
                    </a:rPr>
                    <a:t>@SSN=</a:t>
                  </a:r>
                  <a:r>
                    <a:rPr lang="en-US" sz="1399" dirty="0"/>
                    <a:t>0x7ff654ae6d</a:t>
                  </a:r>
                </a:p>
              </p:txBody>
            </p:sp>
          </p:grpSp>
          <p:grpSp>
            <p:nvGrpSpPr>
              <p:cNvPr id="7" name="Group 6"/>
              <p:cNvGrpSpPr/>
              <p:nvPr/>
            </p:nvGrpSpPr>
            <p:grpSpPr>
              <a:xfrm>
                <a:off x="8160734" y="2257288"/>
                <a:ext cx="554906" cy="334577"/>
                <a:chOff x="8146220" y="2387914"/>
                <a:chExt cx="554906" cy="334577"/>
              </a:xfrm>
            </p:grpSpPr>
            <p:cxnSp>
              <p:nvCxnSpPr>
                <p:cNvPr id="81" name="Straight Connector 80"/>
                <p:cNvCxnSpPr/>
                <p:nvPr/>
              </p:nvCxnSpPr>
              <p:spPr>
                <a:xfrm rot="5400000">
                  <a:off x="8423673" y="2110461"/>
                  <a:ext cx="0" cy="554906"/>
                </a:xfrm>
                <a:prstGeom prst="line">
                  <a:avLst/>
                </a:prstGeom>
                <a:ln w="15875">
                  <a:solidFill>
                    <a:srgbClr val="C00000"/>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8152579" y="2398496"/>
                  <a:ext cx="0" cy="323995"/>
                </a:xfrm>
                <a:prstGeom prst="line">
                  <a:avLst/>
                </a:prstGeom>
                <a:ln w="15875">
                  <a:solidFill>
                    <a:srgbClr val="C00000"/>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123" name="Oval 122"/>
            <p:cNvSpPr>
              <a:spLocks noChangeArrowheads="1"/>
            </p:cNvSpPr>
            <p:nvPr/>
          </p:nvSpPr>
          <p:spPr bwMode="auto">
            <a:xfrm>
              <a:off x="7730521" y="2584312"/>
              <a:ext cx="794803" cy="151025"/>
            </a:xfrm>
            <a:prstGeom prst="ellipse">
              <a:avLst/>
            </a:pr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418" fontAlgn="auto">
                <a:spcBef>
                  <a:spcPts val="0"/>
                </a:spcBef>
                <a:spcAft>
                  <a:spcPts val="0"/>
                </a:spcAft>
                <a:defRPr/>
              </a:pPr>
              <a:endParaRPr lang="en-US" sz="1800" kern="0">
                <a:solidFill>
                  <a:srgbClr val="FFFFFF"/>
                </a:solidFill>
                <a:latin typeface="Segoe UI"/>
                <a:cs typeface="+mn-cs"/>
              </a:endParaRPr>
            </a:p>
          </p:txBody>
        </p:sp>
        <p:sp>
          <p:nvSpPr>
            <p:cNvPr id="126" name="Freeform 123"/>
            <p:cNvSpPr>
              <a:spLocks noEditPoints="1"/>
            </p:cNvSpPr>
            <p:nvPr/>
          </p:nvSpPr>
          <p:spPr bwMode="auto">
            <a:xfrm>
              <a:off x="7716442" y="2689264"/>
              <a:ext cx="822960" cy="963743"/>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418" fontAlgn="auto">
                <a:spcBef>
                  <a:spcPts val="0"/>
                </a:spcBef>
                <a:spcAft>
                  <a:spcPts val="0"/>
                </a:spcAft>
                <a:defRPr/>
              </a:pPr>
              <a:endParaRPr lang="en-US" sz="1800" kern="0">
                <a:solidFill>
                  <a:srgbClr val="FFFFFF"/>
                </a:solidFill>
                <a:latin typeface="Segoe UI"/>
                <a:cs typeface="+mn-cs"/>
              </a:endParaRPr>
            </a:p>
          </p:txBody>
        </p:sp>
      </p:grpSp>
      <p:cxnSp>
        <p:nvCxnSpPr>
          <p:cNvPr id="143" name="Straight Connector 142"/>
          <p:cNvCxnSpPr/>
          <p:nvPr/>
        </p:nvCxnSpPr>
        <p:spPr>
          <a:xfrm>
            <a:off x="8257709" y="3715069"/>
            <a:ext cx="6358" cy="995227"/>
          </a:xfrm>
          <a:prstGeom prst="line">
            <a:avLst/>
          </a:prstGeom>
          <a:ln w="15875">
            <a:solidFill>
              <a:srgbClr val="C00000"/>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10" name="Group 9"/>
          <p:cNvGrpSpPr/>
          <p:nvPr/>
        </p:nvGrpSpPr>
        <p:grpSpPr>
          <a:xfrm>
            <a:off x="10005326" y="3563903"/>
            <a:ext cx="1931140" cy="816647"/>
            <a:chOff x="5937924" y="1902840"/>
            <a:chExt cx="1931414" cy="816763"/>
          </a:xfrm>
        </p:grpSpPr>
        <p:sp>
          <p:nvSpPr>
            <p:cNvPr id="98" name="TextBox 97"/>
            <p:cNvSpPr txBox="1"/>
            <p:nvPr/>
          </p:nvSpPr>
          <p:spPr>
            <a:xfrm>
              <a:off x="5937924" y="2276143"/>
              <a:ext cx="1931414" cy="443460"/>
            </a:xfrm>
            <a:prstGeom prst="rect">
              <a:avLst/>
            </a:prstGeom>
            <a:noFill/>
          </p:spPr>
          <p:txBody>
            <a:bodyPr wrap="square" lIns="182828" tIns="146262" rIns="182828" bIns="146262" rtlCol="0">
              <a:noAutofit/>
            </a:bodyPr>
            <a:lstStyle/>
            <a:p>
              <a:pPr algn="r" defTabSz="931505">
                <a:lnSpc>
                  <a:spcPct val="90000"/>
                </a:lnSpc>
                <a:spcAft>
                  <a:spcPts val="600"/>
                </a:spcAft>
              </a:pPr>
              <a:r>
                <a:rPr lang="en-US" sz="1199" dirty="0" smtClean="0">
                  <a:solidFill>
                    <a:srgbClr val="DC3C00"/>
                  </a:solidFill>
                  <a:latin typeface="Segoe UI Semibold" panose="020B0702040204020203" pitchFamily="34" charset="0"/>
                  <a:cs typeface="Segoe UI Semibold" panose="020B0702040204020203" pitchFamily="34" charset="0"/>
                </a:rPr>
                <a:t>Column </a:t>
              </a:r>
              <a:r>
                <a:rPr lang="en-US" sz="1199" dirty="0">
                  <a:solidFill>
                    <a:srgbClr val="DC3C00"/>
                  </a:solidFill>
                  <a:latin typeface="Segoe UI Semibold" panose="020B0702040204020203" pitchFamily="34" charset="0"/>
                  <a:cs typeface="Segoe UI Semibold" panose="020B0702040204020203" pitchFamily="34" charset="0"/>
                </a:rPr>
                <a:t/>
              </a:r>
              <a:br>
                <a:rPr lang="en-US" sz="1199" dirty="0">
                  <a:solidFill>
                    <a:srgbClr val="DC3C00"/>
                  </a:solidFill>
                  <a:latin typeface="Segoe UI Semibold" panose="020B0702040204020203" pitchFamily="34" charset="0"/>
                  <a:cs typeface="Segoe UI Semibold" panose="020B0702040204020203" pitchFamily="34" charset="0"/>
                </a:rPr>
              </a:br>
              <a:r>
                <a:rPr lang="en-US" sz="1199" dirty="0" smtClean="0">
                  <a:solidFill>
                    <a:srgbClr val="DC3C00"/>
                  </a:solidFill>
                  <a:latin typeface="Segoe UI Semibold" panose="020B0702040204020203" pitchFamily="34" charset="0"/>
                  <a:cs typeface="Segoe UI Semibold" panose="020B0702040204020203" pitchFamily="34" charset="0"/>
                </a:rPr>
                <a:t>Encryption</a:t>
              </a:r>
              <a:r>
                <a:rPr lang="en-US" sz="1199" dirty="0">
                  <a:solidFill>
                    <a:srgbClr val="DC3C00"/>
                  </a:solidFill>
                  <a:latin typeface="Segoe UI Semibold" panose="020B0702040204020203" pitchFamily="34" charset="0"/>
                  <a:cs typeface="Segoe UI Semibold" panose="020B0702040204020203" pitchFamily="34" charset="0"/>
                </a:rPr>
                <a:t/>
              </a:r>
              <a:br>
                <a:rPr lang="en-US" sz="1199" dirty="0">
                  <a:solidFill>
                    <a:srgbClr val="DC3C00"/>
                  </a:solidFill>
                  <a:latin typeface="Segoe UI Semibold" panose="020B0702040204020203" pitchFamily="34" charset="0"/>
                  <a:cs typeface="Segoe UI Semibold" panose="020B0702040204020203" pitchFamily="34" charset="0"/>
                </a:rPr>
              </a:br>
              <a:r>
                <a:rPr lang="en-US" sz="1199" dirty="0" smtClean="0">
                  <a:solidFill>
                    <a:srgbClr val="DC3C00"/>
                  </a:solidFill>
                  <a:latin typeface="Segoe UI Semibold" panose="020B0702040204020203" pitchFamily="34" charset="0"/>
                  <a:cs typeface="Segoe UI Semibold" panose="020B0702040204020203" pitchFamily="34" charset="0"/>
                </a:rPr>
                <a:t>Key</a:t>
              </a:r>
              <a:endParaRPr lang="en-US" sz="1199" dirty="0">
                <a:solidFill>
                  <a:srgbClr val="DC3C00"/>
                </a:solidFill>
                <a:latin typeface="Segoe UI Semibold" panose="020B0702040204020203" pitchFamily="34" charset="0"/>
                <a:cs typeface="Segoe UI Semibold" panose="020B0702040204020203" pitchFamily="34" charset="0"/>
              </a:endParaRPr>
            </a:p>
          </p:txBody>
        </p:sp>
        <p:grpSp>
          <p:nvGrpSpPr>
            <p:cNvPr id="99" name="Group 98"/>
            <p:cNvGrpSpPr>
              <a:grpSpLocks noChangeAspect="1"/>
            </p:cNvGrpSpPr>
            <p:nvPr/>
          </p:nvGrpSpPr>
          <p:grpSpPr>
            <a:xfrm>
              <a:off x="7322743" y="1902840"/>
              <a:ext cx="355753" cy="457200"/>
              <a:chOff x="551587" y="3970765"/>
              <a:chExt cx="432008" cy="555201"/>
            </a:xfrm>
          </p:grpSpPr>
          <p:sp>
            <p:nvSpPr>
              <p:cNvPr id="100" name="Rectangle 74"/>
              <p:cNvSpPr/>
              <p:nvPr>
                <p:custDataLst>
                  <p:tags r:id="rId2"/>
                </p:custDataLst>
              </p:nvPr>
            </p:nvSpPr>
            <p:spPr>
              <a:xfrm>
                <a:off x="551587" y="3970765"/>
                <a:ext cx="432008" cy="555201"/>
              </a:xfrm>
              <a:custGeom>
                <a:avLst/>
                <a:gdLst/>
                <a:ahLst/>
                <a:cxnLst/>
                <a:rect l="l" t="t" r="r" b="b"/>
                <a:pathLst>
                  <a:path w="93101" h="119655">
                    <a:moveTo>
                      <a:pt x="46888" y="61255"/>
                    </a:moveTo>
                    <a:cubicBezTo>
                      <a:pt x="40157" y="61255"/>
                      <a:pt x="34700" y="66712"/>
                      <a:pt x="34700" y="73443"/>
                    </a:cubicBezTo>
                    <a:cubicBezTo>
                      <a:pt x="34700" y="78113"/>
                      <a:pt x="37327" y="82169"/>
                      <a:pt x="41596" y="83438"/>
                    </a:cubicBezTo>
                    <a:lnTo>
                      <a:pt x="38933" y="104741"/>
                    </a:lnTo>
                    <a:lnTo>
                      <a:pt x="55183" y="104741"/>
                    </a:lnTo>
                    <a:lnTo>
                      <a:pt x="52504" y="83305"/>
                    </a:lnTo>
                    <a:cubicBezTo>
                      <a:pt x="56597" y="81937"/>
                      <a:pt x="59076" y="77980"/>
                      <a:pt x="59076" y="73443"/>
                    </a:cubicBezTo>
                    <a:cubicBezTo>
                      <a:pt x="59076" y="66712"/>
                      <a:pt x="53619" y="61255"/>
                      <a:pt x="46888" y="61255"/>
                    </a:cubicBezTo>
                    <a:close/>
                    <a:moveTo>
                      <a:pt x="47468" y="17532"/>
                    </a:moveTo>
                    <a:cubicBezTo>
                      <a:pt x="43681" y="17333"/>
                      <a:pt x="39830" y="18360"/>
                      <a:pt x="36547" y="20648"/>
                    </a:cubicBezTo>
                    <a:cubicBezTo>
                      <a:pt x="29978" y="25222"/>
                      <a:pt x="27348" y="33667"/>
                      <a:pt x="30159" y="41162"/>
                    </a:cubicBezTo>
                    <a:lnTo>
                      <a:pt x="29615" y="41365"/>
                    </a:lnTo>
                    <a:lnTo>
                      <a:pt x="62407" y="41365"/>
                    </a:lnTo>
                    <a:cubicBezTo>
                      <a:pt x="65562" y="34644"/>
                      <a:pt x="63689" y="26692"/>
                      <a:pt x="58003" y="21774"/>
                    </a:cubicBezTo>
                    <a:cubicBezTo>
                      <a:pt x="54976" y="19155"/>
                      <a:pt x="51254" y="17730"/>
                      <a:pt x="47468" y="17532"/>
                    </a:cubicBezTo>
                    <a:close/>
                    <a:moveTo>
                      <a:pt x="48385" y="49"/>
                    </a:moveTo>
                    <a:cubicBezTo>
                      <a:pt x="55959" y="446"/>
                      <a:pt x="63402" y="3297"/>
                      <a:pt x="69456" y="8533"/>
                    </a:cubicBezTo>
                    <a:cubicBezTo>
                      <a:pt x="79598" y="17305"/>
                      <a:pt x="83675" y="30904"/>
                      <a:pt x="78885" y="43093"/>
                    </a:cubicBezTo>
                    <a:cubicBezTo>
                      <a:pt x="87177" y="43906"/>
                      <a:pt x="93101" y="51139"/>
                      <a:pt x="93101" y="59752"/>
                    </a:cubicBezTo>
                    <a:lnTo>
                      <a:pt x="93101" y="119654"/>
                    </a:lnTo>
                    <a:lnTo>
                      <a:pt x="0" y="119655"/>
                    </a:lnTo>
                    <a:lnTo>
                      <a:pt x="0" y="59752"/>
                    </a:lnTo>
                    <a:cubicBezTo>
                      <a:pt x="0" y="51365"/>
                      <a:pt x="5617" y="44289"/>
                      <a:pt x="13654" y="43326"/>
                    </a:cubicBezTo>
                    <a:cubicBezTo>
                      <a:pt x="9060" y="29605"/>
                      <a:pt x="14482" y="14678"/>
                      <a:pt x="26544" y="6281"/>
                    </a:cubicBezTo>
                    <a:cubicBezTo>
                      <a:pt x="33111" y="1706"/>
                      <a:pt x="40813" y="-348"/>
                      <a:pt x="48385" y="49"/>
                    </a:cubicBezTo>
                    <a:close/>
                  </a:path>
                </a:pathLst>
              </a:custGeom>
              <a:solidFill>
                <a:schemeClr val="accent4"/>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505"/>
                <a:endParaRPr lang="en-US">
                  <a:solidFill>
                    <a:srgbClr val="FFFFFF"/>
                  </a:solidFill>
                </a:endParaRPr>
              </a:p>
            </p:txBody>
          </p:sp>
          <p:sp>
            <p:nvSpPr>
              <p:cNvPr id="101" name="Freeform 100"/>
              <p:cNvSpPr/>
              <p:nvPr/>
            </p:nvSpPr>
            <p:spPr bwMode="auto">
              <a:xfrm flipH="1">
                <a:off x="563639" y="4188578"/>
                <a:ext cx="328348" cy="325991"/>
              </a:xfrm>
              <a:custGeom>
                <a:avLst/>
                <a:gdLst>
                  <a:gd name="connsiteX0" fmla="*/ 2002754 w 2055898"/>
                  <a:gd name="connsiteY0" fmla="*/ 0 h 2145774"/>
                  <a:gd name="connsiteX1" fmla="*/ 1643743 w 2055898"/>
                  <a:gd name="connsiteY1" fmla="*/ 0 h 2145774"/>
                  <a:gd name="connsiteX2" fmla="*/ 1080505 w 2055898"/>
                  <a:gd name="connsiteY2" fmla="*/ 0 h 2145774"/>
                  <a:gd name="connsiteX3" fmla="*/ 1028538 w 2055898"/>
                  <a:gd name="connsiteY3" fmla="*/ 0 h 2145774"/>
                  <a:gd name="connsiteX4" fmla="*/ 1027360 w 2055898"/>
                  <a:gd name="connsiteY4" fmla="*/ 0 h 2145774"/>
                  <a:gd name="connsiteX5" fmla="*/ 975393 w 2055898"/>
                  <a:gd name="connsiteY5" fmla="*/ 0 h 2145774"/>
                  <a:gd name="connsiteX6" fmla="*/ 412155 w 2055898"/>
                  <a:gd name="connsiteY6" fmla="*/ 0 h 2145774"/>
                  <a:gd name="connsiteX7" fmla="*/ 53144 w 2055898"/>
                  <a:gd name="connsiteY7" fmla="*/ 0 h 2145774"/>
                  <a:gd name="connsiteX8" fmla="*/ 0 w 2055898"/>
                  <a:gd name="connsiteY8" fmla="*/ 53253 h 2145774"/>
                  <a:gd name="connsiteX9" fmla="*/ 0 w 2055898"/>
                  <a:gd name="connsiteY9" fmla="*/ 114342 h 2145774"/>
                  <a:gd name="connsiteX10" fmla="*/ 1781759 w 2055898"/>
                  <a:gd name="connsiteY10" fmla="*/ 2145774 h 2145774"/>
                  <a:gd name="connsiteX11" fmla="*/ 2055898 w 2055898"/>
                  <a:gd name="connsiteY11" fmla="*/ 2145774 h 2145774"/>
                  <a:gd name="connsiteX12" fmla="*/ 2055898 w 2055898"/>
                  <a:gd name="connsiteY12" fmla="*/ 1119360 h 2145774"/>
                  <a:gd name="connsiteX13" fmla="*/ 2055898 w 2055898"/>
                  <a:gd name="connsiteY13" fmla="*/ 1079667 h 2145774"/>
                  <a:gd name="connsiteX14" fmla="*/ 2055898 w 2055898"/>
                  <a:gd name="connsiteY14" fmla="*/ 53253 h 2145774"/>
                  <a:gd name="connsiteX15" fmla="*/ 2002754 w 2055898"/>
                  <a:gd name="connsiteY15" fmla="*/ 0 h 2145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55898" h="2145774">
                    <a:moveTo>
                      <a:pt x="2002754" y="0"/>
                    </a:moveTo>
                    <a:lnTo>
                      <a:pt x="1643743" y="0"/>
                    </a:lnTo>
                    <a:lnTo>
                      <a:pt x="1080505" y="0"/>
                    </a:lnTo>
                    <a:lnTo>
                      <a:pt x="1028538" y="0"/>
                    </a:lnTo>
                    <a:lnTo>
                      <a:pt x="1027360" y="0"/>
                    </a:lnTo>
                    <a:lnTo>
                      <a:pt x="975393" y="0"/>
                    </a:lnTo>
                    <a:lnTo>
                      <a:pt x="412155" y="0"/>
                    </a:lnTo>
                    <a:lnTo>
                      <a:pt x="53144" y="0"/>
                    </a:lnTo>
                    <a:cubicBezTo>
                      <a:pt x="23793" y="0"/>
                      <a:pt x="0" y="23842"/>
                      <a:pt x="0" y="53253"/>
                    </a:cubicBezTo>
                    <a:lnTo>
                      <a:pt x="0" y="114342"/>
                    </a:lnTo>
                    <a:lnTo>
                      <a:pt x="1781759" y="2145774"/>
                    </a:lnTo>
                    <a:lnTo>
                      <a:pt x="2055898" y="2145774"/>
                    </a:lnTo>
                    <a:lnTo>
                      <a:pt x="2055898" y="1119360"/>
                    </a:lnTo>
                    <a:lnTo>
                      <a:pt x="2055898" y="1079667"/>
                    </a:lnTo>
                    <a:lnTo>
                      <a:pt x="2055898" y="53253"/>
                    </a:lnTo>
                    <a:cubicBezTo>
                      <a:pt x="2055898" y="23842"/>
                      <a:pt x="2032105" y="0"/>
                      <a:pt x="2002754" y="0"/>
                    </a:cubicBezTo>
                    <a:close/>
                  </a:path>
                </a:pathLst>
              </a:custGeom>
              <a:solidFill>
                <a:schemeClr val="bg1">
                  <a:alpha val="2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342768" indent="-342768" algn="ctr" defTabSz="932114">
                  <a:lnSpc>
                    <a:spcPct val="90000"/>
                  </a:lnSpc>
                  <a:buFont typeface="Wingdings 3" panose="05040102010807070707" pitchFamily="18" charset="2"/>
                  <a:buChar char="Æ"/>
                </a:pPr>
                <a:endParaRPr lang="en-IN" sz="2000" b="1" dirty="0" err="1">
                  <a:solidFill>
                    <a:srgbClr val="FFFFFF"/>
                  </a:solidFill>
                  <a:latin typeface="Segoe UI Light"/>
                  <a:ea typeface="Segoe UI" pitchFamily="34" charset="0"/>
                  <a:cs typeface="Segoe UI" pitchFamily="34" charset="0"/>
                </a:endParaRPr>
              </a:p>
            </p:txBody>
          </p:sp>
        </p:grpSp>
      </p:grpSp>
      <p:grpSp>
        <p:nvGrpSpPr>
          <p:cNvPr id="12" name="Group 11"/>
          <p:cNvGrpSpPr/>
          <p:nvPr/>
        </p:nvGrpSpPr>
        <p:grpSpPr>
          <a:xfrm rot="10800000">
            <a:off x="5834861" y="3880653"/>
            <a:ext cx="2159368" cy="1195510"/>
            <a:chOff x="5615466" y="5068441"/>
            <a:chExt cx="2159368" cy="1195510"/>
          </a:xfrm>
        </p:grpSpPr>
        <p:cxnSp>
          <p:nvCxnSpPr>
            <p:cNvPr id="152" name="Straight Connector 151"/>
            <p:cNvCxnSpPr/>
            <p:nvPr/>
          </p:nvCxnSpPr>
          <p:spPr>
            <a:xfrm rot="10800000">
              <a:off x="7774834" y="5076321"/>
              <a:ext cx="0" cy="1187630"/>
            </a:xfrm>
            <a:prstGeom prst="line">
              <a:avLst/>
            </a:prstGeom>
            <a:ln w="15875">
              <a:solidFill>
                <a:srgbClr val="C00000"/>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53" name="Straight Connector 152"/>
            <p:cNvCxnSpPr/>
            <p:nvPr/>
          </p:nvCxnSpPr>
          <p:spPr>
            <a:xfrm rot="10800000">
              <a:off x="5615466" y="5068441"/>
              <a:ext cx="2159368" cy="1"/>
            </a:xfrm>
            <a:prstGeom prst="line">
              <a:avLst/>
            </a:prstGeom>
            <a:ln w="15875">
              <a:solidFill>
                <a:srgbClr val="C00000"/>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 name="Group 3"/>
          <p:cNvGrpSpPr/>
          <p:nvPr/>
        </p:nvGrpSpPr>
        <p:grpSpPr>
          <a:xfrm>
            <a:off x="5176644" y="2649107"/>
            <a:ext cx="1331574" cy="1518331"/>
            <a:chOff x="5176644" y="2649107"/>
            <a:chExt cx="1331574" cy="1518331"/>
          </a:xfrm>
        </p:grpSpPr>
        <p:grpSp>
          <p:nvGrpSpPr>
            <p:cNvPr id="69" name="Group 68"/>
            <p:cNvGrpSpPr/>
            <p:nvPr/>
          </p:nvGrpSpPr>
          <p:grpSpPr>
            <a:xfrm>
              <a:off x="5178445" y="2649107"/>
              <a:ext cx="1329773" cy="1518331"/>
              <a:chOff x="2280648" y="3221298"/>
              <a:chExt cx="1604158" cy="1831631"/>
            </a:xfrm>
          </p:grpSpPr>
          <p:sp>
            <p:nvSpPr>
              <p:cNvPr id="97" name="Rectangle 96"/>
              <p:cNvSpPr/>
              <p:nvPr/>
            </p:nvSpPr>
            <p:spPr bwMode="auto">
              <a:xfrm>
                <a:off x="2280648" y="3714445"/>
                <a:ext cx="1035562" cy="1338484"/>
              </a:xfrm>
              <a:prstGeom prst="rect">
                <a:avLst/>
              </a:prstGeom>
              <a:solidFill>
                <a:srgbClr val="611C1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342768" indent="-342768" algn="ctr" defTabSz="932114">
                  <a:lnSpc>
                    <a:spcPct val="90000"/>
                  </a:lnSpc>
                  <a:buFont typeface="Wingdings 3" panose="05040102010807070707" pitchFamily="18" charset="2"/>
                  <a:buChar char="Æ"/>
                </a:pPr>
                <a:endParaRPr lang="en-IN" sz="2000" b="1" dirty="0" err="1">
                  <a:solidFill>
                    <a:srgbClr val="FFFFFF"/>
                  </a:solidFill>
                  <a:latin typeface="Segoe UI Light"/>
                  <a:ea typeface="Segoe UI" pitchFamily="34" charset="0"/>
                  <a:cs typeface="Segoe UI" pitchFamily="34" charset="0"/>
                </a:endParaRPr>
              </a:p>
            </p:txBody>
          </p:sp>
          <p:sp>
            <p:nvSpPr>
              <p:cNvPr id="107" name="Rectangle 106"/>
              <p:cNvSpPr/>
              <p:nvPr/>
            </p:nvSpPr>
            <p:spPr bwMode="auto">
              <a:xfrm>
                <a:off x="2846287" y="3714445"/>
                <a:ext cx="1038519" cy="1338483"/>
              </a:xfrm>
              <a:prstGeom prst="rect">
                <a:avLst/>
              </a:prstGeom>
              <a:solidFill>
                <a:srgbClr val="611C1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342768" indent="-342768" algn="ctr" defTabSz="932114">
                  <a:lnSpc>
                    <a:spcPct val="90000"/>
                  </a:lnSpc>
                  <a:buFont typeface="Wingdings 3" panose="05040102010807070707" pitchFamily="18" charset="2"/>
                  <a:buChar char="Æ"/>
                </a:pPr>
                <a:endParaRPr lang="en-IN" sz="2000" b="1" dirty="0" err="1">
                  <a:solidFill>
                    <a:srgbClr val="FFFFFF"/>
                  </a:solidFill>
                  <a:latin typeface="Segoe UI Light"/>
                  <a:ea typeface="Segoe UI" pitchFamily="34" charset="0"/>
                  <a:cs typeface="Segoe UI" pitchFamily="34" charset="0"/>
                </a:endParaRPr>
              </a:p>
            </p:txBody>
          </p:sp>
          <p:grpSp>
            <p:nvGrpSpPr>
              <p:cNvPr id="109" name="Group 108"/>
              <p:cNvGrpSpPr/>
              <p:nvPr/>
            </p:nvGrpSpPr>
            <p:grpSpPr>
              <a:xfrm>
                <a:off x="2987875" y="4362404"/>
                <a:ext cx="170804" cy="345682"/>
                <a:chOff x="4663818" y="4990741"/>
                <a:chExt cx="144934" cy="293326"/>
              </a:xfrm>
            </p:grpSpPr>
            <p:sp>
              <p:nvSpPr>
                <p:cNvPr id="111" name="Rounded Rectangle 110"/>
                <p:cNvSpPr/>
                <p:nvPr/>
              </p:nvSpPr>
              <p:spPr bwMode="auto">
                <a:xfrm>
                  <a:off x="4663818" y="4990741"/>
                  <a:ext cx="144934" cy="293326"/>
                </a:xfrm>
                <a:prstGeom prst="round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342768" indent="-342768" algn="ctr" defTabSz="932114">
                    <a:lnSpc>
                      <a:spcPct val="90000"/>
                    </a:lnSpc>
                    <a:buFont typeface="Wingdings 3" panose="05040102010807070707" pitchFamily="18" charset="2"/>
                    <a:buChar char="Æ"/>
                  </a:pPr>
                  <a:endParaRPr lang="en-IN" sz="2000" b="1" dirty="0" err="1">
                    <a:solidFill>
                      <a:srgbClr val="FFFFFF"/>
                    </a:solidFill>
                    <a:latin typeface="Segoe UI Light"/>
                    <a:ea typeface="Segoe UI" pitchFamily="34" charset="0"/>
                    <a:cs typeface="Segoe UI" pitchFamily="34" charset="0"/>
                  </a:endParaRPr>
                </a:p>
              </p:txBody>
            </p:sp>
            <p:sp>
              <p:nvSpPr>
                <p:cNvPr id="113" name="Rounded Rectangle 112"/>
                <p:cNvSpPr/>
                <p:nvPr/>
              </p:nvSpPr>
              <p:spPr bwMode="auto">
                <a:xfrm>
                  <a:off x="4704753" y="5109315"/>
                  <a:ext cx="63064" cy="150479"/>
                </a:xfrm>
                <a:prstGeom prst="roundRect">
                  <a:avLst/>
                </a:prstGeom>
                <a:solidFill>
                  <a:schemeClr val="tx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342768" indent="-342768" algn="ctr" defTabSz="932114">
                    <a:lnSpc>
                      <a:spcPct val="90000"/>
                    </a:lnSpc>
                    <a:buFont typeface="Wingdings 3" panose="05040102010807070707" pitchFamily="18" charset="2"/>
                    <a:buChar char="Æ"/>
                  </a:pPr>
                  <a:endParaRPr lang="en-IN" sz="2000" b="1" dirty="0" err="1">
                    <a:solidFill>
                      <a:srgbClr val="FFFFFF"/>
                    </a:solidFill>
                    <a:latin typeface="Segoe UI Light"/>
                    <a:ea typeface="Segoe UI" pitchFamily="34" charset="0"/>
                    <a:cs typeface="Segoe UI" pitchFamily="34" charset="0"/>
                  </a:endParaRPr>
                </a:p>
              </p:txBody>
            </p:sp>
          </p:grpSp>
          <p:sp>
            <p:nvSpPr>
              <p:cNvPr id="95" name="Freeform 94"/>
              <p:cNvSpPr/>
              <p:nvPr/>
            </p:nvSpPr>
            <p:spPr bwMode="auto">
              <a:xfrm>
                <a:off x="2280648" y="3221298"/>
                <a:ext cx="1030635" cy="1139757"/>
              </a:xfrm>
              <a:custGeom>
                <a:avLst/>
                <a:gdLst>
                  <a:gd name="connsiteX0" fmla="*/ 79459 w 1537818"/>
                  <a:gd name="connsiteY0" fmla="*/ 0 h 1670206"/>
                  <a:gd name="connsiteX1" fmla="*/ 767480 w 1537818"/>
                  <a:gd name="connsiteY1" fmla="*/ 0 h 1670206"/>
                  <a:gd name="connsiteX2" fmla="*/ 1458359 w 1537818"/>
                  <a:gd name="connsiteY2" fmla="*/ 0 h 1670206"/>
                  <a:gd name="connsiteX3" fmla="*/ 1537818 w 1537818"/>
                  <a:gd name="connsiteY3" fmla="*/ 0 h 1670206"/>
                  <a:gd name="connsiteX4" fmla="*/ 1537818 w 1537818"/>
                  <a:gd name="connsiteY4" fmla="*/ 79459 h 1670206"/>
                  <a:gd name="connsiteX5" fmla="*/ 1537818 w 1537818"/>
                  <a:gd name="connsiteY5" fmla="*/ 1670206 h 1670206"/>
                  <a:gd name="connsiteX6" fmla="*/ 767480 w 1537818"/>
                  <a:gd name="connsiteY6" fmla="*/ 1670206 h 1670206"/>
                  <a:gd name="connsiteX7" fmla="*/ 0 w 1537818"/>
                  <a:gd name="connsiteY7" fmla="*/ 1670206 h 1670206"/>
                  <a:gd name="connsiteX8" fmla="*/ 0 w 1537818"/>
                  <a:gd name="connsiteY8" fmla="*/ 79459 h 1670206"/>
                  <a:gd name="connsiteX9" fmla="*/ 79459 w 1537818"/>
                  <a:gd name="connsiteY9" fmla="*/ 0 h 1670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37818" h="1670206">
                    <a:moveTo>
                      <a:pt x="79459" y="0"/>
                    </a:moveTo>
                    <a:lnTo>
                      <a:pt x="767480" y="0"/>
                    </a:lnTo>
                    <a:lnTo>
                      <a:pt x="1458359" y="0"/>
                    </a:lnTo>
                    <a:lnTo>
                      <a:pt x="1537818" y="0"/>
                    </a:lnTo>
                    <a:lnTo>
                      <a:pt x="1537818" y="79459"/>
                    </a:lnTo>
                    <a:lnTo>
                      <a:pt x="1537818" y="1670206"/>
                    </a:lnTo>
                    <a:lnTo>
                      <a:pt x="767480" y="1670206"/>
                    </a:lnTo>
                    <a:lnTo>
                      <a:pt x="0" y="1670206"/>
                    </a:lnTo>
                    <a:lnTo>
                      <a:pt x="0" y="79459"/>
                    </a:lnTo>
                    <a:cubicBezTo>
                      <a:pt x="0" y="35575"/>
                      <a:pt x="35575" y="0"/>
                      <a:pt x="79459" y="0"/>
                    </a:cubicBezTo>
                    <a:close/>
                  </a:path>
                </a:pathLst>
              </a:cu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342768" indent="-342768" algn="ctr" defTabSz="932114">
                  <a:lnSpc>
                    <a:spcPct val="90000"/>
                  </a:lnSpc>
                  <a:buFont typeface="Wingdings 3" panose="05040102010807070707" pitchFamily="18" charset="2"/>
                  <a:buChar char="Æ"/>
                </a:pPr>
                <a:endParaRPr lang="en-IN" sz="2000" b="1" dirty="0" err="1">
                  <a:solidFill>
                    <a:srgbClr val="FFFFFF"/>
                  </a:solidFill>
                  <a:latin typeface="Segoe UI Light"/>
                  <a:ea typeface="Segoe UI" pitchFamily="34" charset="0"/>
                  <a:cs typeface="Segoe UI" pitchFamily="34" charset="0"/>
                </a:endParaRPr>
              </a:p>
            </p:txBody>
          </p:sp>
          <p:sp>
            <p:nvSpPr>
              <p:cNvPr id="96" name="Freeform 95"/>
              <p:cNvSpPr/>
              <p:nvPr/>
            </p:nvSpPr>
            <p:spPr bwMode="auto">
              <a:xfrm>
                <a:off x="2856270" y="3221298"/>
                <a:ext cx="1028536" cy="1139757"/>
              </a:xfrm>
              <a:custGeom>
                <a:avLst/>
                <a:gdLst>
                  <a:gd name="connsiteX0" fmla="*/ 0 w 1537818"/>
                  <a:gd name="connsiteY0" fmla="*/ 0 h 1670206"/>
                  <a:gd name="connsiteX1" fmla="*/ 79459 w 1537818"/>
                  <a:gd name="connsiteY1" fmla="*/ 0 h 1670206"/>
                  <a:gd name="connsiteX2" fmla="*/ 921585 w 1537818"/>
                  <a:gd name="connsiteY2" fmla="*/ 0 h 1670206"/>
                  <a:gd name="connsiteX3" fmla="*/ 1458359 w 1537818"/>
                  <a:gd name="connsiteY3" fmla="*/ 0 h 1670206"/>
                  <a:gd name="connsiteX4" fmla="*/ 1537818 w 1537818"/>
                  <a:gd name="connsiteY4" fmla="*/ 79459 h 1670206"/>
                  <a:gd name="connsiteX5" fmla="*/ 1537818 w 1537818"/>
                  <a:gd name="connsiteY5" fmla="*/ 1670206 h 1670206"/>
                  <a:gd name="connsiteX6" fmla="*/ 921585 w 1537818"/>
                  <a:gd name="connsiteY6" fmla="*/ 1670206 h 1670206"/>
                  <a:gd name="connsiteX7" fmla="*/ 0 w 1537818"/>
                  <a:gd name="connsiteY7" fmla="*/ 1670206 h 1670206"/>
                  <a:gd name="connsiteX8" fmla="*/ 0 w 1537818"/>
                  <a:gd name="connsiteY8" fmla="*/ 79459 h 1670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37818" h="1670206">
                    <a:moveTo>
                      <a:pt x="0" y="0"/>
                    </a:moveTo>
                    <a:lnTo>
                      <a:pt x="79459" y="0"/>
                    </a:lnTo>
                    <a:lnTo>
                      <a:pt x="921585" y="0"/>
                    </a:lnTo>
                    <a:lnTo>
                      <a:pt x="1458359" y="0"/>
                    </a:lnTo>
                    <a:cubicBezTo>
                      <a:pt x="1502243" y="0"/>
                      <a:pt x="1537818" y="35575"/>
                      <a:pt x="1537818" y="79459"/>
                    </a:cubicBezTo>
                    <a:lnTo>
                      <a:pt x="1537818" y="1670206"/>
                    </a:lnTo>
                    <a:lnTo>
                      <a:pt x="921585" y="1670206"/>
                    </a:lnTo>
                    <a:lnTo>
                      <a:pt x="0" y="1670206"/>
                    </a:lnTo>
                    <a:lnTo>
                      <a:pt x="0" y="79459"/>
                    </a:lnTo>
                    <a:close/>
                  </a:path>
                </a:pathLst>
              </a:cu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342768" indent="-342768" algn="ctr" defTabSz="932114">
                  <a:lnSpc>
                    <a:spcPct val="90000"/>
                  </a:lnSpc>
                  <a:buFont typeface="Wingdings 3" panose="05040102010807070707" pitchFamily="18" charset="2"/>
                  <a:buChar char="Æ"/>
                </a:pPr>
                <a:endParaRPr lang="en-IN" sz="2000" b="1" dirty="0" err="1">
                  <a:solidFill>
                    <a:srgbClr val="FFFFFF"/>
                  </a:solidFill>
                  <a:latin typeface="Segoe UI Light"/>
                  <a:ea typeface="Segoe UI" pitchFamily="34" charset="0"/>
                  <a:cs typeface="Segoe UI" pitchFamily="34" charset="0"/>
                </a:endParaRPr>
              </a:p>
            </p:txBody>
          </p:sp>
          <p:sp>
            <p:nvSpPr>
              <p:cNvPr id="106" name="Rectangle 105"/>
              <p:cNvSpPr/>
              <p:nvPr/>
            </p:nvSpPr>
            <p:spPr>
              <a:xfrm>
                <a:off x="2412883" y="3293956"/>
                <a:ext cx="1320788" cy="1021952"/>
              </a:xfrm>
              <a:prstGeom prst="rect">
                <a:avLst/>
              </a:prstGeom>
            </p:spPr>
            <p:txBody>
              <a:bodyPr wrap="none">
                <a:spAutoFit/>
              </a:bodyPr>
              <a:lstStyle/>
              <a:p>
                <a:pPr algn="ctr" defTabSz="931505"/>
                <a:r>
                  <a:rPr lang="en-IN" sz="1599" dirty="0">
                    <a:solidFill>
                      <a:srgbClr val="FFFFFF"/>
                    </a:solidFill>
                    <a:latin typeface="Segoe UI"/>
                    <a:cs typeface="+mn-cs"/>
                  </a:rPr>
                  <a:t>Enhanced</a:t>
                </a:r>
                <a:br>
                  <a:rPr lang="en-IN" sz="1599" dirty="0">
                    <a:solidFill>
                      <a:srgbClr val="FFFFFF"/>
                    </a:solidFill>
                    <a:latin typeface="Segoe UI"/>
                    <a:cs typeface="+mn-cs"/>
                  </a:rPr>
                </a:br>
                <a:r>
                  <a:rPr lang="en-IN" sz="1599" dirty="0">
                    <a:solidFill>
                      <a:srgbClr val="FFFFFF"/>
                    </a:solidFill>
                    <a:latin typeface="Segoe UI"/>
                    <a:cs typeface="+mn-cs"/>
                  </a:rPr>
                  <a:t>ADO.NET </a:t>
                </a:r>
              </a:p>
              <a:p>
                <a:pPr algn="ctr" defTabSz="931505"/>
                <a:r>
                  <a:rPr lang="en-IN" sz="1599" dirty="0">
                    <a:solidFill>
                      <a:srgbClr val="FFFFFF"/>
                    </a:solidFill>
                    <a:latin typeface="Segoe UI"/>
                    <a:cs typeface="+mn-cs"/>
                  </a:rPr>
                  <a:t>Library</a:t>
                </a:r>
              </a:p>
            </p:txBody>
          </p:sp>
        </p:grpSp>
        <p:sp>
          <p:nvSpPr>
            <p:cNvPr id="149" name="Freeform 148"/>
            <p:cNvSpPr/>
            <p:nvPr/>
          </p:nvSpPr>
          <p:spPr bwMode="auto">
            <a:xfrm flipH="1">
              <a:off x="5176644" y="2649107"/>
              <a:ext cx="1316435" cy="1518330"/>
            </a:xfrm>
            <a:custGeom>
              <a:avLst/>
              <a:gdLst>
                <a:gd name="connsiteX0" fmla="*/ 2002754 w 2055898"/>
                <a:gd name="connsiteY0" fmla="*/ 0 h 2145774"/>
                <a:gd name="connsiteX1" fmla="*/ 1643743 w 2055898"/>
                <a:gd name="connsiteY1" fmla="*/ 0 h 2145774"/>
                <a:gd name="connsiteX2" fmla="*/ 1080505 w 2055898"/>
                <a:gd name="connsiteY2" fmla="*/ 0 h 2145774"/>
                <a:gd name="connsiteX3" fmla="*/ 1028538 w 2055898"/>
                <a:gd name="connsiteY3" fmla="*/ 0 h 2145774"/>
                <a:gd name="connsiteX4" fmla="*/ 1027360 w 2055898"/>
                <a:gd name="connsiteY4" fmla="*/ 0 h 2145774"/>
                <a:gd name="connsiteX5" fmla="*/ 975393 w 2055898"/>
                <a:gd name="connsiteY5" fmla="*/ 0 h 2145774"/>
                <a:gd name="connsiteX6" fmla="*/ 412155 w 2055898"/>
                <a:gd name="connsiteY6" fmla="*/ 0 h 2145774"/>
                <a:gd name="connsiteX7" fmla="*/ 53144 w 2055898"/>
                <a:gd name="connsiteY7" fmla="*/ 0 h 2145774"/>
                <a:gd name="connsiteX8" fmla="*/ 0 w 2055898"/>
                <a:gd name="connsiteY8" fmla="*/ 53253 h 2145774"/>
                <a:gd name="connsiteX9" fmla="*/ 0 w 2055898"/>
                <a:gd name="connsiteY9" fmla="*/ 114342 h 2145774"/>
                <a:gd name="connsiteX10" fmla="*/ 1781759 w 2055898"/>
                <a:gd name="connsiteY10" fmla="*/ 2145774 h 2145774"/>
                <a:gd name="connsiteX11" fmla="*/ 2055898 w 2055898"/>
                <a:gd name="connsiteY11" fmla="*/ 2145774 h 2145774"/>
                <a:gd name="connsiteX12" fmla="*/ 2055898 w 2055898"/>
                <a:gd name="connsiteY12" fmla="*/ 1119360 h 2145774"/>
                <a:gd name="connsiteX13" fmla="*/ 2055898 w 2055898"/>
                <a:gd name="connsiteY13" fmla="*/ 1079667 h 2145774"/>
                <a:gd name="connsiteX14" fmla="*/ 2055898 w 2055898"/>
                <a:gd name="connsiteY14" fmla="*/ 53253 h 2145774"/>
                <a:gd name="connsiteX15" fmla="*/ 2002754 w 2055898"/>
                <a:gd name="connsiteY15" fmla="*/ 0 h 2145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55898" h="2145774">
                  <a:moveTo>
                    <a:pt x="2002754" y="0"/>
                  </a:moveTo>
                  <a:lnTo>
                    <a:pt x="1643743" y="0"/>
                  </a:lnTo>
                  <a:lnTo>
                    <a:pt x="1080505" y="0"/>
                  </a:lnTo>
                  <a:lnTo>
                    <a:pt x="1028538" y="0"/>
                  </a:lnTo>
                  <a:lnTo>
                    <a:pt x="1027360" y="0"/>
                  </a:lnTo>
                  <a:lnTo>
                    <a:pt x="975393" y="0"/>
                  </a:lnTo>
                  <a:lnTo>
                    <a:pt x="412155" y="0"/>
                  </a:lnTo>
                  <a:lnTo>
                    <a:pt x="53144" y="0"/>
                  </a:lnTo>
                  <a:cubicBezTo>
                    <a:pt x="23793" y="0"/>
                    <a:pt x="0" y="23842"/>
                    <a:pt x="0" y="53253"/>
                  </a:cubicBezTo>
                  <a:lnTo>
                    <a:pt x="0" y="114342"/>
                  </a:lnTo>
                  <a:lnTo>
                    <a:pt x="1781759" y="2145774"/>
                  </a:lnTo>
                  <a:lnTo>
                    <a:pt x="2055898" y="2145774"/>
                  </a:lnTo>
                  <a:lnTo>
                    <a:pt x="2055898" y="1119360"/>
                  </a:lnTo>
                  <a:lnTo>
                    <a:pt x="2055898" y="1079667"/>
                  </a:lnTo>
                  <a:lnTo>
                    <a:pt x="2055898" y="53253"/>
                  </a:lnTo>
                  <a:cubicBezTo>
                    <a:pt x="2055898" y="23842"/>
                    <a:pt x="2032105" y="0"/>
                    <a:pt x="2002754" y="0"/>
                  </a:cubicBezTo>
                  <a:close/>
                </a:path>
              </a:pathLst>
            </a:custGeom>
            <a:solidFill>
              <a:schemeClr val="bg1">
                <a:alpha val="1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342768" indent="-342768" algn="ctr" defTabSz="932114">
                <a:lnSpc>
                  <a:spcPct val="90000"/>
                </a:lnSpc>
                <a:buFont typeface="Wingdings 3" panose="05040102010807070707" pitchFamily="18" charset="2"/>
                <a:buChar char="Æ"/>
              </a:pPr>
              <a:endParaRPr lang="en-IN" sz="2000" b="1" dirty="0" err="1">
                <a:solidFill>
                  <a:srgbClr val="FFFFFF"/>
                </a:solidFill>
                <a:latin typeface="Segoe UI Light"/>
                <a:ea typeface="Segoe UI" pitchFamily="34" charset="0"/>
                <a:cs typeface="Segoe UI" pitchFamily="34" charset="0"/>
              </a:endParaRPr>
            </a:p>
          </p:txBody>
        </p:sp>
      </p:grpSp>
      <p:grpSp>
        <p:nvGrpSpPr>
          <p:cNvPr id="8" name="Group 7"/>
          <p:cNvGrpSpPr/>
          <p:nvPr/>
        </p:nvGrpSpPr>
        <p:grpSpPr>
          <a:xfrm>
            <a:off x="533118" y="3562024"/>
            <a:ext cx="1513036" cy="1065172"/>
            <a:chOff x="533118" y="3562024"/>
            <a:chExt cx="1513036" cy="1065172"/>
          </a:xfrm>
        </p:grpSpPr>
        <p:sp>
          <p:nvSpPr>
            <p:cNvPr id="167" name="Rectangle 74"/>
            <p:cNvSpPr/>
            <p:nvPr>
              <p:custDataLst>
                <p:tags r:id="rId1"/>
              </p:custDataLst>
            </p:nvPr>
          </p:nvSpPr>
          <p:spPr>
            <a:xfrm>
              <a:off x="718308" y="3562024"/>
              <a:ext cx="355702" cy="457135"/>
            </a:xfrm>
            <a:custGeom>
              <a:avLst/>
              <a:gdLst/>
              <a:ahLst/>
              <a:cxnLst/>
              <a:rect l="l" t="t" r="r" b="b"/>
              <a:pathLst>
                <a:path w="93101" h="119655">
                  <a:moveTo>
                    <a:pt x="46888" y="61255"/>
                  </a:moveTo>
                  <a:cubicBezTo>
                    <a:pt x="40157" y="61255"/>
                    <a:pt x="34700" y="66712"/>
                    <a:pt x="34700" y="73443"/>
                  </a:cubicBezTo>
                  <a:cubicBezTo>
                    <a:pt x="34700" y="78113"/>
                    <a:pt x="37327" y="82169"/>
                    <a:pt x="41596" y="83438"/>
                  </a:cubicBezTo>
                  <a:lnTo>
                    <a:pt x="38933" y="104741"/>
                  </a:lnTo>
                  <a:lnTo>
                    <a:pt x="55183" y="104741"/>
                  </a:lnTo>
                  <a:lnTo>
                    <a:pt x="52504" y="83305"/>
                  </a:lnTo>
                  <a:cubicBezTo>
                    <a:pt x="56597" y="81937"/>
                    <a:pt x="59076" y="77980"/>
                    <a:pt x="59076" y="73443"/>
                  </a:cubicBezTo>
                  <a:cubicBezTo>
                    <a:pt x="59076" y="66712"/>
                    <a:pt x="53619" y="61255"/>
                    <a:pt x="46888" y="61255"/>
                  </a:cubicBezTo>
                  <a:close/>
                  <a:moveTo>
                    <a:pt x="47468" y="17532"/>
                  </a:moveTo>
                  <a:cubicBezTo>
                    <a:pt x="43681" y="17333"/>
                    <a:pt x="39830" y="18360"/>
                    <a:pt x="36547" y="20648"/>
                  </a:cubicBezTo>
                  <a:cubicBezTo>
                    <a:pt x="29978" y="25222"/>
                    <a:pt x="27348" y="33667"/>
                    <a:pt x="30159" y="41162"/>
                  </a:cubicBezTo>
                  <a:lnTo>
                    <a:pt x="29615" y="41365"/>
                  </a:lnTo>
                  <a:lnTo>
                    <a:pt x="62407" y="41365"/>
                  </a:lnTo>
                  <a:cubicBezTo>
                    <a:pt x="65562" y="34644"/>
                    <a:pt x="63689" y="26692"/>
                    <a:pt x="58003" y="21774"/>
                  </a:cubicBezTo>
                  <a:cubicBezTo>
                    <a:pt x="54976" y="19155"/>
                    <a:pt x="51254" y="17730"/>
                    <a:pt x="47468" y="17532"/>
                  </a:cubicBezTo>
                  <a:close/>
                  <a:moveTo>
                    <a:pt x="48385" y="49"/>
                  </a:moveTo>
                  <a:cubicBezTo>
                    <a:pt x="55959" y="446"/>
                    <a:pt x="63402" y="3297"/>
                    <a:pt x="69456" y="8533"/>
                  </a:cubicBezTo>
                  <a:cubicBezTo>
                    <a:pt x="79598" y="17305"/>
                    <a:pt x="83675" y="30904"/>
                    <a:pt x="78885" y="43093"/>
                  </a:cubicBezTo>
                  <a:cubicBezTo>
                    <a:pt x="87177" y="43906"/>
                    <a:pt x="93101" y="51139"/>
                    <a:pt x="93101" y="59752"/>
                  </a:cubicBezTo>
                  <a:lnTo>
                    <a:pt x="93101" y="119654"/>
                  </a:lnTo>
                  <a:lnTo>
                    <a:pt x="0" y="119655"/>
                  </a:lnTo>
                  <a:lnTo>
                    <a:pt x="0" y="59752"/>
                  </a:lnTo>
                  <a:cubicBezTo>
                    <a:pt x="0" y="51365"/>
                    <a:pt x="5617" y="44289"/>
                    <a:pt x="13654" y="43326"/>
                  </a:cubicBezTo>
                  <a:cubicBezTo>
                    <a:pt x="9060" y="29605"/>
                    <a:pt x="14482" y="14678"/>
                    <a:pt x="26544" y="6281"/>
                  </a:cubicBezTo>
                  <a:cubicBezTo>
                    <a:pt x="33111" y="1706"/>
                    <a:pt x="40813" y="-348"/>
                    <a:pt x="48385" y="49"/>
                  </a:cubicBezTo>
                  <a:close/>
                </a:path>
              </a:pathLst>
            </a:custGeom>
            <a:solidFill>
              <a:schemeClr val="accent4"/>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505"/>
              <a:endParaRPr lang="en-US">
                <a:solidFill>
                  <a:srgbClr val="FFFFFF"/>
                </a:solidFill>
              </a:endParaRPr>
            </a:p>
          </p:txBody>
        </p:sp>
        <p:sp>
          <p:nvSpPr>
            <p:cNvPr id="173" name="Freeform 172"/>
            <p:cNvSpPr/>
            <p:nvPr/>
          </p:nvSpPr>
          <p:spPr bwMode="auto">
            <a:xfrm flipH="1">
              <a:off x="741877" y="3741365"/>
              <a:ext cx="270352" cy="268411"/>
            </a:xfrm>
            <a:custGeom>
              <a:avLst/>
              <a:gdLst>
                <a:gd name="connsiteX0" fmla="*/ 2002754 w 2055898"/>
                <a:gd name="connsiteY0" fmla="*/ 0 h 2145774"/>
                <a:gd name="connsiteX1" fmla="*/ 1643743 w 2055898"/>
                <a:gd name="connsiteY1" fmla="*/ 0 h 2145774"/>
                <a:gd name="connsiteX2" fmla="*/ 1080505 w 2055898"/>
                <a:gd name="connsiteY2" fmla="*/ 0 h 2145774"/>
                <a:gd name="connsiteX3" fmla="*/ 1028538 w 2055898"/>
                <a:gd name="connsiteY3" fmla="*/ 0 h 2145774"/>
                <a:gd name="connsiteX4" fmla="*/ 1027360 w 2055898"/>
                <a:gd name="connsiteY4" fmla="*/ 0 h 2145774"/>
                <a:gd name="connsiteX5" fmla="*/ 975393 w 2055898"/>
                <a:gd name="connsiteY5" fmla="*/ 0 h 2145774"/>
                <a:gd name="connsiteX6" fmla="*/ 412155 w 2055898"/>
                <a:gd name="connsiteY6" fmla="*/ 0 h 2145774"/>
                <a:gd name="connsiteX7" fmla="*/ 53144 w 2055898"/>
                <a:gd name="connsiteY7" fmla="*/ 0 h 2145774"/>
                <a:gd name="connsiteX8" fmla="*/ 0 w 2055898"/>
                <a:gd name="connsiteY8" fmla="*/ 53253 h 2145774"/>
                <a:gd name="connsiteX9" fmla="*/ 0 w 2055898"/>
                <a:gd name="connsiteY9" fmla="*/ 114342 h 2145774"/>
                <a:gd name="connsiteX10" fmla="*/ 1781759 w 2055898"/>
                <a:gd name="connsiteY10" fmla="*/ 2145774 h 2145774"/>
                <a:gd name="connsiteX11" fmla="*/ 2055898 w 2055898"/>
                <a:gd name="connsiteY11" fmla="*/ 2145774 h 2145774"/>
                <a:gd name="connsiteX12" fmla="*/ 2055898 w 2055898"/>
                <a:gd name="connsiteY12" fmla="*/ 1119360 h 2145774"/>
                <a:gd name="connsiteX13" fmla="*/ 2055898 w 2055898"/>
                <a:gd name="connsiteY13" fmla="*/ 1079667 h 2145774"/>
                <a:gd name="connsiteX14" fmla="*/ 2055898 w 2055898"/>
                <a:gd name="connsiteY14" fmla="*/ 53253 h 2145774"/>
                <a:gd name="connsiteX15" fmla="*/ 2002754 w 2055898"/>
                <a:gd name="connsiteY15" fmla="*/ 0 h 2145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55898" h="2145774">
                  <a:moveTo>
                    <a:pt x="2002754" y="0"/>
                  </a:moveTo>
                  <a:lnTo>
                    <a:pt x="1643743" y="0"/>
                  </a:lnTo>
                  <a:lnTo>
                    <a:pt x="1080505" y="0"/>
                  </a:lnTo>
                  <a:lnTo>
                    <a:pt x="1028538" y="0"/>
                  </a:lnTo>
                  <a:lnTo>
                    <a:pt x="1027360" y="0"/>
                  </a:lnTo>
                  <a:lnTo>
                    <a:pt x="975393" y="0"/>
                  </a:lnTo>
                  <a:lnTo>
                    <a:pt x="412155" y="0"/>
                  </a:lnTo>
                  <a:lnTo>
                    <a:pt x="53144" y="0"/>
                  </a:lnTo>
                  <a:cubicBezTo>
                    <a:pt x="23793" y="0"/>
                    <a:pt x="0" y="23842"/>
                    <a:pt x="0" y="53253"/>
                  </a:cubicBezTo>
                  <a:lnTo>
                    <a:pt x="0" y="114342"/>
                  </a:lnTo>
                  <a:lnTo>
                    <a:pt x="1781759" y="2145774"/>
                  </a:lnTo>
                  <a:lnTo>
                    <a:pt x="2055898" y="2145774"/>
                  </a:lnTo>
                  <a:lnTo>
                    <a:pt x="2055898" y="1119360"/>
                  </a:lnTo>
                  <a:lnTo>
                    <a:pt x="2055898" y="1079667"/>
                  </a:lnTo>
                  <a:lnTo>
                    <a:pt x="2055898" y="53253"/>
                  </a:lnTo>
                  <a:cubicBezTo>
                    <a:pt x="2055898" y="23842"/>
                    <a:pt x="2032105" y="0"/>
                    <a:pt x="2002754" y="0"/>
                  </a:cubicBezTo>
                  <a:close/>
                </a:path>
              </a:pathLst>
            </a:custGeom>
            <a:solidFill>
              <a:schemeClr val="bg1">
                <a:alpha val="2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342768" indent="-342768" algn="ctr" defTabSz="932114">
                <a:lnSpc>
                  <a:spcPct val="90000"/>
                </a:lnSpc>
                <a:buFont typeface="Wingdings 3" panose="05040102010807070707" pitchFamily="18" charset="2"/>
                <a:buChar char="Æ"/>
              </a:pPr>
              <a:endParaRPr lang="en-IN" sz="2000" b="1" dirty="0" err="1">
                <a:solidFill>
                  <a:srgbClr val="FFFFFF"/>
                </a:solidFill>
                <a:latin typeface="Segoe UI Light"/>
                <a:ea typeface="Segoe UI" pitchFamily="34" charset="0"/>
                <a:cs typeface="Segoe UI" pitchFamily="34" charset="0"/>
              </a:endParaRPr>
            </a:p>
          </p:txBody>
        </p:sp>
        <p:sp>
          <p:nvSpPr>
            <p:cNvPr id="174" name="TextBox 173"/>
            <p:cNvSpPr txBox="1"/>
            <p:nvPr/>
          </p:nvSpPr>
          <p:spPr>
            <a:xfrm>
              <a:off x="533118" y="3920761"/>
              <a:ext cx="1513036" cy="706435"/>
            </a:xfrm>
            <a:prstGeom prst="rect">
              <a:avLst/>
            </a:prstGeom>
            <a:noFill/>
          </p:spPr>
          <p:txBody>
            <a:bodyPr wrap="square" lIns="182828" tIns="146262" rIns="182828" bIns="146262" rtlCol="0">
              <a:noAutofit/>
            </a:bodyPr>
            <a:lstStyle/>
            <a:p>
              <a:pPr defTabSz="931505">
                <a:lnSpc>
                  <a:spcPct val="90000"/>
                </a:lnSpc>
                <a:spcAft>
                  <a:spcPts val="0"/>
                </a:spcAft>
              </a:pPr>
              <a:r>
                <a:rPr lang="en-US" sz="1199" dirty="0" smtClean="0">
                  <a:solidFill>
                    <a:srgbClr val="DC3C00"/>
                  </a:solidFill>
                  <a:latin typeface="Segoe UI Semibold" panose="020B0702040204020203" pitchFamily="34" charset="0"/>
                  <a:cs typeface="Segoe UI Semibold" panose="020B0702040204020203" pitchFamily="34" charset="0"/>
                </a:rPr>
                <a:t>Column</a:t>
              </a:r>
            </a:p>
            <a:p>
              <a:pPr defTabSz="931505">
                <a:lnSpc>
                  <a:spcPct val="90000"/>
                </a:lnSpc>
                <a:spcAft>
                  <a:spcPts val="600"/>
                </a:spcAft>
              </a:pPr>
              <a:r>
                <a:rPr lang="en-US" sz="1199" dirty="0" smtClean="0">
                  <a:solidFill>
                    <a:srgbClr val="DC3C00"/>
                  </a:solidFill>
                  <a:latin typeface="Segoe UI Semibold" panose="020B0702040204020203" pitchFamily="34" charset="0"/>
                  <a:cs typeface="Segoe UI Semibold" panose="020B0702040204020203" pitchFamily="34" charset="0"/>
                </a:rPr>
                <a:t>Master</a:t>
              </a:r>
              <a:r>
                <a:rPr lang="en-US" sz="1199" dirty="0">
                  <a:solidFill>
                    <a:srgbClr val="DC3C00"/>
                  </a:solidFill>
                  <a:latin typeface="Segoe UI Semibold" panose="020B0702040204020203" pitchFamily="34" charset="0"/>
                  <a:cs typeface="Segoe UI Semibold" panose="020B0702040204020203" pitchFamily="34" charset="0"/>
                </a:rPr>
                <a:t/>
              </a:r>
              <a:br>
                <a:rPr lang="en-US" sz="1199" dirty="0">
                  <a:solidFill>
                    <a:srgbClr val="DC3C00"/>
                  </a:solidFill>
                  <a:latin typeface="Segoe UI Semibold" panose="020B0702040204020203" pitchFamily="34" charset="0"/>
                  <a:cs typeface="Segoe UI Semibold" panose="020B0702040204020203" pitchFamily="34" charset="0"/>
                </a:rPr>
              </a:br>
              <a:r>
                <a:rPr lang="en-US" sz="1199" dirty="0" smtClean="0">
                  <a:solidFill>
                    <a:srgbClr val="DC3C00"/>
                  </a:solidFill>
                  <a:latin typeface="Segoe UI Semibold" panose="020B0702040204020203" pitchFamily="34" charset="0"/>
                  <a:cs typeface="Segoe UI Semibold" panose="020B0702040204020203" pitchFamily="34" charset="0"/>
                </a:rPr>
                <a:t>Key</a:t>
              </a:r>
              <a:endParaRPr lang="en-US" sz="1199" dirty="0">
                <a:solidFill>
                  <a:srgbClr val="DC3C00"/>
                </a:solidFill>
                <a:latin typeface="Segoe UI Semibold" panose="020B0702040204020203" pitchFamily="34" charset="0"/>
                <a:cs typeface="Segoe UI Semibold" panose="020B0702040204020203" pitchFamily="34" charset="0"/>
              </a:endParaRPr>
            </a:p>
          </p:txBody>
        </p:sp>
      </p:grpSp>
      <p:sp>
        <p:nvSpPr>
          <p:cNvPr id="151" name="TextBox 150"/>
          <p:cNvSpPr txBox="1"/>
          <p:nvPr/>
        </p:nvSpPr>
        <p:spPr>
          <a:xfrm>
            <a:off x="5104870" y="2375521"/>
            <a:ext cx="1270433" cy="307777"/>
          </a:xfrm>
          <a:prstGeom prst="rect">
            <a:avLst/>
          </a:prstGeom>
          <a:noFill/>
        </p:spPr>
        <p:txBody>
          <a:bodyPr wrap="square" rtlCol="0">
            <a:spAutoFit/>
          </a:bodyPr>
          <a:lstStyle/>
          <a:p>
            <a:pPr defTabSz="931684"/>
            <a:r>
              <a:rPr lang="en-US" sz="1400" dirty="0" smtClean="0">
                <a:solidFill>
                  <a:srgbClr val="FF8C00"/>
                </a:solidFill>
                <a:latin typeface="Segoe UI" panose="020B0502040204020203" pitchFamily="34" charset="0"/>
                <a:cs typeface="Segoe UI" panose="020B0502040204020203" pitchFamily="34" charset="0"/>
              </a:rPr>
              <a:t>Client side</a:t>
            </a:r>
            <a:endParaRPr lang="en-US" sz="1400" dirty="0">
              <a:solidFill>
                <a:srgbClr val="FF8C00"/>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5998849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2"/>
                                        </p:tgtEl>
                                        <p:attrNameLst>
                                          <p:attrName>style.visibility</p:attrName>
                                        </p:attrNameLst>
                                      </p:cBhvr>
                                      <p:to>
                                        <p:strVal val="visible"/>
                                      </p:to>
                                    </p:set>
                                  </p:childTnLst>
                                </p:cTn>
                              </p:par>
                            </p:childTnLst>
                          </p:cTn>
                        </p:par>
                        <p:par>
                          <p:cTn id="9" fill="hold">
                            <p:stCondLst>
                              <p:cond delay="0"/>
                            </p:stCondLst>
                            <p:childTnLst>
                              <p:par>
                                <p:cTn id="10" presetID="1" presetClass="entr" presetSubtype="0" fill="hold" nodeType="afterEffect">
                                  <p:stCondLst>
                                    <p:cond delay="0"/>
                                  </p:stCondLst>
                                  <p:childTnLst>
                                    <p:set>
                                      <p:cBhvr>
                                        <p:cTn id="11" dur="1" fill="hold">
                                          <p:stCondLst>
                                            <p:cond delay="0"/>
                                          </p:stCondLst>
                                        </p:cTn>
                                        <p:tgtEl>
                                          <p:spTgt spid="143"/>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4"/>
                                        </p:tgtEl>
                                        <p:attrNameLst>
                                          <p:attrName>style.visibility</p:attrName>
                                        </p:attrNameLst>
                                      </p:cBhvr>
                                      <p:to>
                                        <p:strVal val="visible"/>
                                      </p:to>
                                    </p:set>
                                    <p:animEffect transition="in" filter="fade">
                                      <p:cBhvr>
                                        <p:cTn id="16" dur="500"/>
                                        <p:tgtEl>
                                          <p:spTgt spid="4"/>
                                        </p:tgtEl>
                                      </p:cBhvr>
                                    </p:animEffect>
                                  </p:childTnLst>
                                </p:cTn>
                              </p:par>
                              <p:par>
                                <p:cTn id="17" presetID="1" presetClass="entr" presetSubtype="0" fill="hold" grpId="0" nodeType="withEffect">
                                  <p:stCondLst>
                                    <p:cond delay="0"/>
                                  </p:stCondLst>
                                  <p:childTnLst>
                                    <p:set>
                                      <p:cBhvr>
                                        <p:cTn id="18" dur="1" fill="hold">
                                          <p:stCondLst>
                                            <p:cond delay="0"/>
                                          </p:stCondLst>
                                        </p:cTn>
                                        <p:tgtEl>
                                          <p:spTgt spid="151"/>
                                        </p:tgtEl>
                                        <p:attrNameLst>
                                          <p:attrName>style.visibility</p:attrName>
                                        </p:attrNameLst>
                                      </p:cBhvr>
                                      <p:to>
                                        <p:strVal val="visible"/>
                                      </p:to>
                                    </p:set>
                                  </p:childTnLst>
                                </p:cTn>
                              </p:par>
                              <p:par>
                                <p:cTn id="19" presetID="10" presetClass="entr" presetSubtype="0" fill="hold" nodeType="withEffect">
                                  <p:stCondLst>
                                    <p:cond delay="0"/>
                                  </p:stCondLst>
                                  <p:childTnLst>
                                    <p:set>
                                      <p:cBhvr>
                                        <p:cTn id="20" dur="1" fill="hold">
                                          <p:stCondLst>
                                            <p:cond delay="0"/>
                                          </p:stCondLst>
                                        </p:cTn>
                                        <p:tgtEl>
                                          <p:spTgt spid="10"/>
                                        </p:tgtEl>
                                        <p:attrNameLst>
                                          <p:attrName>style.visibility</p:attrName>
                                        </p:attrNameLst>
                                      </p:cBhvr>
                                      <p:to>
                                        <p:strVal val="visible"/>
                                      </p:to>
                                    </p:set>
                                    <p:animEffect transition="in" filter="fade">
                                      <p:cBhvr>
                                        <p:cTn id="21" dur="500"/>
                                        <p:tgtEl>
                                          <p:spTgt spid="10"/>
                                        </p:tgtEl>
                                      </p:cBhvr>
                                    </p:animEffect>
                                  </p:childTnLst>
                                </p:cTn>
                              </p:par>
                              <p:par>
                                <p:cTn id="22" presetID="22" presetClass="entr" presetSubtype="8" fill="hold" nodeType="withEffect">
                                  <p:stCondLst>
                                    <p:cond delay="500"/>
                                  </p:stCondLst>
                                  <p:childTnLst>
                                    <p:set>
                                      <p:cBhvr>
                                        <p:cTn id="23" dur="1" fill="hold">
                                          <p:stCondLst>
                                            <p:cond delay="0"/>
                                          </p:stCondLst>
                                        </p:cTn>
                                        <p:tgtEl>
                                          <p:spTgt spid="12"/>
                                        </p:tgtEl>
                                        <p:attrNameLst>
                                          <p:attrName>style.visibility</p:attrName>
                                        </p:attrNameLst>
                                      </p:cBhvr>
                                      <p:to>
                                        <p:strVal val="visible"/>
                                      </p:to>
                                    </p:set>
                                    <p:animEffect transition="in" filter="wipe(left)">
                                      <p:cBhvr>
                                        <p:cTn id="24" dur="750"/>
                                        <p:tgtEl>
                                          <p:spTgt spid="12"/>
                                        </p:tgtEl>
                                      </p:cBhvr>
                                    </p:animEffect>
                                  </p:childTnLst>
                                </p:cTn>
                              </p:par>
                            </p:childTnLst>
                          </p:cTn>
                        </p:par>
                        <p:par>
                          <p:cTn id="25" fill="hold">
                            <p:stCondLst>
                              <p:cond delay="1250"/>
                            </p:stCondLst>
                            <p:childTnLst>
                              <p:par>
                                <p:cTn id="26" presetID="22" presetClass="entr" presetSubtype="8" fill="hold" nodeType="afterEffect">
                                  <p:stCondLst>
                                    <p:cond delay="0"/>
                                  </p:stCondLst>
                                  <p:childTnLst>
                                    <p:set>
                                      <p:cBhvr>
                                        <p:cTn id="27" dur="1" fill="hold">
                                          <p:stCondLst>
                                            <p:cond delay="0"/>
                                          </p:stCondLst>
                                        </p:cTn>
                                        <p:tgtEl>
                                          <p:spTgt spid="9"/>
                                        </p:tgtEl>
                                        <p:attrNameLst>
                                          <p:attrName>style.visibility</p:attrName>
                                        </p:attrNameLst>
                                      </p:cBhvr>
                                      <p:to>
                                        <p:strVal val="visible"/>
                                      </p:to>
                                    </p:set>
                                    <p:animEffect transition="in" filter="wipe(left)">
                                      <p:cBhvr>
                                        <p:cTn id="28" dur="1000"/>
                                        <p:tgtEl>
                                          <p:spTgt spid="9"/>
                                        </p:tgtEl>
                                      </p:cBhvr>
                                    </p:animEffect>
                                  </p:childTnLst>
                                </p:cTn>
                              </p:par>
                            </p:childTnLst>
                          </p:cTn>
                        </p:par>
                        <p:par>
                          <p:cTn id="29" fill="hold">
                            <p:stCondLst>
                              <p:cond delay="2250"/>
                            </p:stCondLst>
                            <p:childTnLst>
                              <p:par>
                                <p:cTn id="30" presetID="9" presetClass="emph" presetSubtype="0" nodeType="afterEffect">
                                  <p:stCondLst>
                                    <p:cond delay="250"/>
                                  </p:stCondLst>
                                  <p:childTnLst>
                                    <p:set>
                                      <p:cBhvr rctx="PPT">
                                        <p:cTn id="31" dur="indefinite"/>
                                        <p:tgtEl>
                                          <p:spTgt spid="38"/>
                                        </p:tgtEl>
                                        <p:attrNameLst>
                                          <p:attrName>style.opacity</p:attrName>
                                        </p:attrNameLst>
                                      </p:cBhvr>
                                      <p:to>
                                        <p:strVal val="0.5"/>
                                      </p:to>
                                    </p:set>
                                    <p:animEffect filter="image" prLst="opacity: 0.5">
                                      <p:cBhvr rctx="IE">
                                        <p:cTn id="32" dur="indefinite"/>
                                        <p:tgtEl>
                                          <p:spTgt spid="38"/>
                                        </p:tgtEl>
                                      </p:cBhvr>
                                    </p:animEffect>
                                  </p:childTnLst>
                                </p:cTn>
                              </p:par>
                              <p:par>
                                <p:cTn id="33" presetID="9" presetClass="emph" presetSubtype="0" nodeType="withEffect">
                                  <p:stCondLst>
                                    <p:cond delay="0"/>
                                  </p:stCondLst>
                                  <p:childTnLst>
                                    <p:set>
                                      <p:cBhvr rctx="PPT">
                                        <p:cTn id="34" dur="indefinite"/>
                                        <p:tgtEl>
                                          <p:spTgt spid="143"/>
                                        </p:tgtEl>
                                        <p:attrNameLst>
                                          <p:attrName>style.opacity</p:attrName>
                                        </p:attrNameLst>
                                      </p:cBhvr>
                                      <p:to>
                                        <p:strVal val="0.5"/>
                                      </p:to>
                                    </p:set>
                                    <p:animEffect filter="image" prLst="opacity: 0.5">
                                      <p:cBhvr rctx="IE">
                                        <p:cTn id="35" dur="indefinite"/>
                                        <p:tgtEl>
                                          <p:spTgt spid="143"/>
                                        </p:tgtEl>
                                      </p:cBhvr>
                                    </p:animEffect>
                                  </p:childTnLst>
                                </p:cTn>
                              </p:par>
                              <p:par>
                                <p:cTn id="36" presetID="10" presetClass="entr" presetSubtype="0" fill="hold" nodeType="withEffect">
                                  <p:stCondLst>
                                    <p:cond delay="250"/>
                                  </p:stCondLst>
                                  <p:childTnLst>
                                    <p:set>
                                      <p:cBhvr>
                                        <p:cTn id="37" dur="1" fill="hold">
                                          <p:stCondLst>
                                            <p:cond delay="0"/>
                                          </p:stCondLst>
                                        </p:cTn>
                                        <p:tgtEl>
                                          <p:spTgt spid="19"/>
                                        </p:tgtEl>
                                        <p:attrNameLst>
                                          <p:attrName>style.visibility</p:attrName>
                                        </p:attrNameLst>
                                      </p:cBhvr>
                                      <p:to>
                                        <p:strVal val="visible"/>
                                      </p:to>
                                    </p:set>
                                    <p:animEffect transition="in" filter="fade">
                                      <p:cBhvr>
                                        <p:cTn id="38" dur="500"/>
                                        <p:tgtEl>
                                          <p:spTgt spid="19"/>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nodeType="clickEffect">
                                  <p:stCondLst>
                                    <p:cond delay="0"/>
                                  </p:stCondLst>
                                  <p:childTnLst>
                                    <p:set>
                                      <p:cBhvr>
                                        <p:cTn id="42" dur="1" fill="hold">
                                          <p:stCondLst>
                                            <p:cond delay="0"/>
                                          </p:stCondLst>
                                        </p:cTn>
                                        <p:tgtEl>
                                          <p:spTgt spid="41"/>
                                        </p:tgtEl>
                                        <p:attrNameLst>
                                          <p:attrName>style.visibility</p:attrName>
                                        </p:attrNameLst>
                                      </p:cBhvr>
                                      <p:to>
                                        <p:strVal val="visible"/>
                                      </p:to>
                                    </p:set>
                                    <p:animEffect transition="in" filter="fade">
                                      <p:cBhvr>
                                        <p:cTn id="43" dur="500"/>
                                        <p:tgtEl>
                                          <p:spTgt spid="41"/>
                                        </p:tgtEl>
                                      </p:cBhvr>
                                    </p:animEffect>
                                  </p:childTnLst>
                                </p:cTn>
                              </p:par>
                              <p:par>
                                <p:cTn id="44" presetID="10" presetClass="entr" presetSubtype="0" fill="hold" nodeType="withEffect">
                                  <p:stCondLst>
                                    <p:cond delay="0"/>
                                  </p:stCondLst>
                                  <p:childTnLst>
                                    <p:set>
                                      <p:cBhvr>
                                        <p:cTn id="45" dur="1" fill="hold">
                                          <p:stCondLst>
                                            <p:cond delay="0"/>
                                          </p:stCondLst>
                                        </p:cTn>
                                        <p:tgtEl>
                                          <p:spTgt spid="8"/>
                                        </p:tgtEl>
                                        <p:attrNameLst>
                                          <p:attrName>style.visibility</p:attrName>
                                        </p:attrNameLst>
                                      </p:cBhvr>
                                      <p:to>
                                        <p:strVal val="visible"/>
                                      </p:to>
                                    </p:set>
                                    <p:animEffect transition="in" filter="fade">
                                      <p:cBhvr>
                                        <p:cTn id="46" dur="500"/>
                                        <p:tgtEl>
                                          <p:spTgt spid="8"/>
                                        </p:tgtEl>
                                      </p:cBhvr>
                                    </p:animEffect>
                                  </p:childTnLst>
                                </p:cTn>
                              </p:par>
                            </p:childTnLst>
                          </p:cTn>
                        </p:par>
                        <p:par>
                          <p:cTn id="47" fill="hold">
                            <p:stCondLst>
                              <p:cond delay="500"/>
                            </p:stCondLst>
                            <p:childTnLst>
                              <p:par>
                                <p:cTn id="48" presetID="22" presetClass="entr" presetSubtype="8" fill="hold" nodeType="afterEffect">
                                  <p:stCondLst>
                                    <p:cond delay="0"/>
                                  </p:stCondLst>
                                  <p:childTnLst>
                                    <p:set>
                                      <p:cBhvr>
                                        <p:cTn id="49" dur="1" fill="hold">
                                          <p:stCondLst>
                                            <p:cond delay="0"/>
                                          </p:stCondLst>
                                        </p:cTn>
                                        <p:tgtEl>
                                          <p:spTgt spid="5"/>
                                        </p:tgtEl>
                                        <p:attrNameLst>
                                          <p:attrName>style.visibility</p:attrName>
                                        </p:attrNameLst>
                                      </p:cBhvr>
                                      <p:to>
                                        <p:strVal val="visible"/>
                                      </p:to>
                                    </p:set>
                                    <p:animEffect transition="in" filter="wipe(left)">
                                      <p:cBhvr>
                                        <p:cTn id="50" dur="500"/>
                                        <p:tgtEl>
                                          <p:spTgt spid="5"/>
                                        </p:tgtEl>
                                      </p:cBhvr>
                                    </p:animEffect>
                                  </p:childTnLst>
                                </p:cTn>
                              </p:par>
                            </p:childTnLst>
                          </p:cTn>
                        </p:par>
                      </p:childTnLst>
                    </p:cTn>
                  </p:par>
                  <p:par>
                    <p:cTn id="51" fill="hold">
                      <p:stCondLst>
                        <p:cond delay="indefinite"/>
                      </p:stCondLst>
                      <p:childTnLst>
                        <p:par>
                          <p:cTn id="52" fill="hold">
                            <p:stCondLst>
                              <p:cond delay="0"/>
                            </p:stCondLst>
                            <p:childTnLst>
                              <p:par>
                                <p:cTn id="53" presetID="22" presetClass="entr" presetSubtype="8" fill="hold" grpId="0" nodeType="clickEffect">
                                  <p:stCondLst>
                                    <p:cond delay="0"/>
                                  </p:stCondLst>
                                  <p:childTnLst>
                                    <p:set>
                                      <p:cBhvr>
                                        <p:cTn id="54" dur="1" fill="hold">
                                          <p:stCondLst>
                                            <p:cond delay="0"/>
                                          </p:stCondLst>
                                        </p:cTn>
                                        <p:tgtEl>
                                          <p:spTgt spid="102"/>
                                        </p:tgtEl>
                                        <p:attrNameLst>
                                          <p:attrName>style.visibility</p:attrName>
                                        </p:attrNameLst>
                                      </p:cBhvr>
                                      <p:to>
                                        <p:strVal val="visible"/>
                                      </p:to>
                                    </p:set>
                                    <p:animEffect transition="in" filter="wipe(left)">
                                      <p:cBhvr>
                                        <p:cTn id="55" dur="500"/>
                                        <p:tgtEl>
                                          <p:spTgt spid="102"/>
                                        </p:tgtEl>
                                      </p:cBhvr>
                                    </p:animEffect>
                                  </p:childTnLst>
                                </p:cTn>
                              </p:par>
                              <p:par>
                                <p:cTn id="56" presetID="9" presetClass="emph" presetSubtype="0" nodeType="withEffect">
                                  <p:stCondLst>
                                    <p:cond delay="0"/>
                                  </p:stCondLst>
                                  <p:childTnLst>
                                    <p:set>
                                      <p:cBhvr rctx="PPT">
                                        <p:cTn id="57" dur="indefinite"/>
                                        <p:tgtEl>
                                          <p:spTgt spid="41"/>
                                        </p:tgtEl>
                                        <p:attrNameLst>
                                          <p:attrName>style.opacity</p:attrName>
                                        </p:attrNameLst>
                                      </p:cBhvr>
                                      <p:to>
                                        <p:strVal val="0.5"/>
                                      </p:to>
                                    </p:set>
                                    <p:animEffect filter="image" prLst="opacity: 0.5">
                                      <p:cBhvr rctx="IE">
                                        <p:cTn id="58" dur="indefinite"/>
                                        <p:tgtEl>
                                          <p:spTgt spid="41"/>
                                        </p:tgtEl>
                                      </p:cBhvr>
                                    </p:animEffect>
                                  </p:childTnLst>
                                </p:cTn>
                              </p:par>
                              <p:par>
                                <p:cTn id="59" presetID="9" presetClass="emph" presetSubtype="0" nodeType="withEffect">
                                  <p:stCondLst>
                                    <p:cond delay="0"/>
                                  </p:stCondLst>
                                  <p:childTnLst>
                                    <p:set>
                                      <p:cBhvr rctx="PPT">
                                        <p:cTn id="60" dur="indefinite"/>
                                        <p:tgtEl>
                                          <p:spTgt spid="5"/>
                                        </p:tgtEl>
                                        <p:attrNameLst>
                                          <p:attrName>style.opacity</p:attrName>
                                        </p:attrNameLst>
                                      </p:cBhvr>
                                      <p:to>
                                        <p:strVal val="0.5"/>
                                      </p:to>
                                    </p:set>
                                    <p:animEffect filter="image" prLst="opacity: 0.5">
                                      <p:cBhvr rctx="IE">
                                        <p:cTn id="61" dur="indefinite"/>
                                        <p:tgtEl>
                                          <p:spTgt spid="5"/>
                                        </p:tgtEl>
                                      </p:cBhvr>
                                    </p:animEffect>
                                  </p:childTnLst>
                                </p:cTn>
                              </p:par>
                            </p:childTnLst>
                          </p:cTn>
                        </p:par>
                        <p:par>
                          <p:cTn id="62" fill="hold">
                            <p:stCondLst>
                              <p:cond delay="500"/>
                            </p:stCondLst>
                            <p:childTnLst>
                              <p:par>
                                <p:cTn id="63" presetID="10" presetClass="entr" presetSubtype="0" fill="hold" nodeType="afterEffect">
                                  <p:stCondLst>
                                    <p:cond delay="0"/>
                                  </p:stCondLst>
                                  <p:childTnLst>
                                    <p:set>
                                      <p:cBhvr>
                                        <p:cTn id="64" dur="1" fill="hold">
                                          <p:stCondLst>
                                            <p:cond delay="0"/>
                                          </p:stCondLst>
                                        </p:cTn>
                                        <p:tgtEl>
                                          <p:spTgt spid="3"/>
                                        </p:tgtEl>
                                        <p:attrNameLst>
                                          <p:attrName>style.visibility</p:attrName>
                                        </p:attrNameLst>
                                      </p:cBhvr>
                                      <p:to>
                                        <p:strVal val="visible"/>
                                      </p:to>
                                    </p:set>
                                    <p:animEffect transition="in" filter="fade">
                                      <p:cBhvr>
                                        <p:cTn id="65" dur="500"/>
                                        <p:tgtEl>
                                          <p:spTgt spid="3"/>
                                        </p:tgtEl>
                                      </p:cBhvr>
                                    </p:animEffect>
                                  </p:childTnLst>
                                </p:cTn>
                              </p:par>
                            </p:childTnLst>
                          </p:cTn>
                        </p:par>
                      </p:childTnLst>
                    </p:cTn>
                  </p:par>
                  <p:par>
                    <p:cTn id="66" fill="hold">
                      <p:stCondLst>
                        <p:cond delay="indefinite"/>
                      </p:stCondLst>
                      <p:childTnLst>
                        <p:par>
                          <p:cTn id="67" fill="hold">
                            <p:stCondLst>
                              <p:cond delay="0"/>
                            </p:stCondLst>
                            <p:childTnLst>
                              <p:par>
                                <p:cTn id="68" presetID="10" presetClass="entr" presetSubtype="0" fill="hold" nodeType="clickEffect">
                                  <p:stCondLst>
                                    <p:cond delay="0"/>
                                  </p:stCondLst>
                                  <p:childTnLst>
                                    <p:set>
                                      <p:cBhvr>
                                        <p:cTn id="69" dur="1" fill="hold">
                                          <p:stCondLst>
                                            <p:cond delay="0"/>
                                          </p:stCondLst>
                                        </p:cTn>
                                        <p:tgtEl>
                                          <p:spTgt spid="46"/>
                                        </p:tgtEl>
                                        <p:attrNameLst>
                                          <p:attrName>style.visibility</p:attrName>
                                        </p:attrNameLst>
                                      </p:cBhvr>
                                      <p:to>
                                        <p:strVal val="visible"/>
                                      </p:to>
                                    </p:set>
                                    <p:animEffect transition="in" filter="fade">
                                      <p:cBhvr>
                                        <p:cTn id="70" dur="500"/>
                                        <p:tgtEl>
                                          <p:spTgt spid="46"/>
                                        </p:tgtEl>
                                      </p:cBhvr>
                                    </p:animEffect>
                                  </p:childTnLst>
                                </p:cTn>
                              </p:par>
                              <p:par>
                                <p:cTn id="71" presetID="9" presetClass="emph" presetSubtype="0" nodeType="withEffect">
                                  <p:stCondLst>
                                    <p:cond delay="0"/>
                                  </p:stCondLst>
                                  <p:childTnLst>
                                    <p:set>
                                      <p:cBhvr rctx="PPT">
                                        <p:cTn id="72" dur="indefinite"/>
                                        <p:tgtEl>
                                          <p:spTgt spid="143"/>
                                        </p:tgtEl>
                                        <p:attrNameLst>
                                          <p:attrName>style.opacity</p:attrName>
                                        </p:attrNameLst>
                                      </p:cBhvr>
                                      <p:to>
                                        <p:strVal val="0"/>
                                      </p:to>
                                    </p:set>
                                    <p:animEffect filter="image" prLst="opacity: 0">
                                      <p:cBhvr rctx="IE">
                                        <p:cTn id="73" dur="indefinite"/>
                                        <p:tgtEl>
                                          <p:spTgt spid="143"/>
                                        </p:tgtEl>
                                      </p:cBhvr>
                                    </p:animEffect>
                                  </p:childTnLst>
                                </p:cTn>
                              </p:par>
                              <p:par>
                                <p:cTn id="74" presetID="9" presetClass="emph" presetSubtype="0" nodeType="withEffect">
                                  <p:stCondLst>
                                    <p:cond delay="0"/>
                                  </p:stCondLst>
                                  <p:childTnLst>
                                    <p:set>
                                      <p:cBhvr rctx="PPT">
                                        <p:cTn id="75" dur="indefinite"/>
                                        <p:tgtEl>
                                          <p:spTgt spid="3"/>
                                        </p:tgtEl>
                                        <p:attrNameLst>
                                          <p:attrName>style.opacity</p:attrName>
                                        </p:attrNameLst>
                                      </p:cBhvr>
                                      <p:to>
                                        <p:strVal val="0.5"/>
                                      </p:to>
                                    </p:set>
                                    <p:animEffect filter="image" prLst="opacity: 0.5">
                                      <p:cBhvr rctx="IE">
                                        <p:cTn id="76" dur="indefinite"/>
                                        <p:tgtEl>
                                          <p:spTgt spid="3"/>
                                        </p:tgtEl>
                                      </p:cBhvr>
                                    </p:animEffect>
                                  </p:childTnLst>
                                </p:cTn>
                              </p:par>
                              <p:par>
                                <p:cTn id="77" presetID="9" presetClass="emph" presetSubtype="0" grpId="1" nodeType="withEffect">
                                  <p:stCondLst>
                                    <p:cond delay="0"/>
                                  </p:stCondLst>
                                  <p:childTnLst>
                                    <p:set>
                                      <p:cBhvr rctx="PPT">
                                        <p:cTn id="78" dur="indefinite"/>
                                        <p:tgtEl>
                                          <p:spTgt spid="102"/>
                                        </p:tgtEl>
                                        <p:attrNameLst>
                                          <p:attrName>style.opacity</p:attrName>
                                        </p:attrNameLst>
                                      </p:cBhvr>
                                      <p:to>
                                        <p:strVal val="0.5"/>
                                      </p:to>
                                    </p:set>
                                    <p:animEffect filter="image" prLst="opacity: 0.5">
                                      <p:cBhvr rctx="IE">
                                        <p:cTn id="79" dur="indefinite"/>
                                        <p:tgtEl>
                                          <p:spTgt spid="102"/>
                                        </p:tgtEl>
                                      </p:cBhvr>
                                    </p:animEffect>
                                  </p:childTnLst>
                                </p:cTn>
                              </p:par>
                            </p:childTnLst>
                          </p:cTn>
                        </p:par>
                        <p:par>
                          <p:cTn id="80" fill="hold">
                            <p:stCondLst>
                              <p:cond delay="500"/>
                            </p:stCondLst>
                            <p:childTnLst>
                              <p:par>
                                <p:cTn id="81" presetID="22" presetClass="entr" presetSubtype="2" fill="hold" grpId="0" nodeType="afterEffect">
                                  <p:stCondLst>
                                    <p:cond delay="0"/>
                                  </p:stCondLst>
                                  <p:childTnLst>
                                    <p:set>
                                      <p:cBhvr>
                                        <p:cTn id="82" dur="1" fill="hold">
                                          <p:stCondLst>
                                            <p:cond delay="0"/>
                                          </p:stCondLst>
                                        </p:cTn>
                                        <p:tgtEl>
                                          <p:spTgt spid="103"/>
                                        </p:tgtEl>
                                        <p:attrNameLst>
                                          <p:attrName>style.visibility</p:attrName>
                                        </p:attrNameLst>
                                      </p:cBhvr>
                                      <p:to>
                                        <p:strVal val="visible"/>
                                      </p:to>
                                    </p:set>
                                    <p:animEffect transition="in" filter="wipe(right)">
                                      <p:cBhvr>
                                        <p:cTn id="83" dur="500"/>
                                        <p:tgtEl>
                                          <p:spTgt spid="103"/>
                                        </p:tgtEl>
                                      </p:cBhvr>
                                    </p:animEffect>
                                  </p:childTnLst>
                                </p:cTn>
                              </p:par>
                            </p:childTnLst>
                          </p:cTn>
                        </p:par>
                      </p:childTnLst>
                    </p:cTn>
                  </p:par>
                  <p:par>
                    <p:cTn id="84" fill="hold">
                      <p:stCondLst>
                        <p:cond delay="indefinite"/>
                      </p:stCondLst>
                      <p:childTnLst>
                        <p:par>
                          <p:cTn id="85" fill="hold">
                            <p:stCondLst>
                              <p:cond delay="0"/>
                            </p:stCondLst>
                            <p:childTnLst>
                              <p:par>
                                <p:cTn id="86" presetID="22" presetClass="entr" presetSubtype="2" fill="hold" grpId="0" nodeType="clickEffect">
                                  <p:stCondLst>
                                    <p:cond delay="0"/>
                                  </p:stCondLst>
                                  <p:childTnLst>
                                    <p:set>
                                      <p:cBhvr>
                                        <p:cTn id="87" dur="1" fill="hold">
                                          <p:stCondLst>
                                            <p:cond delay="0"/>
                                          </p:stCondLst>
                                        </p:cTn>
                                        <p:tgtEl>
                                          <p:spTgt spid="120"/>
                                        </p:tgtEl>
                                        <p:attrNameLst>
                                          <p:attrName>style.visibility</p:attrName>
                                        </p:attrNameLst>
                                      </p:cBhvr>
                                      <p:to>
                                        <p:strVal val="visible"/>
                                      </p:to>
                                    </p:set>
                                    <p:animEffect transition="in" filter="wipe(right)">
                                      <p:cBhvr>
                                        <p:cTn id="88" dur="500"/>
                                        <p:tgtEl>
                                          <p:spTgt spid="120"/>
                                        </p:tgtEl>
                                      </p:cBhvr>
                                    </p:animEffect>
                                  </p:childTnLst>
                                </p:cTn>
                              </p:par>
                            </p:childTnLst>
                          </p:cTn>
                        </p:par>
                        <p:par>
                          <p:cTn id="89" fill="hold">
                            <p:stCondLst>
                              <p:cond delay="500"/>
                            </p:stCondLst>
                            <p:childTnLst>
                              <p:par>
                                <p:cTn id="90" presetID="10" presetClass="entr" presetSubtype="0" fill="hold" nodeType="afterEffect">
                                  <p:stCondLst>
                                    <p:cond delay="0"/>
                                  </p:stCondLst>
                                  <p:childTnLst>
                                    <p:set>
                                      <p:cBhvr>
                                        <p:cTn id="91" dur="1" fill="hold">
                                          <p:stCondLst>
                                            <p:cond delay="0"/>
                                          </p:stCondLst>
                                        </p:cTn>
                                        <p:tgtEl>
                                          <p:spTgt spid="168"/>
                                        </p:tgtEl>
                                        <p:attrNameLst>
                                          <p:attrName>style.visibility</p:attrName>
                                        </p:attrNameLst>
                                      </p:cBhvr>
                                      <p:to>
                                        <p:strVal val="visible"/>
                                      </p:to>
                                    </p:set>
                                    <p:animEffect transition="in" filter="fade">
                                      <p:cBhvr>
                                        <p:cTn id="92" dur="500"/>
                                        <p:tgtEl>
                                          <p:spTgt spid="168"/>
                                        </p:tgtEl>
                                      </p:cBhvr>
                                    </p:animEffect>
                                  </p:childTnLst>
                                </p:cTn>
                              </p:par>
                              <p:par>
                                <p:cTn id="93" presetID="9" presetClass="emph" presetSubtype="0" nodeType="withEffect">
                                  <p:stCondLst>
                                    <p:cond delay="0"/>
                                  </p:stCondLst>
                                  <p:childTnLst>
                                    <p:set>
                                      <p:cBhvr rctx="PPT">
                                        <p:cTn id="94" dur="indefinite"/>
                                        <p:tgtEl>
                                          <p:spTgt spid="46"/>
                                        </p:tgtEl>
                                        <p:attrNameLst>
                                          <p:attrName>style.opacity</p:attrName>
                                        </p:attrNameLst>
                                      </p:cBhvr>
                                      <p:to>
                                        <p:strVal val="0.5"/>
                                      </p:to>
                                    </p:set>
                                    <p:animEffect filter="image" prLst="opacity: 0.5">
                                      <p:cBhvr rctx="IE">
                                        <p:cTn id="95" dur="indefinite"/>
                                        <p:tgtEl>
                                          <p:spTgt spid="46"/>
                                        </p:tgtEl>
                                      </p:cBhvr>
                                    </p:animEffect>
                                  </p:childTnLst>
                                </p:cTn>
                              </p:par>
                              <p:par>
                                <p:cTn id="96" presetID="9" presetClass="emph" presetSubtype="0" grpId="1" nodeType="withEffect">
                                  <p:stCondLst>
                                    <p:cond delay="0"/>
                                  </p:stCondLst>
                                  <p:childTnLst>
                                    <p:set>
                                      <p:cBhvr rctx="PPT">
                                        <p:cTn id="97" dur="indefinite"/>
                                        <p:tgtEl>
                                          <p:spTgt spid="103"/>
                                        </p:tgtEl>
                                        <p:attrNameLst>
                                          <p:attrName>style.opacity</p:attrName>
                                        </p:attrNameLst>
                                      </p:cBhvr>
                                      <p:to>
                                        <p:strVal val="0.5"/>
                                      </p:to>
                                    </p:set>
                                    <p:animEffect filter="image" prLst="opacity: 0.5">
                                      <p:cBhvr rctx="IE">
                                        <p:cTn id="98" dur="indefinite"/>
                                        <p:tgtEl>
                                          <p:spTgt spid="10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2" grpId="0"/>
      <p:bldP spid="102" grpId="0" animBg="1"/>
      <p:bldP spid="102" grpId="1" animBg="1"/>
      <p:bldP spid="103" grpId="0" animBg="1"/>
      <p:bldP spid="103" grpId="1" animBg="1"/>
      <p:bldP spid="120" grpId="0" animBg="1"/>
      <p:bldP spid="151"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fr-FR" dirty="0" smtClean="0"/>
              <a:t>Temporal</a:t>
            </a:r>
            <a:endParaRPr lang="fr-FR" dirty="0"/>
          </a:p>
        </p:txBody>
      </p:sp>
      <p:sp>
        <p:nvSpPr>
          <p:cNvPr id="5" name="Text Placeholder 4"/>
          <p:cNvSpPr>
            <a:spLocks noGrp="1"/>
          </p:cNvSpPr>
          <p:nvPr>
            <p:ph type="body" sz="quarter" idx="13"/>
          </p:nvPr>
        </p:nvSpPr>
        <p:spPr/>
        <p:txBody>
          <a:bodyPr/>
          <a:lstStyle/>
          <a:p>
            <a:r>
              <a:rPr lang="fr-FR" dirty="0" smtClean="0"/>
              <a:t>Traque automatiquement les changements de données et les stocke dans une table temporaire</a:t>
            </a:r>
          </a:p>
          <a:p>
            <a:r>
              <a:rPr lang="fr-FR" dirty="0" smtClean="0"/>
              <a:t>Permet de requêter facilement des données historiques</a:t>
            </a:r>
          </a:p>
          <a:p>
            <a:endParaRPr lang="fr-FR" dirty="0"/>
          </a:p>
        </p:txBody>
      </p:sp>
      <p:sp>
        <p:nvSpPr>
          <p:cNvPr id="2" name="Text Placeholder 1"/>
          <p:cNvSpPr>
            <a:spLocks noGrp="1"/>
          </p:cNvSpPr>
          <p:nvPr>
            <p:ph type="body" sz="quarter" idx="14"/>
          </p:nvPr>
        </p:nvSpPr>
        <p:spPr/>
        <p:txBody>
          <a:bodyPr/>
          <a:lstStyle/>
          <a:p>
            <a:endParaRPr lang="fr-FR"/>
          </a:p>
        </p:txBody>
      </p:sp>
      <p:sp>
        <p:nvSpPr>
          <p:cNvPr id="3" name="Text Placeholder 2"/>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grpSp>
        <p:nvGrpSpPr>
          <p:cNvPr id="6" name="Group 5"/>
          <p:cNvGrpSpPr/>
          <p:nvPr/>
        </p:nvGrpSpPr>
        <p:grpSpPr>
          <a:xfrm>
            <a:off x="1811320" y="3739884"/>
            <a:ext cx="4295335" cy="3439319"/>
            <a:chOff x="1790675" y="3020943"/>
            <a:chExt cx="4211495" cy="3372666"/>
          </a:xfrm>
        </p:grpSpPr>
        <p:sp>
          <p:nvSpPr>
            <p:cNvPr id="22" name="Shape 21"/>
            <p:cNvSpPr/>
            <p:nvPr/>
          </p:nvSpPr>
          <p:spPr>
            <a:xfrm>
              <a:off x="1790675" y="3801289"/>
              <a:ext cx="2592320" cy="2592320"/>
            </a:xfrm>
            <a:prstGeom prst="leftCircularArrow">
              <a:avLst>
                <a:gd name="adj1" fmla="val 3520"/>
                <a:gd name="adj2" fmla="val 436934"/>
                <a:gd name="adj3" fmla="val 2212444"/>
                <a:gd name="adj4" fmla="val 9024489"/>
                <a:gd name="adj5" fmla="val 4106"/>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fr-FR" sz="1836"/>
            </a:p>
          </p:txBody>
        </p:sp>
        <p:sp>
          <p:nvSpPr>
            <p:cNvPr id="23" name="Freeform 22"/>
            <p:cNvSpPr/>
            <p:nvPr/>
          </p:nvSpPr>
          <p:spPr>
            <a:xfrm>
              <a:off x="3486473" y="3421107"/>
              <a:ext cx="2264128" cy="1867432"/>
            </a:xfrm>
            <a:custGeom>
              <a:avLst/>
              <a:gdLst>
                <a:gd name="connsiteX0" fmla="*/ 0 w 2264128"/>
                <a:gd name="connsiteY0" fmla="*/ 186743 h 1867432"/>
                <a:gd name="connsiteX1" fmla="*/ 186743 w 2264128"/>
                <a:gd name="connsiteY1" fmla="*/ 0 h 1867432"/>
                <a:gd name="connsiteX2" fmla="*/ 2077385 w 2264128"/>
                <a:gd name="connsiteY2" fmla="*/ 0 h 1867432"/>
                <a:gd name="connsiteX3" fmla="*/ 2264128 w 2264128"/>
                <a:gd name="connsiteY3" fmla="*/ 186743 h 1867432"/>
                <a:gd name="connsiteX4" fmla="*/ 2264128 w 2264128"/>
                <a:gd name="connsiteY4" fmla="*/ 1680689 h 1867432"/>
                <a:gd name="connsiteX5" fmla="*/ 2077385 w 2264128"/>
                <a:gd name="connsiteY5" fmla="*/ 1867432 h 1867432"/>
                <a:gd name="connsiteX6" fmla="*/ 186743 w 2264128"/>
                <a:gd name="connsiteY6" fmla="*/ 1867432 h 1867432"/>
                <a:gd name="connsiteX7" fmla="*/ 0 w 2264128"/>
                <a:gd name="connsiteY7" fmla="*/ 1680689 h 1867432"/>
                <a:gd name="connsiteX8" fmla="*/ 0 w 2264128"/>
                <a:gd name="connsiteY8" fmla="*/ 186743 h 186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64128" h="1867432">
                  <a:moveTo>
                    <a:pt x="0" y="186743"/>
                  </a:moveTo>
                  <a:cubicBezTo>
                    <a:pt x="0" y="83608"/>
                    <a:pt x="83608" y="0"/>
                    <a:pt x="186743" y="0"/>
                  </a:cubicBezTo>
                  <a:lnTo>
                    <a:pt x="2077385" y="0"/>
                  </a:lnTo>
                  <a:cubicBezTo>
                    <a:pt x="2180520" y="0"/>
                    <a:pt x="2264128" y="83608"/>
                    <a:pt x="2264128" y="186743"/>
                  </a:cubicBezTo>
                  <a:lnTo>
                    <a:pt x="2264128" y="1680689"/>
                  </a:lnTo>
                  <a:cubicBezTo>
                    <a:pt x="2264128" y="1783824"/>
                    <a:pt x="2180520" y="1867432"/>
                    <a:pt x="2077385" y="1867432"/>
                  </a:cubicBezTo>
                  <a:lnTo>
                    <a:pt x="186743" y="1867432"/>
                  </a:lnTo>
                  <a:cubicBezTo>
                    <a:pt x="83608" y="1867432"/>
                    <a:pt x="0" y="1783824"/>
                    <a:pt x="0" y="1680689"/>
                  </a:cubicBezTo>
                  <a:lnTo>
                    <a:pt x="0" y="186743"/>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1539" tIns="471647" rIns="71539" bIns="71539" numCol="1" spcCol="1270" anchor="t" anchorCtr="0">
              <a:noAutofit/>
            </a:bodyPr>
            <a:lstStyle>
              <a:defPPr>
                <a:defRPr lang="en-US"/>
              </a:defPPr>
              <a:lvl1pPr marL="0" algn="l" defTabSz="932742" rtl="0" eaLnBrk="1" latinLnBrk="0" hangingPunct="1">
                <a:defRPr sz="1800" kern="1200">
                  <a:solidFill>
                    <a:schemeClr val="dk1">
                      <a:hueOff val="0"/>
                      <a:satOff val="0"/>
                      <a:lumOff val="0"/>
                      <a:alphaOff val="0"/>
                    </a:schemeClr>
                  </a:solidFill>
                  <a:latin typeface="+mn-lt"/>
                  <a:ea typeface="+mn-ea"/>
                  <a:cs typeface="+mn-cs"/>
                </a:defRPr>
              </a:lvl1pPr>
              <a:lvl2pPr marL="466371" algn="l" defTabSz="932742" rtl="0" eaLnBrk="1" latinLnBrk="0" hangingPunct="1">
                <a:defRPr sz="1800" kern="1200">
                  <a:solidFill>
                    <a:schemeClr val="dk1">
                      <a:hueOff val="0"/>
                      <a:satOff val="0"/>
                      <a:lumOff val="0"/>
                      <a:alphaOff val="0"/>
                    </a:schemeClr>
                  </a:solidFill>
                  <a:latin typeface="+mn-lt"/>
                  <a:ea typeface="+mn-ea"/>
                  <a:cs typeface="+mn-cs"/>
                </a:defRPr>
              </a:lvl2pPr>
              <a:lvl3pPr marL="932742" algn="l" defTabSz="932742" rtl="0" eaLnBrk="1" latinLnBrk="0" hangingPunct="1">
                <a:defRPr sz="1800" kern="1200">
                  <a:solidFill>
                    <a:schemeClr val="dk1">
                      <a:hueOff val="0"/>
                      <a:satOff val="0"/>
                      <a:lumOff val="0"/>
                      <a:alphaOff val="0"/>
                    </a:schemeClr>
                  </a:solidFill>
                  <a:latin typeface="+mn-lt"/>
                  <a:ea typeface="+mn-ea"/>
                  <a:cs typeface="+mn-cs"/>
                </a:defRPr>
              </a:lvl3pPr>
              <a:lvl4pPr marL="1399113" algn="l" defTabSz="932742" rtl="0" eaLnBrk="1" latinLnBrk="0" hangingPunct="1">
                <a:defRPr sz="1800" kern="1200">
                  <a:solidFill>
                    <a:schemeClr val="dk1">
                      <a:hueOff val="0"/>
                      <a:satOff val="0"/>
                      <a:lumOff val="0"/>
                      <a:alphaOff val="0"/>
                    </a:schemeClr>
                  </a:solidFill>
                  <a:latin typeface="+mn-lt"/>
                  <a:ea typeface="+mn-ea"/>
                  <a:cs typeface="+mn-cs"/>
                </a:defRPr>
              </a:lvl4pPr>
              <a:lvl5pPr marL="1865484" algn="l" defTabSz="932742" rtl="0" eaLnBrk="1" latinLnBrk="0" hangingPunct="1">
                <a:defRPr sz="1800" kern="1200">
                  <a:solidFill>
                    <a:schemeClr val="dk1">
                      <a:hueOff val="0"/>
                      <a:satOff val="0"/>
                      <a:lumOff val="0"/>
                      <a:alphaOff val="0"/>
                    </a:schemeClr>
                  </a:solidFill>
                  <a:latin typeface="+mn-lt"/>
                  <a:ea typeface="+mn-ea"/>
                  <a:cs typeface="+mn-cs"/>
                </a:defRPr>
              </a:lvl5pPr>
              <a:lvl6pPr marL="2331856" algn="l" defTabSz="932742" rtl="0" eaLnBrk="1" latinLnBrk="0" hangingPunct="1">
                <a:defRPr sz="1800" kern="1200">
                  <a:solidFill>
                    <a:schemeClr val="dk1">
                      <a:hueOff val="0"/>
                      <a:satOff val="0"/>
                      <a:lumOff val="0"/>
                      <a:alphaOff val="0"/>
                    </a:schemeClr>
                  </a:solidFill>
                  <a:latin typeface="+mn-lt"/>
                  <a:ea typeface="+mn-ea"/>
                  <a:cs typeface="+mn-cs"/>
                </a:defRPr>
              </a:lvl6pPr>
              <a:lvl7pPr marL="2798226" algn="l" defTabSz="932742" rtl="0" eaLnBrk="1" latinLnBrk="0" hangingPunct="1">
                <a:defRPr sz="1800" kern="1200">
                  <a:solidFill>
                    <a:schemeClr val="dk1">
                      <a:hueOff val="0"/>
                      <a:satOff val="0"/>
                      <a:lumOff val="0"/>
                      <a:alphaOff val="0"/>
                    </a:schemeClr>
                  </a:solidFill>
                  <a:latin typeface="+mn-lt"/>
                  <a:ea typeface="+mn-ea"/>
                  <a:cs typeface="+mn-cs"/>
                </a:defRPr>
              </a:lvl7pPr>
              <a:lvl8pPr marL="3264597" algn="l" defTabSz="932742" rtl="0" eaLnBrk="1" latinLnBrk="0" hangingPunct="1">
                <a:defRPr sz="1800" kern="1200">
                  <a:solidFill>
                    <a:schemeClr val="dk1">
                      <a:hueOff val="0"/>
                      <a:satOff val="0"/>
                      <a:lumOff val="0"/>
                      <a:alphaOff val="0"/>
                    </a:schemeClr>
                  </a:solidFill>
                  <a:latin typeface="+mn-lt"/>
                  <a:ea typeface="+mn-ea"/>
                  <a:cs typeface="+mn-cs"/>
                </a:defRPr>
              </a:lvl8pPr>
              <a:lvl9pPr marL="3730969" algn="l" defTabSz="932742" rtl="0" eaLnBrk="1" latinLnBrk="0" hangingPunct="1">
                <a:defRPr sz="1800" kern="1200">
                  <a:solidFill>
                    <a:schemeClr val="dk1">
                      <a:hueOff val="0"/>
                      <a:satOff val="0"/>
                      <a:lumOff val="0"/>
                      <a:alphaOff val="0"/>
                    </a:schemeClr>
                  </a:solidFill>
                  <a:latin typeface="+mn-lt"/>
                  <a:ea typeface="+mn-ea"/>
                  <a:cs typeface="+mn-cs"/>
                </a:defRPr>
              </a:lvl9pPr>
            </a:lstStyle>
            <a:p>
              <a:pPr marL="116563" lvl="1" indent="-116563" defTabSz="679954">
                <a:lnSpc>
                  <a:spcPct val="90000"/>
                </a:lnSpc>
                <a:spcBef>
                  <a:spcPct val="0"/>
                </a:spcBef>
                <a:spcAft>
                  <a:spcPct val="15000"/>
                </a:spcAft>
                <a:buChar char="••"/>
              </a:pPr>
              <a:r>
                <a:rPr lang="en-US" sz="1530" dirty="0">
                  <a:solidFill>
                    <a:srgbClr val="002060"/>
                  </a:solidFill>
                </a:rPr>
                <a:t>INSERT / BULK INSERT</a:t>
              </a:r>
            </a:p>
            <a:p>
              <a:pPr marL="116563" lvl="1" indent="-116563" defTabSz="679954">
                <a:lnSpc>
                  <a:spcPct val="90000"/>
                </a:lnSpc>
                <a:spcBef>
                  <a:spcPct val="0"/>
                </a:spcBef>
                <a:spcAft>
                  <a:spcPct val="15000"/>
                </a:spcAft>
                <a:buChar char="••"/>
              </a:pPr>
              <a:r>
                <a:rPr lang="en-US" sz="1530" dirty="0">
                  <a:solidFill>
                    <a:srgbClr val="002060"/>
                  </a:solidFill>
                </a:rPr>
                <a:t>UPDATE</a:t>
              </a:r>
            </a:p>
            <a:p>
              <a:pPr marL="116563" lvl="1" indent="-116563" defTabSz="679954">
                <a:lnSpc>
                  <a:spcPct val="90000"/>
                </a:lnSpc>
                <a:spcBef>
                  <a:spcPct val="0"/>
                </a:spcBef>
                <a:spcAft>
                  <a:spcPct val="15000"/>
                </a:spcAft>
                <a:buChar char="••"/>
              </a:pPr>
              <a:r>
                <a:rPr lang="en-US" sz="1530" dirty="0">
                  <a:solidFill>
                    <a:srgbClr val="002060"/>
                  </a:solidFill>
                </a:rPr>
                <a:t>DELETE</a:t>
              </a:r>
            </a:p>
            <a:p>
              <a:pPr marL="116563" lvl="1" indent="-116563" defTabSz="679954">
                <a:lnSpc>
                  <a:spcPct val="90000"/>
                </a:lnSpc>
                <a:spcBef>
                  <a:spcPct val="0"/>
                </a:spcBef>
                <a:spcAft>
                  <a:spcPct val="15000"/>
                </a:spcAft>
                <a:buChar char="••"/>
              </a:pPr>
              <a:r>
                <a:rPr lang="en-US" sz="1530" dirty="0">
                  <a:solidFill>
                    <a:srgbClr val="002060"/>
                  </a:solidFill>
                </a:rPr>
                <a:t>MERGE</a:t>
              </a:r>
            </a:p>
          </p:txBody>
        </p:sp>
        <p:sp>
          <p:nvSpPr>
            <p:cNvPr id="24" name="Freeform 23"/>
            <p:cNvSpPr/>
            <p:nvPr/>
          </p:nvSpPr>
          <p:spPr>
            <a:xfrm>
              <a:off x="3989612" y="3020943"/>
              <a:ext cx="2012558" cy="800328"/>
            </a:xfrm>
            <a:custGeom>
              <a:avLst/>
              <a:gdLst>
                <a:gd name="connsiteX0" fmla="*/ 0 w 2012558"/>
                <a:gd name="connsiteY0" fmla="*/ 80033 h 800328"/>
                <a:gd name="connsiteX1" fmla="*/ 80033 w 2012558"/>
                <a:gd name="connsiteY1" fmla="*/ 0 h 800328"/>
                <a:gd name="connsiteX2" fmla="*/ 1932525 w 2012558"/>
                <a:gd name="connsiteY2" fmla="*/ 0 h 800328"/>
                <a:gd name="connsiteX3" fmla="*/ 2012558 w 2012558"/>
                <a:gd name="connsiteY3" fmla="*/ 80033 h 800328"/>
                <a:gd name="connsiteX4" fmla="*/ 2012558 w 2012558"/>
                <a:gd name="connsiteY4" fmla="*/ 720295 h 800328"/>
                <a:gd name="connsiteX5" fmla="*/ 1932525 w 2012558"/>
                <a:gd name="connsiteY5" fmla="*/ 800328 h 800328"/>
                <a:gd name="connsiteX6" fmla="*/ 80033 w 2012558"/>
                <a:gd name="connsiteY6" fmla="*/ 800328 h 800328"/>
                <a:gd name="connsiteX7" fmla="*/ 0 w 2012558"/>
                <a:gd name="connsiteY7" fmla="*/ 720295 h 800328"/>
                <a:gd name="connsiteX8" fmla="*/ 0 w 2012558"/>
                <a:gd name="connsiteY8" fmla="*/ 80033 h 800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2558" h="800328">
                  <a:moveTo>
                    <a:pt x="0" y="80033"/>
                  </a:moveTo>
                  <a:cubicBezTo>
                    <a:pt x="0" y="35832"/>
                    <a:pt x="35832" y="0"/>
                    <a:pt x="80033" y="0"/>
                  </a:cubicBezTo>
                  <a:lnTo>
                    <a:pt x="1932525" y="0"/>
                  </a:lnTo>
                  <a:cubicBezTo>
                    <a:pt x="1976726" y="0"/>
                    <a:pt x="2012558" y="35832"/>
                    <a:pt x="2012558" y="80033"/>
                  </a:cubicBezTo>
                  <a:lnTo>
                    <a:pt x="2012558" y="720295"/>
                  </a:lnTo>
                  <a:cubicBezTo>
                    <a:pt x="2012558" y="764496"/>
                    <a:pt x="1976726" y="800328"/>
                    <a:pt x="1932525" y="800328"/>
                  </a:cubicBezTo>
                  <a:lnTo>
                    <a:pt x="80033" y="800328"/>
                  </a:lnTo>
                  <a:cubicBezTo>
                    <a:pt x="35832" y="800328"/>
                    <a:pt x="0" y="764496"/>
                    <a:pt x="0" y="720295"/>
                  </a:cubicBezTo>
                  <a:lnTo>
                    <a:pt x="0" y="80033"/>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9628" tIns="47564" rIns="59628" bIns="47564" numCol="1" spcCol="1270" anchor="ctr" anchorCtr="0">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861275">
                <a:lnSpc>
                  <a:spcPct val="90000"/>
                </a:lnSpc>
                <a:spcBef>
                  <a:spcPct val="0"/>
                </a:spcBef>
                <a:spcAft>
                  <a:spcPct val="35000"/>
                </a:spcAft>
              </a:pPr>
              <a:r>
                <a:rPr lang="en-US" sz="1938" dirty="0"/>
                <a:t>DML</a:t>
              </a:r>
            </a:p>
          </p:txBody>
        </p:sp>
      </p:grpSp>
      <p:grpSp>
        <p:nvGrpSpPr>
          <p:cNvPr id="7" name="Group 6"/>
          <p:cNvGrpSpPr/>
          <p:nvPr/>
        </p:nvGrpSpPr>
        <p:grpSpPr>
          <a:xfrm>
            <a:off x="4801475" y="2946379"/>
            <a:ext cx="4314580" cy="3513987"/>
            <a:chOff x="4722004" y="2242816"/>
            <a:chExt cx="4230364" cy="3445887"/>
          </a:xfrm>
        </p:grpSpPr>
        <p:sp>
          <p:nvSpPr>
            <p:cNvPr id="19" name="Circular Arrow 18"/>
            <p:cNvSpPr/>
            <p:nvPr/>
          </p:nvSpPr>
          <p:spPr>
            <a:xfrm>
              <a:off x="4722004" y="2242816"/>
              <a:ext cx="2881625" cy="2881625"/>
            </a:xfrm>
            <a:prstGeom prst="circularArrow">
              <a:avLst>
                <a:gd name="adj1" fmla="val 3166"/>
                <a:gd name="adj2" fmla="val 389782"/>
                <a:gd name="adj3" fmla="val 19434707"/>
                <a:gd name="adj4" fmla="val 12575511"/>
                <a:gd name="adj5" fmla="val 3694"/>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fr-FR" sz="1836"/>
            </a:p>
          </p:txBody>
        </p:sp>
        <p:sp>
          <p:nvSpPr>
            <p:cNvPr id="20" name="Freeform 19"/>
            <p:cNvSpPr/>
            <p:nvPr/>
          </p:nvSpPr>
          <p:spPr>
            <a:xfrm>
              <a:off x="6436670" y="3421107"/>
              <a:ext cx="2264128" cy="1867432"/>
            </a:xfrm>
            <a:custGeom>
              <a:avLst/>
              <a:gdLst>
                <a:gd name="connsiteX0" fmla="*/ 0 w 2264128"/>
                <a:gd name="connsiteY0" fmla="*/ 186743 h 1867432"/>
                <a:gd name="connsiteX1" fmla="*/ 186743 w 2264128"/>
                <a:gd name="connsiteY1" fmla="*/ 0 h 1867432"/>
                <a:gd name="connsiteX2" fmla="*/ 2077385 w 2264128"/>
                <a:gd name="connsiteY2" fmla="*/ 0 h 1867432"/>
                <a:gd name="connsiteX3" fmla="*/ 2264128 w 2264128"/>
                <a:gd name="connsiteY3" fmla="*/ 186743 h 1867432"/>
                <a:gd name="connsiteX4" fmla="*/ 2264128 w 2264128"/>
                <a:gd name="connsiteY4" fmla="*/ 1680689 h 1867432"/>
                <a:gd name="connsiteX5" fmla="*/ 2077385 w 2264128"/>
                <a:gd name="connsiteY5" fmla="*/ 1867432 h 1867432"/>
                <a:gd name="connsiteX6" fmla="*/ 186743 w 2264128"/>
                <a:gd name="connsiteY6" fmla="*/ 1867432 h 1867432"/>
                <a:gd name="connsiteX7" fmla="*/ 0 w 2264128"/>
                <a:gd name="connsiteY7" fmla="*/ 1680689 h 1867432"/>
                <a:gd name="connsiteX8" fmla="*/ 0 w 2264128"/>
                <a:gd name="connsiteY8" fmla="*/ 186743 h 186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64128" h="1867432">
                  <a:moveTo>
                    <a:pt x="0" y="186743"/>
                  </a:moveTo>
                  <a:cubicBezTo>
                    <a:pt x="0" y="83608"/>
                    <a:pt x="83608" y="0"/>
                    <a:pt x="186743" y="0"/>
                  </a:cubicBezTo>
                  <a:lnTo>
                    <a:pt x="2077385" y="0"/>
                  </a:lnTo>
                  <a:cubicBezTo>
                    <a:pt x="2180520" y="0"/>
                    <a:pt x="2264128" y="83608"/>
                    <a:pt x="2264128" y="186743"/>
                  </a:cubicBezTo>
                  <a:lnTo>
                    <a:pt x="2264128" y="1680689"/>
                  </a:lnTo>
                  <a:cubicBezTo>
                    <a:pt x="2264128" y="1783824"/>
                    <a:pt x="2180520" y="1867432"/>
                    <a:pt x="2077385" y="1867432"/>
                  </a:cubicBezTo>
                  <a:lnTo>
                    <a:pt x="186743" y="1867432"/>
                  </a:lnTo>
                  <a:cubicBezTo>
                    <a:pt x="83608" y="1867432"/>
                    <a:pt x="0" y="1783824"/>
                    <a:pt x="0" y="1680689"/>
                  </a:cubicBezTo>
                  <a:lnTo>
                    <a:pt x="0" y="186743"/>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1539" tIns="71539" rIns="71539" bIns="471647" numCol="1" spcCol="1270" anchor="t" anchorCtr="0">
              <a:noAutofit/>
            </a:bodyPr>
            <a:lstStyle>
              <a:defPPr>
                <a:defRPr lang="en-US"/>
              </a:defPPr>
              <a:lvl1pPr marL="0" algn="l" defTabSz="932742" rtl="0" eaLnBrk="1" latinLnBrk="0" hangingPunct="1">
                <a:defRPr sz="1800" kern="1200">
                  <a:solidFill>
                    <a:schemeClr val="dk1">
                      <a:hueOff val="0"/>
                      <a:satOff val="0"/>
                      <a:lumOff val="0"/>
                      <a:alphaOff val="0"/>
                    </a:schemeClr>
                  </a:solidFill>
                  <a:latin typeface="+mn-lt"/>
                  <a:ea typeface="+mn-ea"/>
                  <a:cs typeface="+mn-cs"/>
                </a:defRPr>
              </a:lvl1pPr>
              <a:lvl2pPr marL="466371" algn="l" defTabSz="932742" rtl="0" eaLnBrk="1" latinLnBrk="0" hangingPunct="1">
                <a:defRPr sz="1800" kern="1200">
                  <a:solidFill>
                    <a:schemeClr val="dk1">
                      <a:hueOff val="0"/>
                      <a:satOff val="0"/>
                      <a:lumOff val="0"/>
                      <a:alphaOff val="0"/>
                    </a:schemeClr>
                  </a:solidFill>
                  <a:latin typeface="+mn-lt"/>
                  <a:ea typeface="+mn-ea"/>
                  <a:cs typeface="+mn-cs"/>
                </a:defRPr>
              </a:lvl2pPr>
              <a:lvl3pPr marL="932742" algn="l" defTabSz="932742" rtl="0" eaLnBrk="1" latinLnBrk="0" hangingPunct="1">
                <a:defRPr sz="1800" kern="1200">
                  <a:solidFill>
                    <a:schemeClr val="dk1">
                      <a:hueOff val="0"/>
                      <a:satOff val="0"/>
                      <a:lumOff val="0"/>
                      <a:alphaOff val="0"/>
                    </a:schemeClr>
                  </a:solidFill>
                  <a:latin typeface="+mn-lt"/>
                  <a:ea typeface="+mn-ea"/>
                  <a:cs typeface="+mn-cs"/>
                </a:defRPr>
              </a:lvl3pPr>
              <a:lvl4pPr marL="1399113" algn="l" defTabSz="932742" rtl="0" eaLnBrk="1" latinLnBrk="0" hangingPunct="1">
                <a:defRPr sz="1800" kern="1200">
                  <a:solidFill>
                    <a:schemeClr val="dk1">
                      <a:hueOff val="0"/>
                      <a:satOff val="0"/>
                      <a:lumOff val="0"/>
                      <a:alphaOff val="0"/>
                    </a:schemeClr>
                  </a:solidFill>
                  <a:latin typeface="+mn-lt"/>
                  <a:ea typeface="+mn-ea"/>
                  <a:cs typeface="+mn-cs"/>
                </a:defRPr>
              </a:lvl4pPr>
              <a:lvl5pPr marL="1865484" algn="l" defTabSz="932742" rtl="0" eaLnBrk="1" latinLnBrk="0" hangingPunct="1">
                <a:defRPr sz="1800" kern="1200">
                  <a:solidFill>
                    <a:schemeClr val="dk1">
                      <a:hueOff val="0"/>
                      <a:satOff val="0"/>
                      <a:lumOff val="0"/>
                      <a:alphaOff val="0"/>
                    </a:schemeClr>
                  </a:solidFill>
                  <a:latin typeface="+mn-lt"/>
                  <a:ea typeface="+mn-ea"/>
                  <a:cs typeface="+mn-cs"/>
                </a:defRPr>
              </a:lvl5pPr>
              <a:lvl6pPr marL="2331856" algn="l" defTabSz="932742" rtl="0" eaLnBrk="1" latinLnBrk="0" hangingPunct="1">
                <a:defRPr sz="1800" kern="1200">
                  <a:solidFill>
                    <a:schemeClr val="dk1">
                      <a:hueOff val="0"/>
                      <a:satOff val="0"/>
                      <a:lumOff val="0"/>
                      <a:alphaOff val="0"/>
                    </a:schemeClr>
                  </a:solidFill>
                  <a:latin typeface="+mn-lt"/>
                  <a:ea typeface="+mn-ea"/>
                  <a:cs typeface="+mn-cs"/>
                </a:defRPr>
              </a:lvl6pPr>
              <a:lvl7pPr marL="2798226" algn="l" defTabSz="932742" rtl="0" eaLnBrk="1" latinLnBrk="0" hangingPunct="1">
                <a:defRPr sz="1800" kern="1200">
                  <a:solidFill>
                    <a:schemeClr val="dk1">
                      <a:hueOff val="0"/>
                      <a:satOff val="0"/>
                      <a:lumOff val="0"/>
                      <a:alphaOff val="0"/>
                    </a:schemeClr>
                  </a:solidFill>
                  <a:latin typeface="+mn-lt"/>
                  <a:ea typeface="+mn-ea"/>
                  <a:cs typeface="+mn-cs"/>
                </a:defRPr>
              </a:lvl7pPr>
              <a:lvl8pPr marL="3264597" algn="l" defTabSz="932742" rtl="0" eaLnBrk="1" latinLnBrk="0" hangingPunct="1">
                <a:defRPr sz="1800" kern="1200">
                  <a:solidFill>
                    <a:schemeClr val="dk1">
                      <a:hueOff val="0"/>
                      <a:satOff val="0"/>
                      <a:lumOff val="0"/>
                      <a:alphaOff val="0"/>
                    </a:schemeClr>
                  </a:solidFill>
                  <a:latin typeface="+mn-lt"/>
                  <a:ea typeface="+mn-ea"/>
                  <a:cs typeface="+mn-cs"/>
                </a:defRPr>
              </a:lvl8pPr>
              <a:lvl9pPr marL="3730969" algn="l" defTabSz="932742" rtl="0" eaLnBrk="1" latinLnBrk="0" hangingPunct="1">
                <a:defRPr sz="1800" kern="1200">
                  <a:solidFill>
                    <a:schemeClr val="dk1">
                      <a:hueOff val="0"/>
                      <a:satOff val="0"/>
                      <a:lumOff val="0"/>
                      <a:alphaOff val="0"/>
                    </a:schemeClr>
                  </a:solidFill>
                  <a:latin typeface="+mn-lt"/>
                  <a:ea typeface="+mn-ea"/>
                  <a:cs typeface="+mn-cs"/>
                </a:defRPr>
              </a:lvl9pPr>
            </a:lstStyle>
            <a:p>
              <a:pPr marL="116563" lvl="1" indent="-116563" defTabSz="679954">
                <a:lnSpc>
                  <a:spcPct val="90000"/>
                </a:lnSpc>
                <a:spcBef>
                  <a:spcPct val="0"/>
                </a:spcBef>
                <a:spcAft>
                  <a:spcPct val="15000"/>
                </a:spcAft>
                <a:buChar char="••"/>
              </a:pPr>
              <a:r>
                <a:rPr lang="en-US" sz="1530" dirty="0">
                  <a:solidFill>
                    <a:srgbClr val="002060"/>
                  </a:solidFill>
                </a:rPr>
                <a:t>SELECT * FROM </a:t>
              </a:r>
              <a:r>
                <a:rPr lang="en-US" sz="1530" i="1" dirty="0">
                  <a:solidFill>
                    <a:srgbClr val="002060"/>
                  </a:solidFill>
                </a:rPr>
                <a:t>temporal</a:t>
              </a:r>
            </a:p>
            <a:p>
              <a:pPr marL="116563" lvl="1" indent="-116563" defTabSz="679954">
                <a:lnSpc>
                  <a:spcPct val="90000"/>
                </a:lnSpc>
                <a:spcBef>
                  <a:spcPct val="0"/>
                </a:spcBef>
                <a:spcAft>
                  <a:spcPct val="15000"/>
                </a:spcAft>
                <a:buChar char="••"/>
              </a:pPr>
              <a:endParaRPr lang="en-US" sz="1530" dirty="0">
                <a:solidFill>
                  <a:srgbClr val="002060"/>
                </a:solidFill>
              </a:endParaRPr>
            </a:p>
          </p:txBody>
        </p:sp>
        <p:sp>
          <p:nvSpPr>
            <p:cNvPr id="21" name="Freeform 20"/>
            <p:cNvSpPr/>
            <p:nvPr/>
          </p:nvSpPr>
          <p:spPr>
            <a:xfrm>
              <a:off x="6939810" y="4888375"/>
              <a:ext cx="2012558" cy="800328"/>
            </a:xfrm>
            <a:custGeom>
              <a:avLst/>
              <a:gdLst>
                <a:gd name="connsiteX0" fmla="*/ 0 w 2012558"/>
                <a:gd name="connsiteY0" fmla="*/ 80033 h 800328"/>
                <a:gd name="connsiteX1" fmla="*/ 80033 w 2012558"/>
                <a:gd name="connsiteY1" fmla="*/ 0 h 800328"/>
                <a:gd name="connsiteX2" fmla="*/ 1932525 w 2012558"/>
                <a:gd name="connsiteY2" fmla="*/ 0 h 800328"/>
                <a:gd name="connsiteX3" fmla="*/ 2012558 w 2012558"/>
                <a:gd name="connsiteY3" fmla="*/ 80033 h 800328"/>
                <a:gd name="connsiteX4" fmla="*/ 2012558 w 2012558"/>
                <a:gd name="connsiteY4" fmla="*/ 720295 h 800328"/>
                <a:gd name="connsiteX5" fmla="*/ 1932525 w 2012558"/>
                <a:gd name="connsiteY5" fmla="*/ 800328 h 800328"/>
                <a:gd name="connsiteX6" fmla="*/ 80033 w 2012558"/>
                <a:gd name="connsiteY6" fmla="*/ 800328 h 800328"/>
                <a:gd name="connsiteX7" fmla="*/ 0 w 2012558"/>
                <a:gd name="connsiteY7" fmla="*/ 720295 h 800328"/>
                <a:gd name="connsiteX8" fmla="*/ 0 w 2012558"/>
                <a:gd name="connsiteY8" fmla="*/ 80033 h 800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2558" h="800328">
                  <a:moveTo>
                    <a:pt x="0" y="80033"/>
                  </a:moveTo>
                  <a:cubicBezTo>
                    <a:pt x="0" y="35832"/>
                    <a:pt x="35832" y="0"/>
                    <a:pt x="80033" y="0"/>
                  </a:cubicBezTo>
                  <a:lnTo>
                    <a:pt x="1932525" y="0"/>
                  </a:lnTo>
                  <a:cubicBezTo>
                    <a:pt x="1976726" y="0"/>
                    <a:pt x="2012558" y="35832"/>
                    <a:pt x="2012558" y="80033"/>
                  </a:cubicBezTo>
                  <a:lnTo>
                    <a:pt x="2012558" y="720295"/>
                  </a:lnTo>
                  <a:cubicBezTo>
                    <a:pt x="2012558" y="764496"/>
                    <a:pt x="1976726" y="800328"/>
                    <a:pt x="1932525" y="800328"/>
                  </a:cubicBezTo>
                  <a:lnTo>
                    <a:pt x="80033" y="800328"/>
                  </a:lnTo>
                  <a:cubicBezTo>
                    <a:pt x="35832" y="800328"/>
                    <a:pt x="0" y="764496"/>
                    <a:pt x="0" y="720295"/>
                  </a:cubicBezTo>
                  <a:lnTo>
                    <a:pt x="0" y="80033"/>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9628" tIns="47564" rIns="59628" bIns="47564" numCol="1" spcCol="1270" anchor="ctr" anchorCtr="0">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861275">
                <a:lnSpc>
                  <a:spcPct val="90000"/>
                </a:lnSpc>
                <a:spcBef>
                  <a:spcPct val="0"/>
                </a:spcBef>
                <a:spcAft>
                  <a:spcPct val="35000"/>
                </a:spcAft>
              </a:pPr>
              <a:r>
                <a:rPr lang="en-US" sz="1938" dirty="0"/>
                <a:t>Querying</a:t>
              </a:r>
            </a:p>
          </p:txBody>
        </p:sp>
      </p:grpSp>
      <p:grpSp>
        <p:nvGrpSpPr>
          <p:cNvPr id="8" name="Group 7"/>
          <p:cNvGrpSpPr/>
          <p:nvPr/>
        </p:nvGrpSpPr>
        <p:grpSpPr>
          <a:xfrm>
            <a:off x="7829175" y="3344552"/>
            <a:ext cx="4295336" cy="3834651"/>
            <a:chOff x="7691069" y="2633273"/>
            <a:chExt cx="4211496" cy="3760336"/>
          </a:xfrm>
        </p:grpSpPr>
        <p:sp>
          <p:nvSpPr>
            <p:cNvPr id="15" name="Shape 14"/>
            <p:cNvSpPr/>
            <p:nvPr/>
          </p:nvSpPr>
          <p:spPr>
            <a:xfrm>
              <a:off x="7691069" y="3801289"/>
              <a:ext cx="2592320" cy="2592320"/>
            </a:xfrm>
            <a:prstGeom prst="leftCircularArrow">
              <a:avLst>
                <a:gd name="adj1" fmla="val 3520"/>
                <a:gd name="adj2" fmla="val 436934"/>
                <a:gd name="adj3" fmla="val 2212444"/>
                <a:gd name="adj4" fmla="val 9024489"/>
                <a:gd name="adj5" fmla="val 4106"/>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fr-FR" sz="1836"/>
            </a:p>
          </p:txBody>
        </p:sp>
        <p:sp>
          <p:nvSpPr>
            <p:cNvPr id="16" name="Freeform 15"/>
            <p:cNvSpPr/>
            <p:nvPr/>
          </p:nvSpPr>
          <p:spPr>
            <a:xfrm>
              <a:off x="9386867" y="3421107"/>
              <a:ext cx="2264128" cy="1867432"/>
            </a:xfrm>
            <a:custGeom>
              <a:avLst/>
              <a:gdLst>
                <a:gd name="connsiteX0" fmla="*/ 0 w 2264128"/>
                <a:gd name="connsiteY0" fmla="*/ 186743 h 1867432"/>
                <a:gd name="connsiteX1" fmla="*/ 186743 w 2264128"/>
                <a:gd name="connsiteY1" fmla="*/ 0 h 1867432"/>
                <a:gd name="connsiteX2" fmla="*/ 2077385 w 2264128"/>
                <a:gd name="connsiteY2" fmla="*/ 0 h 1867432"/>
                <a:gd name="connsiteX3" fmla="*/ 2264128 w 2264128"/>
                <a:gd name="connsiteY3" fmla="*/ 186743 h 1867432"/>
                <a:gd name="connsiteX4" fmla="*/ 2264128 w 2264128"/>
                <a:gd name="connsiteY4" fmla="*/ 1680689 h 1867432"/>
                <a:gd name="connsiteX5" fmla="*/ 2077385 w 2264128"/>
                <a:gd name="connsiteY5" fmla="*/ 1867432 h 1867432"/>
                <a:gd name="connsiteX6" fmla="*/ 186743 w 2264128"/>
                <a:gd name="connsiteY6" fmla="*/ 1867432 h 1867432"/>
                <a:gd name="connsiteX7" fmla="*/ 0 w 2264128"/>
                <a:gd name="connsiteY7" fmla="*/ 1680689 h 1867432"/>
                <a:gd name="connsiteX8" fmla="*/ 0 w 2264128"/>
                <a:gd name="connsiteY8" fmla="*/ 186743 h 186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64128" h="1867432">
                  <a:moveTo>
                    <a:pt x="0" y="186743"/>
                  </a:moveTo>
                  <a:cubicBezTo>
                    <a:pt x="0" y="83608"/>
                    <a:pt x="83608" y="0"/>
                    <a:pt x="186743" y="0"/>
                  </a:cubicBezTo>
                  <a:lnTo>
                    <a:pt x="2077385" y="0"/>
                  </a:lnTo>
                  <a:cubicBezTo>
                    <a:pt x="2180520" y="0"/>
                    <a:pt x="2264128" y="83608"/>
                    <a:pt x="2264128" y="186743"/>
                  </a:cubicBezTo>
                  <a:lnTo>
                    <a:pt x="2264128" y="1680689"/>
                  </a:lnTo>
                  <a:cubicBezTo>
                    <a:pt x="2264128" y="1783824"/>
                    <a:pt x="2180520" y="1867432"/>
                    <a:pt x="2077385" y="1867432"/>
                  </a:cubicBezTo>
                  <a:lnTo>
                    <a:pt x="186743" y="1867432"/>
                  </a:lnTo>
                  <a:cubicBezTo>
                    <a:pt x="83608" y="1867432"/>
                    <a:pt x="0" y="1783824"/>
                    <a:pt x="0" y="1680689"/>
                  </a:cubicBezTo>
                  <a:lnTo>
                    <a:pt x="0" y="186743"/>
                  </a:lnTo>
                  <a:close/>
                </a:path>
              </a:pathLst>
            </a:custGeom>
            <a:solidFill>
              <a:srgbClr val="00BCF2"/>
            </a:solidFill>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1539" tIns="471647" rIns="71539" bIns="71539" numCol="1" spcCol="1270" anchor="t" anchorCtr="0">
              <a:noAutofit/>
            </a:bodyPr>
            <a:lstStyle>
              <a:defPPr>
                <a:defRPr lang="en-US"/>
              </a:defPPr>
              <a:lvl1pPr marL="0" algn="l" defTabSz="932742" rtl="0" eaLnBrk="1" latinLnBrk="0" hangingPunct="1">
                <a:defRPr sz="1800" kern="1200">
                  <a:solidFill>
                    <a:schemeClr val="dk1">
                      <a:hueOff val="0"/>
                      <a:satOff val="0"/>
                      <a:lumOff val="0"/>
                      <a:alphaOff val="0"/>
                    </a:schemeClr>
                  </a:solidFill>
                  <a:latin typeface="+mn-lt"/>
                  <a:ea typeface="+mn-ea"/>
                  <a:cs typeface="+mn-cs"/>
                </a:defRPr>
              </a:lvl1pPr>
              <a:lvl2pPr marL="466371" algn="l" defTabSz="932742" rtl="0" eaLnBrk="1" latinLnBrk="0" hangingPunct="1">
                <a:defRPr sz="1800" kern="1200">
                  <a:solidFill>
                    <a:schemeClr val="dk1">
                      <a:hueOff val="0"/>
                      <a:satOff val="0"/>
                      <a:lumOff val="0"/>
                      <a:alphaOff val="0"/>
                    </a:schemeClr>
                  </a:solidFill>
                  <a:latin typeface="+mn-lt"/>
                  <a:ea typeface="+mn-ea"/>
                  <a:cs typeface="+mn-cs"/>
                </a:defRPr>
              </a:lvl2pPr>
              <a:lvl3pPr marL="932742" algn="l" defTabSz="932742" rtl="0" eaLnBrk="1" latinLnBrk="0" hangingPunct="1">
                <a:defRPr sz="1800" kern="1200">
                  <a:solidFill>
                    <a:schemeClr val="dk1">
                      <a:hueOff val="0"/>
                      <a:satOff val="0"/>
                      <a:lumOff val="0"/>
                      <a:alphaOff val="0"/>
                    </a:schemeClr>
                  </a:solidFill>
                  <a:latin typeface="+mn-lt"/>
                  <a:ea typeface="+mn-ea"/>
                  <a:cs typeface="+mn-cs"/>
                </a:defRPr>
              </a:lvl3pPr>
              <a:lvl4pPr marL="1399113" algn="l" defTabSz="932742" rtl="0" eaLnBrk="1" latinLnBrk="0" hangingPunct="1">
                <a:defRPr sz="1800" kern="1200">
                  <a:solidFill>
                    <a:schemeClr val="dk1">
                      <a:hueOff val="0"/>
                      <a:satOff val="0"/>
                      <a:lumOff val="0"/>
                      <a:alphaOff val="0"/>
                    </a:schemeClr>
                  </a:solidFill>
                  <a:latin typeface="+mn-lt"/>
                  <a:ea typeface="+mn-ea"/>
                  <a:cs typeface="+mn-cs"/>
                </a:defRPr>
              </a:lvl4pPr>
              <a:lvl5pPr marL="1865484" algn="l" defTabSz="932742" rtl="0" eaLnBrk="1" latinLnBrk="0" hangingPunct="1">
                <a:defRPr sz="1800" kern="1200">
                  <a:solidFill>
                    <a:schemeClr val="dk1">
                      <a:hueOff val="0"/>
                      <a:satOff val="0"/>
                      <a:lumOff val="0"/>
                      <a:alphaOff val="0"/>
                    </a:schemeClr>
                  </a:solidFill>
                  <a:latin typeface="+mn-lt"/>
                  <a:ea typeface="+mn-ea"/>
                  <a:cs typeface="+mn-cs"/>
                </a:defRPr>
              </a:lvl5pPr>
              <a:lvl6pPr marL="2331856" algn="l" defTabSz="932742" rtl="0" eaLnBrk="1" latinLnBrk="0" hangingPunct="1">
                <a:defRPr sz="1800" kern="1200">
                  <a:solidFill>
                    <a:schemeClr val="dk1">
                      <a:hueOff val="0"/>
                      <a:satOff val="0"/>
                      <a:lumOff val="0"/>
                      <a:alphaOff val="0"/>
                    </a:schemeClr>
                  </a:solidFill>
                  <a:latin typeface="+mn-lt"/>
                  <a:ea typeface="+mn-ea"/>
                  <a:cs typeface="+mn-cs"/>
                </a:defRPr>
              </a:lvl6pPr>
              <a:lvl7pPr marL="2798226" algn="l" defTabSz="932742" rtl="0" eaLnBrk="1" latinLnBrk="0" hangingPunct="1">
                <a:defRPr sz="1800" kern="1200">
                  <a:solidFill>
                    <a:schemeClr val="dk1">
                      <a:hueOff val="0"/>
                      <a:satOff val="0"/>
                      <a:lumOff val="0"/>
                      <a:alphaOff val="0"/>
                    </a:schemeClr>
                  </a:solidFill>
                  <a:latin typeface="+mn-lt"/>
                  <a:ea typeface="+mn-ea"/>
                  <a:cs typeface="+mn-cs"/>
                </a:defRPr>
              </a:lvl7pPr>
              <a:lvl8pPr marL="3264597" algn="l" defTabSz="932742" rtl="0" eaLnBrk="1" latinLnBrk="0" hangingPunct="1">
                <a:defRPr sz="1800" kern="1200">
                  <a:solidFill>
                    <a:schemeClr val="dk1">
                      <a:hueOff val="0"/>
                      <a:satOff val="0"/>
                      <a:lumOff val="0"/>
                      <a:alphaOff val="0"/>
                    </a:schemeClr>
                  </a:solidFill>
                  <a:latin typeface="+mn-lt"/>
                  <a:ea typeface="+mn-ea"/>
                  <a:cs typeface="+mn-cs"/>
                </a:defRPr>
              </a:lvl8pPr>
              <a:lvl9pPr marL="3730969" algn="l" defTabSz="932742" rtl="0" eaLnBrk="1" latinLnBrk="0" hangingPunct="1">
                <a:defRPr sz="1800" kern="1200">
                  <a:solidFill>
                    <a:schemeClr val="dk1">
                      <a:hueOff val="0"/>
                      <a:satOff val="0"/>
                      <a:lumOff val="0"/>
                      <a:alphaOff val="0"/>
                    </a:schemeClr>
                  </a:solidFill>
                  <a:latin typeface="+mn-lt"/>
                  <a:ea typeface="+mn-ea"/>
                  <a:cs typeface="+mn-cs"/>
                </a:defRPr>
              </a:lvl9pPr>
            </a:lstStyle>
            <a:p>
              <a:pPr marL="116563" lvl="1" indent="-116563" defTabSz="679954">
                <a:lnSpc>
                  <a:spcPct val="90000"/>
                </a:lnSpc>
                <a:spcBef>
                  <a:spcPct val="0"/>
                </a:spcBef>
                <a:spcAft>
                  <a:spcPct val="15000"/>
                </a:spcAft>
                <a:buChar char="••"/>
              </a:pPr>
              <a:r>
                <a:rPr lang="en-US" sz="1530" dirty="0">
                  <a:solidFill>
                    <a:srgbClr val="002060"/>
                  </a:solidFill>
                </a:rPr>
                <a:t>FOR SYSTEM_TIME</a:t>
              </a:r>
            </a:p>
            <a:p>
              <a:pPr marL="233128" lvl="2" indent="-116563" defTabSz="679954">
                <a:lnSpc>
                  <a:spcPct val="90000"/>
                </a:lnSpc>
                <a:spcBef>
                  <a:spcPct val="0"/>
                </a:spcBef>
                <a:spcAft>
                  <a:spcPct val="15000"/>
                </a:spcAft>
                <a:buChar char="••"/>
              </a:pPr>
              <a:r>
                <a:rPr lang="en-US" sz="1530" b="1" dirty="0">
                  <a:solidFill>
                    <a:srgbClr val="002060"/>
                  </a:solidFill>
                </a:rPr>
                <a:t>AS OF</a:t>
              </a:r>
              <a:r>
                <a:rPr lang="en-US" sz="1530" dirty="0">
                  <a:solidFill>
                    <a:srgbClr val="002060"/>
                  </a:solidFill>
                </a:rPr>
                <a:t> </a:t>
              </a:r>
            </a:p>
            <a:p>
              <a:pPr marL="233128" lvl="2" indent="-116563" defTabSz="679954">
                <a:lnSpc>
                  <a:spcPct val="90000"/>
                </a:lnSpc>
                <a:spcBef>
                  <a:spcPct val="0"/>
                </a:spcBef>
                <a:spcAft>
                  <a:spcPct val="15000"/>
                </a:spcAft>
                <a:buChar char="••"/>
              </a:pPr>
              <a:r>
                <a:rPr lang="en-US" sz="1530" b="1" dirty="0">
                  <a:solidFill>
                    <a:srgbClr val="002060"/>
                  </a:solidFill>
                </a:rPr>
                <a:t>FROM..TO</a:t>
              </a:r>
            </a:p>
            <a:p>
              <a:pPr marL="233128" lvl="2" indent="-116563" defTabSz="679954">
                <a:lnSpc>
                  <a:spcPct val="90000"/>
                </a:lnSpc>
                <a:spcBef>
                  <a:spcPct val="0"/>
                </a:spcBef>
                <a:spcAft>
                  <a:spcPct val="15000"/>
                </a:spcAft>
                <a:buChar char="••"/>
              </a:pPr>
              <a:r>
                <a:rPr lang="en-US" sz="1530" b="1" dirty="0">
                  <a:solidFill>
                    <a:srgbClr val="002060"/>
                  </a:solidFill>
                </a:rPr>
                <a:t>BETWEEN..AND</a:t>
              </a:r>
            </a:p>
            <a:p>
              <a:pPr marL="233128" lvl="2" indent="-116563" defTabSz="679954">
                <a:lnSpc>
                  <a:spcPct val="90000"/>
                </a:lnSpc>
                <a:spcBef>
                  <a:spcPct val="0"/>
                </a:spcBef>
                <a:spcAft>
                  <a:spcPct val="15000"/>
                </a:spcAft>
                <a:buChar char="••"/>
              </a:pPr>
              <a:r>
                <a:rPr lang="en-US" sz="1530" b="1" dirty="0">
                  <a:solidFill>
                    <a:srgbClr val="002060"/>
                  </a:solidFill>
                </a:rPr>
                <a:t>CONTAINED IN</a:t>
              </a:r>
            </a:p>
          </p:txBody>
        </p:sp>
        <p:sp>
          <p:nvSpPr>
            <p:cNvPr id="17" name="Freeform 16"/>
            <p:cNvSpPr/>
            <p:nvPr/>
          </p:nvSpPr>
          <p:spPr>
            <a:xfrm>
              <a:off x="9890007" y="3020943"/>
              <a:ext cx="2012558" cy="800328"/>
            </a:xfrm>
            <a:custGeom>
              <a:avLst/>
              <a:gdLst>
                <a:gd name="connsiteX0" fmla="*/ 0 w 2012558"/>
                <a:gd name="connsiteY0" fmla="*/ 80033 h 800328"/>
                <a:gd name="connsiteX1" fmla="*/ 80033 w 2012558"/>
                <a:gd name="connsiteY1" fmla="*/ 0 h 800328"/>
                <a:gd name="connsiteX2" fmla="*/ 1932525 w 2012558"/>
                <a:gd name="connsiteY2" fmla="*/ 0 h 800328"/>
                <a:gd name="connsiteX3" fmla="*/ 2012558 w 2012558"/>
                <a:gd name="connsiteY3" fmla="*/ 80033 h 800328"/>
                <a:gd name="connsiteX4" fmla="*/ 2012558 w 2012558"/>
                <a:gd name="connsiteY4" fmla="*/ 720295 h 800328"/>
                <a:gd name="connsiteX5" fmla="*/ 1932525 w 2012558"/>
                <a:gd name="connsiteY5" fmla="*/ 800328 h 800328"/>
                <a:gd name="connsiteX6" fmla="*/ 80033 w 2012558"/>
                <a:gd name="connsiteY6" fmla="*/ 800328 h 800328"/>
                <a:gd name="connsiteX7" fmla="*/ 0 w 2012558"/>
                <a:gd name="connsiteY7" fmla="*/ 720295 h 800328"/>
                <a:gd name="connsiteX8" fmla="*/ 0 w 2012558"/>
                <a:gd name="connsiteY8" fmla="*/ 80033 h 800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2558" h="800328">
                  <a:moveTo>
                    <a:pt x="0" y="80033"/>
                  </a:moveTo>
                  <a:cubicBezTo>
                    <a:pt x="0" y="35832"/>
                    <a:pt x="35832" y="0"/>
                    <a:pt x="80033" y="0"/>
                  </a:cubicBezTo>
                  <a:lnTo>
                    <a:pt x="1932525" y="0"/>
                  </a:lnTo>
                  <a:cubicBezTo>
                    <a:pt x="1976726" y="0"/>
                    <a:pt x="2012558" y="35832"/>
                    <a:pt x="2012558" y="80033"/>
                  </a:cubicBezTo>
                  <a:lnTo>
                    <a:pt x="2012558" y="720295"/>
                  </a:lnTo>
                  <a:cubicBezTo>
                    <a:pt x="2012558" y="764496"/>
                    <a:pt x="1976726" y="800328"/>
                    <a:pt x="1932525" y="800328"/>
                  </a:cubicBezTo>
                  <a:lnTo>
                    <a:pt x="80033" y="800328"/>
                  </a:lnTo>
                  <a:cubicBezTo>
                    <a:pt x="35832" y="800328"/>
                    <a:pt x="0" y="764496"/>
                    <a:pt x="0" y="720295"/>
                  </a:cubicBezTo>
                  <a:lnTo>
                    <a:pt x="0" y="80033"/>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9628" tIns="47564" rIns="59628" bIns="47564" numCol="1" spcCol="1270" anchor="ctr" anchorCtr="0">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861275">
                <a:lnSpc>
                  <a:spcPct val="90000"/>
                </a:lnSpc>
                <a:spcBef>
                  <a:spcPct val="0"/>
                </a:spcBef>
                <a:spcAft>
                  <a:spcPct val="35000"/>
                </a:spcAft>
              </a:pPr>
              <a:r>
                <a:rPr lang="en-US" sz="1938" dirty="0"/>
                <a:t>Temporal Querying</a:t>
              </a:r>
            </a:p>
          </p:txBody>
        </p:sp>
        <p:pic>
          <p:nvPicPr>
            <p:cNvPr id="18" name="Picture 1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494837" y="2633273"/>
              <a:ext cx="787789" cy="787789"/>
            </a:xfrm>
            <a:prstGeom prst="rect">
              <a:avLst/>
            </a:prstGeom>
          </p:spPr>
        </p:pic>
      </p:grpSp>
      <p:grpSp>
        <p:nvGrpSpPr>
          <p:cNvPr id="9" name="Group 8"/>
          <p:cNvGrpSpPr/>
          <p:nvPr/>
        </p:nvGrpSpPr>
        <p:grpSpPr>
          <a:xfrm>
            <a:off x="531947" y="4147958"/>
            <a:ext cx="2997265" cy="2719661"/>
            <a:chOff x="536275" y="3421107"/>
            <a:chExt cx="2938762" cy="2666955"/>
          </a:xfrm>
        </p:grpSpPr>
        <p:sp>
          <p:nvSpPr>
            <p:cNvPr id="12" name="Freeform 11"/>
            <p:cNvSpPr/>
            <p:nvPr/>
          </p:nvSpPr>
          <p:spPr>
            <a:xfrm>
              <a:off x="536275" y="3421107"/>
              <a:ext cx="2264128" cy="1867432"/>
            </a:xfrm>
            <a:custGeom>
              <a:avLst/>
              <a:gdLst>
                <a:gd name="connsiteX0" fmla="*/ 0 w 2264128"/>
                <a:gd name="connsiteY0" fmla="*/ 186743 h 1867432"/>
                <a:gd name="connsiteX1" fmla="*/ 186743 w 2264128"/>
                <a:gd name="connsiteY1" fmla="*/ 0 h 1867432"/>
                <a:gd name="connsiteX2" fmla="*/ 2077385 w 2264128"/>
                <a:gd name="connsiteY2" fmla="*/ 0 h 1867432"/>
                <a:gd name="connsiteX3" fmla="*/ 2264128 w 2264128"/>
                <a:gd name="connsiteY3" fmla="*/ 186743 h 1867432"/>
                <a:gd name="connsiteX4" fmla="*/ 2264128 w 2264128"/>
                <a:gd name="connsiteY4" fmla="*/ 1680689 h 1867432"/>
                <a:gd name="connsiteX5" fmla="*/ 2077385 w 2264128"/>
                <a:gd name="connsiteY5" fmla="*/ 1867432 h 1867432"/>
                <a:gd name="connsiteX6" fmla="*/ 186743 w 2264128"/>
                <a:gd name="connsiteY6" fmla="*/ 1867432 h 1867432"/>
                <a:gd name="connsiteX7" fmla="*/ 0 w 2264128"/>
                <a:gd name="connsiteY7" fmla="*/ 1680689 h 1867432"/>
                <a:gd name="connsiteX8" fmla="*/ 0 w 2264128"/>
                <a:gd name="connsiteY8" fmla="*/ 186743 h 186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64128" h="1867432">
                  <a:moveTo>
                    <a:pt x="0" y="186743"/>
                  </a:moveTo>
                  <a:cubicBezTo>
                    <a:pt x="0" y="83608"/>
                    <a:pt x="83608" y="0"/>
                    <a:pt x="186743" y="0"/>
                  </a:cubicBezTo>
                  <a:lnTo>
                    <a:pt x="2077385" y="0"/>
                  </a:lnTo>
                  <a:cubicBezTo>
                    <a:pt x="2180520" y="0"/>
                    <a:pt x="2264128" y="83608"/>
                    <a:pt x="2264128" y="186743"/>
                  </a:cubicBezTo>
                  <a:lnTo>
                    <a:pt x="2264128" y="1680689"/>
                  </a:lnTo>
                  <a:cubicBezTo>
                    <a:pt x="2264128" y="1783824"/>
                    <a:pt x="2180520" y="1867432"/>
                    <a:pt x="2077385" y="1867432"/>
                  </a:cubicBezTo>
                  <a:lnTo>
                    <a:pt x="186743" y="1867432"/>
                  </a:lnTo>
                  <a:cubicBezTo>
                    <a:pt x="83608" y="1867432"/>
                    <a:pt x="0" y="1783824"/>
                    <a:pt x="0" y="1680689"/>
                  </a:cubicBezTo>
                  <a:lnTo>
                    <a:pt x="0" y="186743"/>
                  </a:lnTo>
                  <a:close/>
                </a:path>
              </a:pathLst>
            </a:custGeom>
            <a:solidFill>
              <a:srgbClr val="0EBFF2"/>
            </a:solidFill>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1539" tIns="71539" rIns="71539" bIns="471647" numCol="1" spcCol="1270" anchor="t" anchorCtr="0">
              <a:noAutofit/>
            </a:bodyPr>
            <a:lstStyle>
              <a:defPPr>
                <a:defRPr lang="en-US"/>
              </a:defPPr>
              <a:lvl1pPr marL="0" algn="l" defTabSz="932742" rtl="0" eaLnBrk="1" latinLnBrk="0" hangingPunct="1">
                <a:defRPr sz="1800" kern="1200">
                  <a:solidFill>
                    <a:schemeClr val="dk1">
                      <a:hueOff val="0"/>
                      <a:satOff val="0"/>
                      <a:lumOff val="0"/>
                      <a:alphaOff val="0"/>
                    </a:schemeClr>
                  </a:solidFill>
                  <a:latin typeface="+mn-lt"/>
                  <a:ea typeface="+mn-ea"/>
                  <a:cs typeface="+mn-cs"/>
                </a:defRPr>
              </a:lvl1pPr>
              <a:lvl2pPr marL="466371" algn="l" defTabSz="932742" rtl="0" eaLnBrk="1" latinLnBrk="0" hangingPunct="1">
                <a:defRPr sz="1800" kern="1200">
                  <a:solidFill>
                    <a:schemeClr val="dk1">
                      <a:hueOff val="0"/>
                      <a:satOff val="0"/>
                      <a:lumOff val="0"/>
                      <a:alphaOff val="0"/>
                    </a:schemeClr>
                  </a:solidFill>
                  <a:latin typeface="+mn-lt"/>
                  <a:ea typeface="+mn-ea"/>
                  <a:cs typeface="+mn-cs"/>
                </a:defRPr>
              </a:lvl2pPr>
              <a:lvl3pPr marL="932742" algn="l" defTabSz="932742" rtl="0" eaLnBrk="1" latinLnBrk="0" hangingPunct="1">
                <a:defRPr sz="1800" kern="1200">
                  <a:solidFill>
                    <a:schemeClr val="dk1">
                      <a:hueOff val="0"/>
                      <a:satOff val="0"/>
                      <a:lumOff val="0"/>
                      <a:alphaOff val="0"/>
                    </a:schemeClr>
                  </a:solidFill>
                  <a:latin typeface="+mn-lt"/>
                  <a:ea typeface="+mn-ea"/>
                  <a:cs typeface="+mn-cs"/>
                </a:defRPr>
              </a:lvl3pPr>
              <a:lvl4pPr marL="1399113" algn="l" defTabSz="932742" rtl="0" eaLnBrk="1" latinLnBrk="0" hangingPunct="1">
                <a:defRPr sz="1800" kern="1200">
                  <a:solidFill>
                    <a:schemeClr val="dk1">
                      <a:hueOff val="0"/>
                      <a:satOff val="0"/>
                      <a:lumOff val="0"/>
                      <a:alphaOff val="0"/>
                    </a:schemeClr>
                  </a:solidFill>
                  <a:latin typeface="+mn-lt"/>
                  <a:ea typeface="+mn-ea"/>
                  <a:cs typeface="+mn-cs"/>
                </a:defRPr>
              </a:lvl4pPr>
              <a:lvl5pPr marL="1865484" algn="l" defTabSz="932742" rtl="0" eaLnBrk="1" latinLnBrk="0" hangingPunct="1">
                <a:defRPr sz="1800" kern="1200">
                  <a:solidFill>
                    <a:schemeClr val="dk1">
                      <a:hueOff val="0"/>
                      <a:satOff val="0"/>
                      <a:lumOff val="0"/>
                      <a:alphaOff val="0"/>
                    </a:schemeClr>
                  </a:solidFill>
                  <a:latin typeface="+mn-lt"/>
                  <a:ea typeface="+mn-ea"/>
                  <a:cs typeface="+mn-cs"/>
                </a:defRPr>
              </a:lvl5pPr>
              <a:lvl6pPr marL="2331856" algn="l" defTabSz="932742" rtl="0" eaLnBrk="1" latinLnBrk="0" hangingPunct="1">
                <a:defRPr sz="1800" kern="1200">
                  <a:solidFill>
                    <a:schemeClr val="dk1">
                      <a:hueOff val="0"/>
                      <a:satOff val="0"/>
                      <a:lumOff val="0"/>
                      <a:alphaOff val="0"/>
                    </a:schemeClr>
                  </a:solidFill>
                  <a:latin typeface="+mn-lt"/>
                  <a:ea typeface="+mn-ea"/>
                  <a:cs typeface="+mn-cs"/>
                </a:defRPr>
              </a:lvl6pPr>
              <a:lvl7pPr marL="2798226" algn="l" defTabSz="932742" rtl="0" eaLnBrk="1" latinLnBrk="0" hangingPunct="1">
                <a:defRPr sz="1800" kern="1200">
                  <a:solidFill>
                    <a:schemeClr val="dk1">
                      <a:hueOff val="0"/>
                      <a:satOff val="0"/>
                      <a:lumOff val="0"/>
                      <a:alphaOff val="0"/>
                    </a:schemeClr>
                  </a:solidFill>
                  <a:latin typeface="+mn-lt"/>
                  <a:ea typeface="+mn-ea"/>
                  <a:cs typeface="+mn-cs"/>
                </a:defRPr>
              </a:lvl7pPr>
              <a:lvl8pPr marL="3264597" algn="l" defTabSz="932742" rtl="0" eaLnBrk="1" latinLnBrk="0" hangingPunct="1">
                <a:defRPr sz="1800" kern="1200">
                  <a:solidFill>
                    <a:schemeClr val="dk1">
                      <a:hueOff val="0"/>
                      <a:satOff val="0"/>
                      <a:lumOff val="0"/>
                      <a:alphaOff val="0"/>
                    </a:schemeClr>
                  </a:solidFill>
                  <a:latin typeface="+mn-lt"/>
                  <a:ea typeface="+mn-ea"/>
                  <a:cs typeface="+mn-cs"/>
                </a:defRPr>
              </a:lvl8pPr>
              <a:lvl9pPr marL="3730969" algn="l" defTabSz="932742" rtl="0" eaLnBrk="1" latinLnBrk="0" hangingPunct="1">
                <a:defRPr sz="1800" kern="1200">
                  <a:solidFill>
                    <a:schemeClr val="dk1">
                      <a:hueOff val="0"/>
                      <a:satOff val="0"/>
                      <a:lumOff val="0"/>
                      <a:alphaOff val="0"/>
                    </a:schemeClr>
                  </a:solidFill>
                  <a:latin typeface="+mn-lt"/>
                  <a:ea typeface="+mn-ea"/>
                  <a:cs typeface="+mn-cs"/>
                </a:defRPr>
              </a:lvl9pPr>
            </a:lstStyle>
            <a:p>
              <a:pPr marL="116563" lvl="1" indent="-116563" defTabSz="679954">
                <a:lnSpc>
                  <a:spcPct val="90000"/>
                </a:lnSpc>
                <a:spcBef>
                  <a:spcPct val="0"/>
                </a:spcBef>
                <a:spcAft>
                  <a:spcPct val="15000"/>
                </a:spcAft>
                <a:buChar char="••"/>
              </a:pPr>
              <a:r>
                <a:rPr lang="en-US" sz="1530" b="1" dirty="0">
                  <a:solidFill>
                    <a:srgbClr val="002060"/>
                  </a:solidFill>
                </a:rPr>
                <a:t>CREATE</a:t>
              </a:r>
              <a:r>
                <a:rPr lang="en-US" sz="1530" dirty="0">
                  <a:solidFill>
                    <a:srgbClr val="002060"/>
                  </a:solidFill>
                </a:rPr>
                <a:t> </a:t>
              </a:r>
              <a:r>
                <a:rPr lang="en-US" sz="1530" i="1" dirty="0">
                  <a:solidFill>
                    <a:srgbClr val="002060"/>
                  </a:solidFill>
                </a:rPr>
                <a:t>temporal</a:t>
              </a:r>
              <a:r>
                <a:rPr lang="en-US" sz="1530" dirty="0">
                  <a:solidFill>
                    <a:srgbClr val="002060"/>
                  </a:solidFill>
                </a:rPr>
                <a:t> </a:t>
              </a:r>
              <a:r>
                <a:rPr lang="en-US" sz="1530" b="1" dirty="0">
                  <a:solidFill>
                    <a:srgbClr val="002060"/>
                  </a:solidFill>
                </a:rPr>
                <a:t>TABLE PERIOD FOR SYSTEM_TIME…</a:t>
              </a:r>
            </a:p>
            <a:p>
              <a:pPr marL="116563" lvl="1" indent="-116563" defTabSz="679954">
                <a:lnSpc>
                  <a:spcPct val="90000"/>
                </a:lnSpc>
                <a:spcBef>
                  <a:spcPct val="0"/>
                </a:spcBef>
                <a:spcAft>
                  <a:spcPct val="15000"/>
                </a:spcAft>
                <a:buChar char="••"/>
              </a:pPr>
              <a:r>
                <a:rPr lang="en-US" sz="1530" b="1" dirty="0">
                  <a:solidFill>
                    <a:srgbClr val="002060"/>
                  </a:solidFill>
                </a:rPr>
                <a:t>ALTER </a:t>
              </a:r>
              <a:r>
                <a:rPr lang="en-US" sz="1530" i="1" dirty="0">
                  <a:solidFill>
                    <a:srgbClr val="002060"/>
                  </a:solidFill>
                </a:rPr>
                <a:t>regular_table </a:t>
              </a:r>
              <a:r>
                <a:rPr lang="en-US" sz="1530" b="1" dirty="0">
                  <a:solidFill>
                    <a:srgbClr val="002060"/>
                  </a:solidFill>
                </a:rPr>
                <a:t>TABLE</a:t>
              </a:r>
              <a:r>
                <a:rPr lang="en-US" sz="1530" dirty="0">
                  <a:solidFill>
                    <a:srgbClr val="002060"/>
                  </a:solidFill>
                </a:rPr>
                <a:t> </a:t>
              </a:r>
              <a:r>
                <a:rPr lang="en-US" sz="1530" b="1" dirty="0">
                  <a:solidFill>
                    <a:srgbClr val="002060"/>
                  </a:solidFill>
                </a:rPr>
                <a:t>ADD PERIOD…</a:t>
              </a:r>
              <a:endParaRPr lang="en-US" sz="1530" dirty="0">
                <a:solidFill>
                  <a:srgbClr val="002060"/>
                </a:solidFill>
              </a:endParaRPr>
            </a:p>
          </p:txBody>
        </p:sp>
        <p:sp>
          <p:nvSpPr>
            <p:cNvPr id="13" name="Freeform 12"/>
            <p:cNvSpPr/>
            <p:nvPr/>
          </p:nvSpPr>
          <p:spPr>
            <a:xfrm>
              <a:off x="1039415" y="4888375"/>
              <a:ext cx="2012558" cy="800328"/>
            </a:xfrm>
            <a:custGeom>
              <a:avLst/>
              <a:gdLst>
                <a:gd name="connsiteX0" fmla="*/ 0 w 2012558"/>
                <a:gd name="connsiteY0" fmla="*/ 80033 h 800328"/>
                <a:gd name="connsiteX1" fmla="*/ 80033 w 2012558"/>
                <a:gd name="connsiteY1" fmla="*/ 0 h 800328"/>
                <a:gd name="connsiteX2" fmla="*/ 1932525 w 2012558"/>
                <a:gd name="connsiteY2" fmla="*/ 0 h 800328"/>
                <a:gd name="connsiteX3" fmla="*/ 2012558 w 2012558"/>
                <a:gd name="connsiteY3" fmla="*/ 80033 h 800328"/>
                <a:gd name="connsiteX4" fmla="*/ 2012558 w 2012558"/>
                <a:gd name="connsiteY4" fmla="*/ 720295 h 800328"/>
                <a:gd name="connsiteX5" fmla="*/ 1932525 w 2012558"/>
                <a:gd name="connsiteY5" fmla="*/ 800328 h 800328"/>
                <a:gd name="connsiteX6" fmla="*/ 80033 w 2012558"/>
                <a:gd name="connsiteY6" fmla="*/ 800328 h 800328"/>
                <a:gd name="connsiteX7" fmla="*/ 0 w 2012558"/>
                <a:gd name="connsiteY7" fmla="*/ 720295 h 800328"/>
                <a:gd name="connsiteX8" fmla="*/ 0 w 2012558"/>
                <a:gd name="connsiteY8" fmla="*/ 80033 h 800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2558" h="800328">
                  <a:moveTo>
                    <a:pt x="0" y="80033"/>
                  </a:moveTo>
                  <a:cubicBezTo>
                    <a:pt x="0" y="35832"/>
                    <a:pt x="35832" y="0"/>
                    <a:pt x="80033" y="0"/>
                  </a:cubicBezTo>
                  <a:lnTo>
                    <a:pt x="1932525" y="0"/>
                  </a:lnTo>
                  <a:cubicBezTo>
                    <a:pt x="1976726" y="0"/>
                    <a:pt x="2012558" y="35832"/>
                    <a:pt x="2012558" y="80033"/>
                  </a:cubicBezTo>
                  <a:lnTo>
                    <a:pt x="2012558" y="720295"/>
                  </a:lnTo>
                  <a:cubicBezTo>
                    <a:pt x="2012558" y="764496"/>
                    <a:pt x="1976726" y="800328"/>
                    <a:pt x="1932525" y="800328"/>
                  </a:cubicBezTo>
                  <a:lnTo>
                    <a:pt x="80033" y="800328"/>
                  </a:lnTo>
                  <a:cubicBezTo>
                    <a:pt x="35832" y="800328"/>
                    <a:pt x="0" y="764496"/>
                    <a:pt x="0" y="720295"/>
                  </a:cubicBezTo>
                  <a:lnTo>
                    <a:pt x="0" y="80033"/>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9628" tIns="47564" rIns="59628" bIns="47564" numCol="1" spcCol="1270" anchor="ctr" anchorCtr="0">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861275">
                <a:lnSpc>
                  <a:spcPct val="90000"/>
                </a:lnSpc>
                <a:spcBef>
                  <a:spcPct val="0"/>
                </a:spcBef>
                <a:spcAft>
                  <a:spcPct val="35000"/>
                </a:spcAft>
              </a:pPr>
              <a:r>
                <a:rPr lang="en-US" sz="1938" dirty="0"/>
                <a:t>DDL</a:t>
              </a:r>
            </a:p>
          </p:txBody>
        </p:sp>
        <p:pic>
          <p:nvPicPr>
            <p:cNvPr id="14" name="Picture 1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687248" y="5300273"/>
              <a:ext cx="787789" cy="787789"/>
            </a:xfrm>
            <a:prstGeom prst="rect">
              <a:avLst/>
            </a:prstGeom>
          </p:spPr>
        </p:pic>
      </p:grpSp>
    </p:spTree>
    <p:extLst>
      <p:ext uri="{BB962C8B-B14F-4D97-AF65-F5344CB8AC3E}">
        <p14:creationId xmlns:p14="http://schemas.microsoft.com/office/powerpoint/2010/main" val="1874872945"/>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p:cNvSpPr/>
          <p:nvPr/>
        </p:nvSpPr>
        <p:spPr bwMode="auto">
          <a:xfrm>
            <a:off x="683911" y="1448337"/>
            <a:ext cx="9276725" cy="3328005"/>
          </a:xfrm>
          <a:prstGeom prst="roundRect">
            <a:avLst/>
          </a:prstGeom>
          <a:solidFill>
            <a:schemeClr val="accent6">
              <a:alpha val="0"/>
            </a:schemeClr>
          </a:solidFill>
          <a:ln>
            <a:solidFill>
              <a:srgbClr val="00B05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98" tIns="45699" rIns="45699" bIns="91398" numCol="1" spcCol="0" rtlCol="0" fromWordArt="0" anchor="b" anchorCtr="0" forceAA="0" compatLnSpc="1">
            <a:prstTxWarp prst="textNoShape">
              <a:avLst/>
            </a:prstTxWarp>
            <a:noAutofit/>
          </a:bodyPr>
          <a:lstStyle/>
          <a:p>
            <a:pPr algn="ctr" defTabSz="913651" fontAlgn="base">
              <a:spcBef>
                <a:spcPct val="0"/>
              </a:spcBef>
              <a:spcAft>
                <a:spcPct val="0"/>
              </a:spcAft>
            </a:pPr>
            <a:endParaRPr lang="en-US" sz="1799" spc="-5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 name="Title 1"/>
          <p:cNvSpPr>
            <a:spLocks noGrp="1"/>
          </p:cNvSpPr>
          <p:nvPr>
            <p:ph type="title"/>
          </p:nvPr>
        </p:nvSpPr>
        <p:spPr/>
        <p:txBody>
          <a:bodyPr/>
          <a:lstStyle/>
          <a:p>
            <a:r>
              <a:rPr lang="en-US" dirty="0" smtClean="0"/>
              <a:t>Temporal. Comment </a:t>
            </a:r>
            <a:r>
              <a:rPr lang="en-US" dirty="0" err="1" smtClean="0"/>
              <a:t>ça</a:t>
            </a:r>
            <a:r>
              <a:rPr lang="en-US" dirty="0" smtClean="0"/>
              <a:t> </a:t>
            </a:r>
            <a:r>
              <a:rPr lang="en-US" dirty="0" err="1" smtClean="0"/>
              <a:t>marche</a:t>
            </a:r>
            <a:endParaRPr lang="en-US" dirty="0"/>
          </a:p>
        </p:txBody>
      </p:sp>
      <p:sp>
        <p:nvSpPr>
          <p:cNvPr id="3" name="Text Placeholder 2"/>
          <p:cNvSpPr>
            <a:spLocks noGrp="1"/>
          </p:cNvSpPr>
          <p:nvPr>
            <p:ph type="body" sz="quarter" idx="13"/>
          </p:nvPr>
        </p:nvSpPr>
        <p:spPr/>
        <p:txBody>
          <a:bodyPr/>
          <a:lstStyle/>
          <a:p>
            <a:endParaRPr lang="fr-FR" dirty="0"/>
          </a:p>
        </p:txBody>
      </p:sp>
      <p:sp>
        <p:nvSpPr>
          <p:cNvPr id="7" name="Text Placeholder 6"/>
          <p:cNvSpPr>
            <a:spLocks noGrp="1"/>
          </p:cNvSpPr>
          <p:nvPr>
            <p:ph type="body" sz="quarter" idx="14"/>
          </p:nvPr>
        </p:nvSpPr>
        <p:spPr/>
        <p:txBody>
          <a:bodyPr/>
          <a:lstStyle/>
          <a:p>
            <a:endParaRPr lang="fr-FR"/>
          </a:p>
        </p:txBody>
      </p:sp>
      <p:sp>
        <p:nvSpPr>
          <p:cNvPr id="39" name="Text Placeholder 38"/>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sp>
        <p:nvSpPr>
          <p:cNvPr id="5" name="TextBox 4"/>
          <p:cNvSpPr txBox="1"/>
          <p:nvPr/>
        </p:nvSpPr>
        <p:spPr>
          <a:xfrm>
            <a:off x="1238749" y="1992167"/>
            <a:ext cx="4167071" cy="634218"/>
          </a:xfrm>
          <a:prstGeom prst="rect">
            <a:avLst/>
          </a:prstGeom>
          <a:noFill/>
        </p:spPr>
        <p:txBody>
          <a:bodyPr wrap="none" lIns="182797" tIns="146238" rIns="182797" bIns="146238" rtlCol="0">
            <a:spAutoFit/>
          </a:bodyPr>
          <a:lstStyle/>
          <a:p>
            <a:pPr>
              <a:lnSpc>
                <a:spcPct val="90000"/>
              </a:lnSpc>
            </a:pPr>
            <a:r>
              <a:rPr lang="en-US" sz="2399" spc="-50" dirty="0">
                <a:solidFill>
                  <a:srgbClr val="0DBFF3"/>
                </a:solidFill>
              </a:rPr>
              <a:t>temporal table (current data)</a:t>
            </a:r>
          </a:p>
        </p:txBody>
      </p:sp>
      <p:sp>
        <p:nvSpPr>
          <p:cNvPr id="6" name="TextBox 5"/>
          <p:cNvSpPr txBox="1"/>
          <p:nvPr/>
        </p:nvSpPr>
        <p:spPr>
          <a:xfrm>
            <a:off x="7114892" y="1974092"/>
            <a:ext cx="2007677" cy="634218"/>
          </a:xfrm>
          <a:prstGeom prst="rect">
            <a:avLst/>
          </a:prstGeom>
          <a:noFill/>
        </p:spPr>
        <p:txBody>
          <a:bodyPr wrap="none" lIns="182797" tIns="146238" rIns="182797" bIns="146238" rtlCol="0">
            <a:spAutoFit/>
          </a:bodyPr>
          <a:lstStyle/>
          <a:p>
            <a:pPr>
              <a:lnSpc>
                <a:spcPct val="90000"/>
              </a:lnSpc>
            </a:pPr>
            <a:r>
              <a:rPr lang="en-US" sz="2399" spc="-50" dirty="0">
                <a:solidFill>
                  <a:srgbClr val="0DBFF3"/>
                </a:solidFill>
              </a:rPr>
              <a:t>history table</a:t>
            </a:r>
          </a:p>
        </p:txBody>
      </p:sp>
      <p:sp>
        <p:nvSpPr>
          <p:cNvPr id="8" name="Right Arrow 7"/>
          <p:cNvSpPr/>
          <p:nvPr/>
        </p:nvSpPr>
        <p:spPr bwMode="auto">
          <a:xfrm>
            <a:off x="4256634" y="3482812"/>
            <a:ext cx="2642062" cy="295390"/>
          </a:xfrm>
          <a:prstGeom prst="rightArrow">
            <a:avLst/>
          </a:prstGeom>
          <a:solidFill>
            <a:srgbClr val="505050"/>
          </a:solidFill>
          <a:ln w="25400" cap="flat" cmpd="sng" algn="ctr">
            <a:solidFill>
              <a:schemeClr val="tx1"/>
            </a:solidFill>
            <a:prstDash val="solid"/>
            <a:headEnd type="none" w="med" len="med"/>
            <a:tailEnd type="none" w="med" len="med"/>
          </a:ln>
          <a:effectLst/>
        </p:spPr>
        <p:txBody>
          <a:bodyPr rot="0" spcFirstLastPara="0" vertOverflow="overflow" horzOverflow="overflow" vert="horz" wrap="square" lIns="91398" tIns="45699" rIns="91398" bIns="45699" numCol="1" spcCol="0" rtlCol="0" fromWordArt="0" anchor="ctr" anchorCtr="0" forceAA="0" compatLnSpc="1">
            <a:prstTxWarp prst="textNoShape">
              <a:avLst/>
            </a:prstTxWarp>
            <a:noAutofit/>
          </a:bodyPr>
          <a:lstStyle/>
          <a:p>
            <a:pPr algn="ctr" defTabSz="913651" fontAlgn="base">
              <a:lnSpc>
                <a:spcPct val="90000"/>
              </a:lnSpc>
              <a:spcBef>
                <a:spcPct val="0"/>
              </a:spcBef>
              <a:spcAft>
                <a:spcPct val="0"/>
              </a:spcAft>
              <a:defRPr/>
            </a:pPr>
            <a:endParaRPr lang="en-US" sz="1999" kern="0" spc="-50" dirty="0">
              <a:solidFill>
                <a:srgbClr val="FFFFFF"/>
              </a:solidFill>
            </a:endParaRPr>
          </a:p>
        </p:txBody>
      </p:sp>
      <p:grpSp>
        <p:nvGrpSpPr>
          <p:cNvPr id="9" name="Group 8"/>
          <p:cNvGrpSpPr/>
          <p:nvPr/>
        </p:nvGrpSpPr>
        <p:grpSpPr>
          <a:xfrm>
            <a:off x="1640532" y="2731605"/>
            <a:ext cx="2463744" cy="1696382"/>
            <a:chOff x="1664814" y="2639745"/>
            <a:chExt cx="2464736" cy="1697305"/>
          </a:xfrm>
        </p:grpSpPr>
        <p:sp>
          <p:nvSpPr>
            <p:cNvPr id="10" name="Rectangle 9"/>
            <p:cNvSpPr/>
            <p:nvPr/>
          </p:nvSpPr>
          <p:spPr>
            <a:xfrm>
              <a:off x="1664814" y="2639745"/>
              <a:ext cx="2464736" cy="1697305"/>
            </a:xfrm>
            <a:prstGeom prst="rect">
              <a:avLst/>
            </a:prstGeom>
            <a:solidFill>
              <a:srgbClr val="969696"/>
            </a:solidFill>
            <a:ln w="9525" cap="flat" cmpd="sng" algn="ctr">
              <a:solidFill>
                <a:srgbClr val="EFEFEF">
                  <a:lumMod val="10000"/>
                </a:srgbClr>
              </a:solidFill>
              <a:prstDash val="solid"/>
            </a:ln>
            <a:effectLst/>
          </p:spPr>
          <p:txBody>
            <a:bodyPr rtlCol="0" anchor="ctr"/>
            <a:lstStyle/>
            <a:p>
              <a:pPr>
                <a:defRPr/>
              </a:pPr>
              <a:endParaRPr lang="en-US" sz="2399" b="1" kern="0" dirty="0">
                <a:solidFill>
                  <a:srgbClr val="EFEFEF">
                    <a:lumMod val="10000"/>
                  </a:srgbClr>
                </a:solidFill>
                <a:latin typeface="Segoe UI Light"/>
              </a:endParaRPr>
            </a:p>
          </p:txBody>
        </p:sp>
        <p:sp>
          <p:nvSpPr>
            <p:cNvPr id="11" name="Rectangle 10"/>
            <p:cNvSpPr/>
            <p:nvPr/>
          </p:nvSpPr>
          <p:spPr>
            <a:xfrm>
              <a:off x="1723809" y="3085545"/>
              <a:ext cx="2350254" cy="1187315"/>
            </a:xfrm>
            <a:prstGeom prst="rect">
              <a:avLst/>
            </a:prstGeom>
            <a:solidFill>
              <a:srgbClr val="EFEFEF"/>
            </a:solidFill>
            <a:ln w="9525" cap="flat" cmpd="sng" algn="ctr">
              <a:solidFill>
                <a:srgbClr val="EFEFEF">
                  <a:lumMod val="10000"/>
                </a:srgbClr>
              </a:solidFill>
              <a:prstDash val="solid"/>
            </a:ln>
            <a:effectLst/>
          </p:spPr>
          <p:txBody>
            <a:bodyPr rtlCol="0" anchor="ctr"/>
            <a:lstStyle/>
            <a:p>
              <a:pPr>
                <a:defRPr/>
              </a:pPr>
              <a:endParaRPr lang="en-US" sz="2399" b="1" kern="0" dirty="0">
                <a:solidFill>
                  <a:srgbClr val="EFEFEF">
                    <a:lumMod val="10000"/>
                  </a:srgbClr>
                </a:solidFill>
                <a:latin typeface="Segoe UI Light"/>
              </a:endParaRPr>
            </a:p>
          </p:txBody>
        </p:sp>
        <p:cxnSp>
          <p:nvCxnSpPr>
            <p:cNvPr id="12" name="Straight Connector 11"/>
            <p:cNvCxnSpPr/>
            <p:nvPr/>
          </p:nvCxnSpPr>
          <p:spPr>
            <a:xfrm>
              <a:off x="3290645" y="3085545"/>
              <a:ext cx="0" cy="1187315"/>
            </a:xfrm>
            <a:prstGeom prst="line">
              <a:avLst/>
            </a:prstGeom>
            <a:noFill/>
            <a:ln w="3175" cap="flat" cmpd="sng" algn="ctr">
              <a:solidFill>
                <a:srgbClr val="505050"/>
              </a:solidFill>
              <a:prstDash val="solid"/>
              <a:headEnd type="none"/>
              <a:tailEnd type="none"/>
            </a:ln>
            <a:effectLst/>
          </p:spPr>
        </p:cxnSp>
        <p:cxnSp>
          <p:nvCxnSpPr>
            <p:cNvPr id="13" name="Straight Connector 12"/>
            <p:cNvCxnSpPr/>
            <p:nvPr/>
          </p:nvCxnSpPr>
          <p:spPr>
            <a:xfrm>
              <a:off x="1723809" y="3383768"/>
              <a:ext cx="2350254" cy="6493"/>
            </a:xfrm>
            <a:prstGeom prst="line">
              <a:avLst/>
            </a:prstGeom>
            <a:noFill/>
            <a:ln w="3175" cap="flat" cmpd="sng" algn="ctr">
              <a:solidFill>
                <a:srgbClr val="505050"/>
              </a:solidFill>
              <a:prstDash val="solid"/>
              <a:headEnd type="none"/>
              <a:tailEnd type="none"/>
            </a:ln>
            <a:effectLst/>
          </p:spPr>
        </p:cxnSp>
        <p:cxnSp>
          <p:nvCxnSpPr>
            <p:cNvPr id="14" name="Straight Connector 13"/>
            <p:cNvCxnSpPr>
              <a:endCxn id="11" idx="3"/>
            </p:cNvCxnSpPr>
            <p:nvPr/>
          </p:nvCxnSpPr>
          <p:spPr>
            <a:xfrm flipV="1">
              <a:off x="1723809" y="3679203"/>
              <a:ext cx="2350254" cy="7708"/>
            </a:xfrm>
            <a:prstGeom prst="line">
              <a:avLst/>
            </a:prstGeom>
            <a:noFill/>
            <a:ln w="3175" cap="flat" cmpd="sng" algn="ctr">
              <a:solidFill>
                <a:srgbClr val="505050"/>
              </a:solidFill>
              <a:prstDash val="solid"/>
              <a:headEnd type="none"/>
              <a:tailEnd type="none"/>
            </a:ln>
            <a:effectLst/>
          </p:spPr>
        </p:cxnSp>
        <p:cxnSp>
          <p:nvCxnSpPr>
            <p:cNvPr id="15" name="Straight Connector 14"/>
            <p:cNvCxnSpPr/>
            <p:nvPr/>
          </p:nvCxnSpPr>
          <p:spPr>
            <a:xfrm>
              <a:off x="1723809" y="3981784"/>
              <a:ext cx="2350254" cy="0"/>
            </a:xfrm>
            <a:prstGeom prst="line">
              <a:avLst/>
            </a:prstGeom>
            <a:noFill/>
            <a:ln w="3175" cap="flat" cmpd="sng" algn="ctr">
              <a:solidFill>
                <a:srgbClr val="505050"/>
              </a:solidFill>
              <a:prstDash val="solid"/>
              <a:headEnd type="none"/>
              <a:tailEnd type="none"/>
            </a:ln>
            <a:effectLst/>
          </p:spPr>
        </p:cxnSp>
        <p:cxnSp>
          <p:nvCxnSpPr>
            <p:cNvPr id="16" name="Straight Connector 15"/>
            <p:cNvCxnSpPr/>
            <p:nvPr/>
          </p:nvCxnSpPr>
          <p:spPr>
            <a:xfrm flipV="1">
              <a:off x="2507227" y="3085545"/>
              <a:ext cx="0" cy="1187315"/>
            </a:xfrm>
            <a:prstGeom prst="line">
              <a:avLst/>
            </a:prstGeom>
            <a:noFill/>
            <a:ln w="3175" cap="flat" cmpd="sng" algn="ctr">
              <a:solidFill>
                <a:srgbClr val="505050"/>
              </a:solidFill>
              <a:prstDash val="solid"/>
              <a:headEnd type="none"/>
              <a:tailEnd type="none"/>
            </a:ln>
            <a:effectLst/>
          </p:spPr>
        </p:cxnSp>
      </p:grpSp>
      <p:grpSp>
        <p:nvGrpSpPr>
          <p:cNvPr id="17" name="Group 16"/>
          <p:cNvGrpSpPr/>
          <p:nvPr/>
        </p:nvGrpSpPr>
        <p:grpSpPr>
          <a:xfrm>
            <a:off x="7051050" y="2731605"/>
            <a:ext cx="2463744" cy="1696382"/>
            <a:chOff x="1664814" y="2639745"/>
            <a:chExt cx="2464736" cy="1697305"/>
          </a:xfrm>
        </p:grpSpPr>
        <p:sp>
          <p:nvSpPr>
            <p:cNvPr id="18" name="Rectangle 17"/>
            <p:cNvSpPr/>
            <p:nvPr/>
          </p:nvSpPr>
          <p:spPr>
            <a:xfrm>
              <a:off x="1664814" y="2639745"/>
              <a:ext cx="2464736" cy="1697305"/>
            </a:xfrm>
            <a:prstGeom prst="rect">
              <a:avLst/>
            </a:prstGeom>
            <a:solidFill>
              <a:srgbClr val="969696"/>
            </a:solidFill>
            <a:ln w="9525" cap="flat" cmpd="sng" algn="ctr">
              <a:solidFill>
                <a:srgbClr val="EFEFEF">
                  <a:lumMod val="10000"/>
                </a:srgbClr>
              </a:solidFill>
              <a:prstDash val="solid"/>
            </a:ln>
            <a:effectLst/>
          </p:spPr>
          <p:txBody>
            <a:bodyPr rtlCol="0" anchor="ctr"/>
            <a:lstStyle/>
            <a:p>
              <a:pPr>
                <a:defRPr/>
              </a:pPr>
              <a:endParaRPr lang="en-US" sz="2399" b="1" kern="0" dirty="0">
                <a:solidFill>
                  <a:srgbClr val="EFEFEF">
                    <a:lumMod val="10000"/>
                  </a:srgbClr>
                </a:solidFill>
                <a:latin typeface="Segoe UI Light"/>
              </a:endParaRPr>
            </a:p>
          </p:txBody>
        </p:sp>
        <p:sp>
          <p:nvSpPr>
            <p:cNvPr id="19" name="Rectangle 18"/>
            <p:cNvSpPr/>
            <p:nvPr/>
          </p:nvSpPr>
          <p:spPr>
            <a:xfrm>
              <a:off x="1723809" y="3085545"/>
              <a:ext cx="2350254" cy="1187315"/>
            </a:xfrm>
            <a:prstGeom prst="rect">
              <a:avLst/>
            </a:prstGeom>
            <a:solidFill>
              <a:srgbClr val="EFEFEF"/>
            </a:solidFill>
            <a:ln w="9525" cap="flat" cmpd="sng" algn="ctr">
              <a:solidFill>
                <a:srgbClr val="EFEFEF">
                  <a:lumMod val="10000"/>
                </a:srgbClr>
              </a:solidFill>
              <a:prstDash val="solid"/>
            </a:ln>
            <a:effectLst/>
          </p:spPr>
          <p:txBody>
            <a:bodyPr rtlCol="0" anchor="ctr"/>
            <a:lstStyle/>
            <a:p>
              <a:pPr>
                <a:defRPr/>
              </a:pPr>
              <a:endParaRPr lang="en-US" sz="2399" b="1" kern="0" dirty="0">
                <a:solidFill>
                  <a:srgbClr val="EFEFEF">
                    <a:lumMod val="10000"/>
                  </a:srgbClr>
                </a:solidFill>
                <a:latin typeface="Segoe UI Light"/>
              </a:endParaRPr>
            </a:p>
          </p:txBody>
        </p:sp>
        <p:cxnSp>
          <p:nvCxnSpPr>
            <p:cNvPr id="20" name="Straight Connector 19"/>
            <p:cNvCxnSpPr/>
            <p:nvPr/>
          </p:nvCxnSpPr>
          <p:spPr>
            <a:xfrm>
              <a:off x="3290645" y="3085545"/>
              <a:ext cx="0" cy="1187315"/>
            </a:xfrm>
            <a:prstGeom prst="line">
              <a:avLst/>
            </a:prstGeom>
            <a:noFill/>
            <a:ln w="3175" cap="flat" cmpd="sng" algn="ctr">
              <a:solidFill>
                <a:srgbClr val="505050"/>
              </a:solidFill>
              <a:prstDash val="solid"/>
              <a:headEnd type="none"/>
              <a:tailEnd type="none"/>
            </a:ln>
            <a:effectLst/>
          </p:spPr>
        </p:cxnSp>
        <p:cxnSp>
          <p:nvCxnSpPr>
            <p:cNvPr id="21" name="Straight Connector 20"/>
            <p:cNvCxnSpPr/>
            <p:nvPr/>
          </p:nvCxnSpPr>
          <p:spPr>
            <a:xfrm>
              <a:off x="1723809" y="3383768"/>
              <a:ext cx="2350254" cy="6493"/>
            </a:xfrm>
            <a:prstGeom prst="line">
              <a:avLst/>
            </a:prstGeom>
            <a:noFill/>
            <a:ln w="3175" cap="flat" cmpd="sng" algn="ctr">
              <a:solidFill>
                <a:srgbClr val="505050"/>
              </a:solidFill>
              <a:prstDash val="solid"/>
              <a:headEnd type="none"/>
              <a:tailEnd type="none"/>
            </a:ln>
            <a:effectLst/>
          </p:spPr>
        </p:cxnSp>
        <p:cxnSp>
          <p:nvCxnSpPr>
            <p:cNvPr id="22" name="Straight Connector 21"/>
            <p:cNvCxnSpPr>
              <a:endCxn id="19" idx="3"/>
            </p:cNvCxnSpPr>
            <p:nvPr/>
          </p:nvCxnSpPr>
          <p:spPr>
            <a:xfrm flipV="1">
              <a:off x="1723809" y="3679203"/>
              <a:ext cx="2350254" cy="7708"/>
            </a:xfrm>
            <a:prstGeom prst="line">
              <a:avLst/>
            </a:prstGeom>
            <a:noFill/>
            <a:ln w="3175" cap="flat" cmpd="sng" algn="ctr">
              <a:solidFill>
                <a:srgbClr val="505050"/>
              </a:solidFill>
              <a:prstDash val="solid"/>
              <a:headEnd type="none"/>
              <a:tailEnd type="none"/>
            </a:ln>
            <a:effectLst/>
          </p:spPr>
        </p:cxnSp>
        <p:cxnSp>
          <p:nvCxnSpPr>
            <p:cNvPr id="23" name="Straight Connector 22"/>
            <p:cNvCxnSpPr/>
            <p:nvPr/>
          </p:nvCxnSpPr>
          <p:spPr>
            <a:xfrm>
              <a:off x="1723809" y="3981784"/>
              <a:ext cx="2350254" cy="0"/>
            </a:xfrm>
            <a:prstGeom prst="line">
              <a:avLst/>
            </a:prstGeom>
            <a:noFill/>
            <a:ln w="3175" cap="flat" cmpd="sng" algn="ctr">
              <a:solidFill>
                <a:srgbClr val="505050"/>
              </a:solidFill>
              <a:prstDash val="solid"/>
              <a:headEnd type="none"/>
              <a:tailEnd type="none"/>
            </a:ln>
            <a:effectLst/>
          </p:spPr>
        </p:cxnSp>
        <p:cxnSp>
          <p:nvCxnSpPr>
            <p:cNvPr id="24" name="Straight Connector 23"/>
            <p:cNvCxnSpPr/>
            <p:nvPr/>
          </p:nvCxnSpPr>
          <p:spPr>
            <a:xfrm flipV="1">
              <a:off x="2507227" y="3085545"/>
              <a:ext cx="0" cy="1187315"/>
            </a:xfrm>
            <a:prstGeom prst="line">
              <a:avLst/>
            </a:prstGeom>
            <a:noFill/>
            <a:ln w="3175" cap="flat" cmpd="sng" algn="ctr">
              <a:solidFill>
                <a:srgbClr val="505050"/>
              </a:solidFill>
              <a:prstDash val="solid"/>
              <a:headEnd type="none"/>
              <a:tailEnd type="none"/>
            </a:ln>
            <a:effectLst/>
          </p:spPr>
        </p:cxnSp>
      </p:grpSp>
      <p:grpSp>
        <p:nvGrpSpPr>
          <p:cNvPr id="25" name="Group 24"/>
          <p:cNvGrpSpPr/>
          <p:nvPr/>
        </p:nvGrpSpPr>
        <p:grpSpPr>
          <a:xfrm>
            <a:off x="8642380" y="3520975"/>
            <a:ext cx="931386" cy="939088"/>
            <a:chOff x="8569939" y="2535661"/>
            <a:chExt cx="1096861" cy="1106090"/>
          </a:xfrm>
        </p:grpSpPr>
        <p:sp>
          <p:nvSpPr>
            <p:cNvPr id="26" name="Oval 25"/>
            <p:cNvSpPr/>
            <p:nvPr/>
          </p:nvSpPr>
          <p:spPr bwMode="auto">
            <a:xfrm>
              <a:off x="8569939" y="2537951"/>
              <a:ext cx="1095187" cy="1095187"/>
            </a:xfrm>
            <a:prstGeom prst="ellipse">
              <a:avLst/>
            </a:prstGeom>
            <a:solidFill>
              <a:srgbClr val="EFEFEF"/>
            </a:solidFill>
            <a:ln w="63500" cap="flat" cmpd="sng" algn="ctr">
              <a:solidFill>
                <a:srgbClr val="505050"/>
              </a:solidFill>
              <a:prstDash val="solid"/>
              <a:headEnd type="none" w="med" len="med"/>
              <a:tailEnd type="none" w="med" len="med"/>
            </a:ln>
            <a:effectLst/>
          </p:spPr>
          <p:txBody>
            <a:bodyPr rot="0" spcFirstLastPara="0" vertOverflow="overflow" horzOverflow="overflow" vert="horz" wrap="square" lIns="89606" tIns="44802" rIns="89606" bIns="44802" numCol="1" spcCol="0" rtlCol="0" fromWordArt="0" anchor="ctr" anchorCtr="0" forceAA="0" compatLnSpc="1">
              <a:prstTxWarp prst="textNoShape">
                <a:avLst/>
              </a:prstTxWarp>
              <a:noAutofit/>
            </a:bodyPr>
            <a:lstStyle/>
            <a:p>
              <a:pPr algn="ctr" defTabSz="913651" fontAlgn="base">
                <a:lnSpc>
                  <a:spcPct val="90000"/>
                </a:lnSpc>
                <a:spcBef>
                  <a:spcPct val="0"/>
                </a:spcBef>
                <a:spcAft>
                  <a:spcPct val="0"/>
                </a:spcAft>
                <a:defRPr/>
              </a:pPr>
              <a:endParaRPr lang="en-US" sz="1999" kern="0" spc="-50" dirty="0">
                <a:solidFill>
                  <a:srgbClr val="FFFFFF"/>
                </a:solidFill>
              </a:endParaRPr>
            </a:p>
          </p:txBody>
        </p:sp>
        <p:cxnSp>
          <p:nvCxnSpPr>
            <p:cNvPr id="27" name="Straight Connector 26"/>
            <p:cNvCxnSpPr/>
            <p:nvPr/>
          </p:nvCxnSpPr>
          <p:spPr>
            <a:xfrm flipH="1" flipV="1">
              <a:off x="8888038" y="2930591"/>
              <a:ext cx="229496" cy="161725"/>
            </a:xfrm>
            <a:prstGeom prst="line">
              <a:avLst/>
            </a:prstGeom>
            <a:noFill/>
            <a:ln w="57150" cap="rnd" cmpd="sng" algn="ctr">
              <a:solidFill>
                <a:srgbClr val="505050"/>
              </a:solidFill>
              <a:prstDash val="solid"/>
              <a:headEnd type="oval" w="sm" len="sm"/>
              <a:tailEnd type="none" w="sm" len="sm"/>
            </a:ln>
            <a:effectLst/>
          </p:spPr>
        </p:cxnSp>
        <p:cxnSp>
          <p:nvCxnSpPr>
            <p:cNvPr id="28" name="Straight Connector 27"/>
            <p:cNvCxnSpPr/>
            <p:nvPr/>
          </p:nvCxnSpPr>
          <p:spPr>
            <a:xfrm flipV="1">
              <a:off x="9117533" y="2989543"/>
              <a:ext cx="231169" cy="102774"/>
            </a:xfrm>
            <a:prstGeom prst="line">
              <a:avLst/>
            </a:prstGeom>
            <a:noFill/>
            <a:ln w="38100" cap="rnd" cmpd="sng" algn="ctr">
              <a:solidFill>
                <a:srgbClr val="505050"/>
              </a:solidFill>
              <a:prstDash val="solid"/>
              <a:headEnd type="oval" w="sm" len="sm"/>
              <a:tailEnd type="none" w="sm" len="sm"/>
            </a:ln>
            <a:effectLst/>
          </p:spPr>
        </p:cxnSp>
        <p:cxnSp>
          <p:nvCxnSpPr>
            <p:cNvPr id="29" name="Straight Connector 28"/>
            <p:cNvCxnSpPr>
              <a:stCxn id="26" idx="2"/>
            </p:cNvCxnSpPr>
            <p:nvPr/>
          </p:nvCxnSpPr>
          <p:spPr>
            <a:xfrm flipV="1">
              <a:off x="8569939" y="3085544"/>
              <a:ext cx="148611" cy="1"/>
            </a:xfrm>
            <a:prstGeom prst="line">
              <a:avLst/>
            </a:prstGeom>
            <a:noFill/>
            <a:ln w="63500" cap="flat" cmpd="sng" algn="ctr">
              <a:solidFill>
                <a:srgbClr val="505050"/>
              </a:solidFill>
              <a:prstDash val="solid"/>
              <a:headEnd type="none"/>
              <a:tailEnd type="none"/>
            </a:ln>
            <a:effectLst/>
          </p:spPr>
        </p:cxnSp>
        <p:cxnSp>
          <p:nvCxnSpPr>
            <p:cNvPr id="30" name="Straight Connector 29"/>
            <p:cNvCxnSpPr/>
            <p:nvPr/>
          </p:nvCxnSpPr>
          <p:spPr>
            <a:xfrm>
              <a:off x="9117532" y="2535661"/>
              <a:ext cx="0" cy="152603"/>
            </a:xfrm>
            <a:prstGeom prst="line">
              <a:avLst/>
            </a:prstGeom>
            <a:noFill/>
            <a:ln w="63500" cap="flat" cmpd="sng" algn="ctr">
              <a:solidFill>
                <a:srgbClr val="505050"/>
              </a:solidFill>
              <a:prstDash val="solid"/>
              <a:headEnd type="none"/>
              <a:tailEnd type="none"/>
            </a:ln>
            <a:effectLst/>
          </p:spPr>
        </p:cxnSp>
        <p:cxnSp>
          <p:nvCxnSpPr>
            <p:cNvPr id="31" name="Straight Connector 30"/>
            <p:cNvCxnSpPr/>
            <p:nvPr/>
          </p:nvCxnSpPr>
          <p:spPr>
            <a:xfrm flipV="1">
              <a:off x="9518189" y="3092316"/>
              <a:ext cx="148611" cy="1"/>
            </a:xfrm>
            <a:prstGeom prst="line">
              <a:avLst/>
            </a:prstGeom>
            <a:noFill/>
            <a:ln w="63500" cap="flat" cmpd="sng" algn="ctr">
              <a:solidFill>
                <a:srgbClr val="505050"/>
              </a:solidFill>
              <a:prstDash val="solid"/>
              <a:headEnd type="none"/>
              <a:tailEnd type="none"/>
            </a:ln>
            <a:effectLst/>
          </p:spPr>
        </p:cxnSp>
        <p:cxnSp>
          <p:nvCxnSpPr>
            <p:cNvPr id="32" name="Straight Connector 31"/>
            <p:cNvCxnSpPr/>
            <p:nvPr/>
          </p:nvCxnSpPr>
          <p:spPr>
            <a:xfrm>
              <a:off x="9117532" y="3489148"/>
              <a:ext cx="0" cy="152603"/>
            </a:xfrm>
            <a:prstGeom prst="line">
              <a:avLst/>
            </a:prstGeom>
            <a:noFill/>
            <a:ln w="63500" cap="flat" cmpd="sng" algn="ctr">
              <a:solidFill>
                <a:srgbClr val="505050"/>
              </a:solidFill>
              <a:prstDash val="solid"/>
              <a:headEnd type="none"/>
              <a:tailEnd type="none"/>
            </a:ln>
            <a:effectLst/>
          </p:spPr>
        </p:cxnSp>
      </p:grpSp>
      <p:grpSp>
        <p:nvGrpSpPr>
          <p:cNvPr id="33" name="Group 32"/>
          <p:cNvGrpSpPr/>
          <p:nvPr/>
        </p:nvGrpSpPr>
        <p:grpSpPr>
          <a:xfrm>
            <a:off x="7258283" y="3770495"/>
            <a:ext cx="438548" cy="541022"/>
            <a:chOff x="5223802" y="2888228"/>
            <a:chExt cx="705149" cy="931966"/>
          </a:xfrm>
        </p:grpSpPr>
        <p:sp>
          <p:nvSpPr>
            <p:cNvPr id="34" name="Rounded Rectangle 33"/>
            <p:cNvSpPr/>
            <p:nvPr/>
          </p:nvSpPr>
          <p:spPr bwMode="auto">
            <a:xfrm>
              <a:off x="5223802" y="3222179"/>
              <a:ext cx="705149" cy="598015"/>
            </a:xfrm>
            <a:prstGeom prst="roundRect">
              <a:avLst>
                <a:gd name="adj" fmla="val 10842"/>
              </a:avLst>
            </a:prstGeom>
            <a:solidFill>
              <a:srgbClr val="505050"/>
            </a:solidFill>
            <a:ln w="10795" cap="flat" cmpd="sng" algn="ctr">
              <a:noFill/>
              <a:prstDash val="solid"/>
              <a:headEnd type="none" w="med" len="med"/>
              <a:tailEnd type="none" w="med" len="med"/>
            </a:ln>
            <a:effectLst/>
          </p:spPr>
          <p:txBody>
            <a:bodyPr rot="0" spcFirstLastPara="0" vertOverflow="overflow" horzOverflow="overflow" vert="horz" wrap="square" lIns="89606" tIns="44802" rIns="89606" bIns="44802" numCol="1" spcCol="0" rtlCol="0" fromWordArt="0" anchor="ctr" anchorCtr="0" forceAA="0" compatLnSpc="1">
              <a:prstTxWarp prst="textNoShape">
                <a:avLst/>
              </a:prstTxWarp>
              <a:noAutofit/>
            </a:bodyPr>
            <a:lstStyle/>
            <a:p>
              <a:pPr algn="ctr" defTabSz="913651" fontAlgn="base">
                <a:lnSpc>
                  <a:spcPct val="90000"/>
                </a:lnSpc>
                <a:spcBef>
                  <a:spcPct val="0"/>
                </a:spcBef>
                <a:spcAft>
                  <a:spcPct val="0"/>
                </a:spcAft>
                <a:defRPr/>
              </a:pPr>
              <a:endParaRPr lang="en-US" sz="1999" kern="0" spc="-50" dirty="0">
                <a:solidFill>
                  <a:srgbClr val="FFFFFF"/>
                </a:solidFill>
              </a:endParaRPr>
            </a:p>
          </p:txBody>
        </p:sp>
        <p:sp>
          <p:nvSpPr>
            <p:cNvPr id="35" name="Block Arc 34"/>
            <p:cNvSpPr/>
            <p:nvPr/>
          </p:nvSpPr>
          <p:spPr bwMode="auto">
            <a:xfrm>
              <a:off x="5346829" y="2888228"/>
              <a:ext cx="459094" cy="601366"/>
            </a:xfrm>
            <a:prstGeom prst="blockArc">
              <a:avLst>
                <a:gd name="adj1" fmla="val 8823764"/>
                <a:gd name="adj2" fmla="val 2149516"/>
                <a:gd name="adj3" fmla="val 18311"/>
              </a:avLst>
            </a:prstGeom>
            <a:solidFill>
              <a:srgbClr val="505050"/>
            </a:solidFill>
            <a:ln w="10795" cap="flat" cmpd="sng" algn="ctr">
              <a:noFill/>
              <a:prstDash val="solid"/>
              <a:headEnd type="none" w="med" len="med"/>
              <a:tailEnd type="none" w="med" len="med"/>
            </a:ln>
            <a:effectLst/>
          </p:spPr>
          <p:txBody>
            <a:bodyPr rot="0" spcFirstLastPara="0" vertOverflow="overflow" horzOverflow="overflow" vert="horz" wrap="square" lIns="89606" tIns="44802" rIns="89606" bIns="44802" numCol="1" spcCol="0" rtlCol="0" fromWordArt="0" anchor="ctr" anchorCtr="0" forceAA="0" compatLnSpc="1">
              <a:prstTxWarp prst="textNoShape">
                <a:avLst/>
              </a:prstTxWarp>
              <a:noAutofit/>
            </a:bodyPr>
            <a:lstStyle/>
            <a:p>
              <a:pPr algn="ctr" defTabSz="913651" fontAlgn="base">
                <a:lnSpc>
                  <a:spcPct val="90000"/>
                </a:lnSpc>
                <a:spcBef>
                  <a:spcPct val="0"/>
                </a:spcBef>
                <a:spcAft>
                  <a:spcPct val="0"/>
                </a:spcAft>
                <a:defRPr/>
              </a:pPr>
              <a:endParaRPr lang="en-US" sz="1999" kern="0" spc="-50" dirty="0">
                <a:solidFill>
                  <a:srgbClr val="FFFFFF"/>
                </a:solidFill>
              </a:endParaRPr>
            </a:p>
          </p:txBody>
        </p:sp>
      </p:grpSp>
      <p:sp>
        <p:nvSpPr>
          <p:cNvPr id="36" name="Right Arrow 35"/>
          <p:cNvSpPr/>
          <p:nvPr/>
        </p:nvSpPr>
        <p:spPr bwMode="auto">
          <a:xfrm rot="16200000">
            <a:off x="2141675" y="4993273"/>
            <a:ext cx="1282984" cy="307186"/>
          </a:xfrm>
          <a:prstGeom prst="rightArrow">
            <a:avLst/>
          </a:prstGeom>
          <a:solidFill>
            <a:srgbClr val="505050"/>
          </a:solidFill>
          <a:ln w="25400" cap="flat" cmpd="sng" algn="ctr">
            <a:solidFill>
              <a:schemeClr val="tx1"/>
            </a:solidFill>
            <a:prstDash val="solid"/>
            <a:headEnd type="none" w="med" len="med"/>
            <a:tailEnd type="none" w="med" len="med"/>
          </a:ln>
          <a:effectLst/>
        </p:spPr>
        <p:txBody>
          <a:bodyPr rot="0" spcFirstLastPara="0" vertOverflow="overflow" horzOverflow="overflow" vert="horz" wrap="square" lIns="91398" tIns="45699" rIns="91398" bIns="45699" numCol="1" spcCol="0" rtlCol="0" fromWordArt="0" anchor="ctr" anchorCtr="0" forceAA="0" compatLnSpc="1">
            <a:prstTxWarp prst="textNoShape">
              <a:avLst/>
            </a:prstTxWarp>
            <a:noAutofit/>
          </a:bodyPr>
          <a:lstStyle/>
          <a:p>
            <a:pPr algn="ctr" defTabSz="913651" fontAlgn="base">
              <a:lnSpc>
                <a:spcPct val="90000"/>
              </a:lnSpc>
              <a:spcBef>
                <a:spcPct val="0"/>
              </a:spcBef>
              <a:spcAft>
                <a:spcPct val="0"/>
              </a:spcAft>
              <a:defRPr/>
            </a:pPr>
            <a:endParaRPr lang="en-US" sz="1999" kern="0" spc="-50" dirty="0"/>
          </a:p>
        </p:txBody>
      </p:sp>
      <p:sp>
        <p:nvSpPr>
          <p:cNvPr id="37" name="TextBox 36"/>
          <p:cNvSpPr txBox="1"/>
          <p:nvPr/>
        </p:nvSpPr>
        <p:spPr>
          <a:xfrm>
            <a:off x="4574602" y="5297462"/>
            <a:ext cx="2980124" cy="634218"/>
          </a:xfrm>
          <a:prstGeom prst="rect">
            <a:avLst/>
          </a:prstGeom>
          <a:noFill/>
        </p:spPr>
        <p:txBody>
          <a:bodyPr wrap="none" lIns="182797" tIns="146238" rIns="182797" bIns="146238" rtlCol="0">
            <a:spAutoFit/>
          </a:bodyPr>
          <a:lstStyle/>
          <a:p>
            <a:pPr>
              <a:lnSpc>
                <a:spcPct val="90000"/>
              </a:lnSpc>
              <a:defRPr/>
            </a:pPr>
            <a:r>
              <a:rPr lang="en-US" sz="2399" b="1" kern="0" spc="-50" dirty="0"/>
              <a:t>Insert / Bulk Insert</a:t>
            </a:r>
          </a:p>
        </p:txBody>
      </p:sp>
      <p:sp>
        <p:nvSpPr>
          <p:cNvPr id="38" name="TextBox 37"/>
          <p:cNvSpPr txBox="1"/>
          <p:nvPr/>
        </p:nvSpPr>
        <p:spPr>
          <a:xfrm>
            <a:off x="4535410" y="3002983"/>
            <a:ext cx="2316348" cy="634218"/>
          </a:xfrm>
          <a:prstGeom prst="rect">
            <a:avLst/>
          </a:prstGeom>
          <a:noFill/>
        </p:spPr>
        <p:txBody>
          <a:bodyPr wrap="none" lIns="182797" tIns="146238" rIns="182797" bIns="146238" rtlCol="0">
            <a:spAutoFit/>
          </a:bodyPr>
          <a:lstStyle/>
          <a:p>
            <a:pPr>
              <a:lnSpc>
                <a:spcPct val="90000"/>
              </a:lnSpc>
              <a:defRPr/>
            </a:pPr>
            <a:r>
              <a:rPr lang="en-US" sz="2399" b="1" kern="0" spc="-50" dirty="0">
                <a:solidFill>
                  <a:srgbClr val="0DBFF3"/>
                </a:solidFill>
              </a:rPr>
              <a:t>* </a:t>
            </a:r>
            <a:r>
              <a:rPr lang="en-US" sz="2399" b="1" i="1" kern="0" spc="-50" dirty="0">
                <a:solidFill>
                  <a:srgbClr val="0DBFF3"/>
                </a:solidFill>
              </a:rPr>
              <a:t>Old</a:t>
            </a:r>
            <a:r>
              <a:rPr lang="en-US" sz="2399" b="1" kern="0" spc="-50" dirty="0">
                <a:solidFill>
                  <a:srgbClr val="0DBFF3"/>
                </a:solidFill>
              </a:rPr>
              <a:t> </a:t>
            </a:r>
            <a:r>
              <a:rPr lang="en-US" sz="2399" b="1" i="1" kern="0" spc="-50" dirty="0">
                <a:solidFill>
                  <a:srgbClr val="0DBFF3"/>
                </a:solidFill>
              </a:rPr>
              <a:t>versions</a:t>
            </a:r>
          </a:p>
        </p:txBody>
      </p:sp>
      <p:sp>
        <p:nvSpPr>
          <p:cNvPr id="42" name="Rectangle 41"/>
          <p:cNvSpPr/>
          <p:nvPr/>
        </p:nvSpPr>
        <p:spPr>
          <a:xfrm>
            <a:off x="4673308" y="5908481"/>
            <a:ext cx="2786165" cy="433025"/>
          </a:xfrm>
          <a:prstGeom prst="rect">
            <a:avLst/>
          </a:prstGeom>
        </p:spPr>
        <p:txBody>
          <a:bodyPr wrap="none" lIns="93232" tIns="46615" rIns="93232" bIns="46615">
            <a:spAutoFit/>
          </a:bodyPr>
          <a:lstStyle/>
          <a:p>
            <a:pPr>
              <a:lnSpc>
                <a:spcPct val="90000"/>
              </a:lnSpc>
              <a:defRPr/>
            </a:pPr>
            <a:r>
              <a:rPr lang="en-US" sz="2399" b="1" kern="0" spc="-50" dirty="0"/>
              <a:t>Update */ Delete *</a:t>
            </a:r>
          </a:p>
        </p:txBody>
      </p:sp>
      <p:pic>
        <p:nvPicPr>
          <p:cNvPr id="59" name="Picture 5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41948" y="5373622"/>
            <a:ext cx="891148" cy="878644"/>
          </a:xfrm>
          <a:prstGeom prst="rect">
            <a:avLst/>
          </a:prstGeom>
        </p:spPr>
      </p:pic>
      <p:sp>
        <p:nvSpPr>
          <p:cNvPr id="60" name="Freeform 59"/>
          <p:cNvSpPr/>
          <p:nvPr/>
        </p:nvSpPr>
        <p:spPr>
          <a:xfrm>
            <a:off x="2903500" y="5496610"/>
            <a:ext cx="614637" cy="620156"/>
          </a:xfrm>
          <a:custGeom>
            <a:avLst/>
            <a:gdLst>
              <a:gd name="connsiteX0" fmla="*/ 260828 w 900424"/>
              <a:gd name="connsiteY0" fmla="*/ 764648 h 923624"/>
              <a:gd name="connsiteX1" fmla="*/ 260828 w 900424"/>
              <a:gd name="connsiteY1" fmla="*/ 794160 h 923624"/>
              <a:gd name="connsiteX2" fmla="*/ 752690 w 900424"/>
              <a:gd name="connsiteY2" fmla="*/ 794160 h 923624"/>
              <a:gd name="connsiteX3" fmla="*/ 752690 w 900424"/>
              <a:gd name="connsiteY3" fmla="*/ 764648 h 923624"/>
              <a:gd name="connsiteX4" fmla="*/ 523025 w 900424"/>
              <a:gd name="connsiteY4" fmla="*/ 689333 h 923624"/>
              <a:gd name="connsiteX5" fmla="*/ 529392 w 900424"/>
              <a:gd name="connsiteY5" fmla="*/ 718845 h 923624"/>
              <a:gd name="connsiteX6" fmla="*/ 752690 w 900424"/>
              <a:gd name="connsiteY6" fmla="*/ 718845 h 923624"/>
              <a:gd name="connsiteX7" fmla="*/ 752690 w 900424"/>
              <a:gd name="connsiteY7" fmla="*/ 689333 h 923624"/>
              <a:gd name="connsiteX8" fmla="*/ 260828 w 900424"/>
              <a:gd name="connsiteY8" fmla="*/ 689333 h 923624"/>
              <a:gd name="connsiteX9" fmla="*/ 260828 w 900424"/>
              <a:gd name="connsiteY9" fmla="*/ 718845 h 923624"/>
              <a:gd name="connsiteX10" fmla="*/ 520342 w 900424"/>
              <a:gd name="connsiteY10" fmla="*/ 718845 h 923624"/>
              <a:gd name="connsiteX11" fmla="*/ 427300 w 900424"/>
              <a:gd name="connsiteY11" fmla="*/ 689333 h 923624"/>
              <a:gd name="connsiteX12" fmla="*/ 506777 w 900424"/>
              <a:gd name="connsiteY12" fmla="*/ 614015 h 923624"/>
              <a:gd name="connsiteX13" fmla="*/ 513144 w 900424"/>
              <a:gd name="connsiteY13" fmla="*/ 643527 h 923624"/>
              <a:gd name="connsiteX14" fmla="*/ 752690 w 900424"/>
              <a:gd name="connsiteY14" fmla="*/ 643527 h 923624"/>
              <a:gd name="connsiteX15" fmla="*/ 752690 w 900424"/>
              <a:gd name="connsiteY15" fmla="*/ 614015 h 923624"/>
              <a:gd name="connsiteX16" fmla="*/ 260828 w 900424"/>
              <a:gd name="connsiteY16" fmla="*/ 614015 h 923624"/>
              <a:gd name="connsiteX17" fmla="*/ 260828 w 900424"/>
              <a:gd name="connsiteY17" fmla="*/ 643527 h 923624"/>
              <a:gd name="connsiteX18" fmla="*/ 334546 w 900424"/>
              <a:gd name="connsiteY18" fmla="*/ 643527 h 923624"/>
              <a:gd name="connsiteX19" fmla="*/ 307478 w 900424"/>
              <a:gd name="connsiteY19" fmla="*/ 614015 h 923624"/>
              <a:gd name="connsiteX20" fmla="*/ 467940 w 900424"/>
              <a:gd name="connsiteY20" fmla="*/ 571407 h 923624"/>
              <a:gd name="connsiteX21" fmla="*/ 385032 w 900424"/>
              <a:gd name="connsiteY21" fmla="*/ 646669 h 923624"/>
              <a:gd name="connsiteX22" fmla="*/ 506739 w 900424"/>
              <a:gd name="connsiteY22" fmla="*/ 697133 h 923624"/>
              <a:gd name="connsiteX23" fmla="*/ 260828 w 900424"/>
              <a:gd name="connsiteY23" fmla="*/ 563154 h 923624"/>
              <a:gd name="connsiteX24" fmla="*/ 260828 w 900424"/>
              <a:gd name="connsiteY24" fmla="*/ 568210 h 923624"/>
              <a:gd name="connsiteX25" fmla="*/ 265465 w 900424"/>
              <a:gd name="connsiteY25" fmla="*/ 568210 h 923624"/>
              <a:gd name="connsiteX26" fmla="*/ 477023 w 900424"/>
              <a:gd name="connsiteY26" fmla="*/ 538699 h 923624"/>
              <a:gd name="connsiteX27" fmla="*/ 477810 w 900424"/>
              <a:gd name="connsiteY27" fmla="*/ 539556 h 923624"/>
              <a:gd name="connsiteX28" fmla="*/ 481962 w 900424"/>
              <a:gd name="connsiteY28" fmla="*/ 568210 h 923624"/>
              <a:gd name="connsiteX29" fmla="*/ 752690 w 900424"/>
              <a:gd name="connsiteY29" fmla="*/ 568210 h 923624"/>
              <a:gd name="connsiteX30" fmla="*/ 752690 w 900424"/>
              <a:gd name="connsiteY30" fmla="*/ 538699 h 923624"/>
              <a:gd name="connsiteX31" fmla="*/ 407941 w 900424"/>
              <a:gd name="connsiteY31" fmla="*/ 463381 h 923624"/>
              <a:gd name="connsiteX32" fmla="*/ 435010 w 900424"/>
              <a:gd name="connsiteY32" fmla="*/ 492893 h 923624"/>
              <a:gd name="connsiteX33" fmla="*/ 752690 w 900424"/>
              <a:gd name="connsiteY33" fmla="*/ 492893 h 923624"/>
              <a:gd name="connsiteX34" fmla="*/ 752690 w 900424"/>
              <a:gd name="connsiteY34" fmla="*/ 463381 h 923624"/>
              <a:gd name="connsiteX35" fmla="*/ 338860 w 900424"/>
              <a:gd name="connsiteY35" fmla="*/ 388063 h 923624"/>
              <a:gd name="connsiteX36" fmla="*/ 365929 w 900424"/>
              <a:gd name="connsiteY36" fmla="*/ 417575 h 923624"/>
              <a:gd name="connsiteX37" fmla="*/ 752690 w 900424"/>
              <a:gd name="connsiteY37" fmla="*/ 417575 h 923624"/>
              <a:gd name="connsiteX38" fmla="*/ 752690 w 900424"/>
              <a:gd name="connsiteY38" fmla="*/ 388063 h 923624"/>
              <a:gd name="connsiteX39" fmla="*/ 208773 w 900424"/>
              <a:gd name="connsiteY39" fmla="*/ 287934 h 923624"/>
              <a:gd name="connsiteX40" fmla="*/ 191984 w 900424"/>
              <a:gd name="connsiteY40" fmla="*/ 292572 h 923624"/>
              <a:gd name="connsiteX41" fmla="*/ 127335 w 900424"/>
              <a:gd name="connsiteY41" fmla="*/ 351868 h 923624"/>
              <a:gd name="connsiteX42" fmla="*/ 129474 w 900424"/>
              <a:gd name="connsiteY42" fmla="*/ 386647 h 923624"/>
              <a:gd name="connsiteX43" fmla="*/ 350534 w 900424"/>
              <a:gd name="connsiteY43" fmla="*/ 627663 h 923624"/>
              <a:gd name="connsiteX44" fmla="*/ 384998 w 900424"/>
              <a:gd name="connsiteY44" fmla="*/ 632793 h 923624"/>
              <a:gd name="connsiteX45" fmla="*/ 449647 w 900424"/>
              <a:gd name="connsiteY45" fmla="*/ 573497 h 923624"/>
              <a:gd name="connsiteX46" fmla="*/ 447509 w 900424"/>
              <a:gd name="connsiteY46" fmla="*/ 538719 h 923624"/>
              <a:gd name="connsiteX47" fmla="*/ 226448 w 900424"/>
              <a:gd name="connsiteY47" fmla="*/ 297702 h 923624"/>
              <a:gd name="connsiteX48" fmla="*/ 208773 w 900424"/>
              <a:gd name="connsiteY48" fmla="*/ 287934 h 923624"/>
              <a:gd name="connsiteX49" fmla="*/ 260828 w 900424"/>
              <a:gd name="connsiteY49" fmla="*/ 270220 h 923624"/>
              <a:gd name="connsiteX50" fmla="*/ 260828 w 900424"/>
              <a:gd name="connsiteY50" fmla="*/ 302986 h 923624"/>
              <a:gd name="connsiteX51" fmla="*/ 266867 w 900424"/>
              <a:gd name="connsiteY51" fmla="*/ 309569 h 923624"/>
              <a:gd name="connsiteX52" fmla="*/ 555945 w 900424"/>
              <a:gd name="connsiteY52" fmla="*/ 309569 h 923624"/>
              <a:gd name="connsiteX53" fmla="*/ 555945 w 900424"/>
              <a:gd name="connsiteY53" fmla="*/ 270220 h 923624"/>
              <a:gd name="connsiteX54" fmla="*/ 593007 w 900424"/>
              <a:gd name="connsiteY54" fmla="*/ 119089 h 923624"/>
              <a:gd name="connsiteX55" fmla="*/ 593004 w 900424"/>
              <a:gd name="connsiteY55" fmla="*/ 272798 h 923624"/>
              <a:gd name="connsiteX56" fmla="*/ 636152 w 900424"/>
              <a:gd name="connsiteY56" fmla="*/ 321336 h 923624"/>
              <a:gd name="connsiteX57" fmla="*/ 797949 w 900424"/>
              <a:gd name="connsiteY57" fmla="*/ 324032 h 923624"/>
              <a:gd name="connsiteX58" fmla="*/ 655342 w 900424"/>
              <a:gd name="connsiteY58" fmla="*/ 99448 h 923624"/>
              <a:gd name="connsiteX59" fmla="*/ 721150 w 900424"/>
              <a:gd name="connsiteY59" fmla="*/ 99448 h 923624"/>
              <a:gd name="connsiteX60" fmla="*/ 900424 w 900424"/>
              <a:gd name="connsiteY60" fmla="*/ 281060 h 923624"/>
              <a:gd name="connsiteX61" fmla="*/ 900424 w 900424"/>
              <a:gd name="connsiteY61" fmla="*/ 853516 h 923624"/>
              <a:gd name="connsiteX62" fmla="*/ 852052 w 900424"/>
              <a:gd name="connsiteY62" fmla="*/ 905556 h 923624"/>
              <a:gd name="connsiteX63" fmla="*/ 828360 w 900424"/>
              <a:gd name="connsiteY63" fmla="*/ 905556 h 923624"/>
              <a:gd name="connsiteX64" fmla="*/ 849187 w 900424"/>
              <a:gd name="connsiteY64" fmla="*/ 863467 h 923624"/>
              <a:gd name="connsiteX65" fmla="*/ 849187 w 900424"/>
              <a:gd name="connsiteY65" fmla="*/ 293293 h 923624"/>
              <a:gd name="connsiteX66" fmla="*/ 284672 w 900424"/>
              <a:gd name="connsiteY66" fmla="*/ 26544 h 923624"/>
              <a:gd name="connsiteX67" fmla="*/ 306902 w 900424"/>
              <a:gd name="connsiteY67" fmla="*/ 26544 h 923624"/>
              <a:gd name="connsiteX68" fmla="*/ 312459 w 900424"/>
              <a:gd name="connsiteY68" fmla="*/ 32101 h 923624"/>
              <a:gd name="connsiteX69" fmla="*/ 312459 w 900424"/>
              <a:gd name="connsiteY69" fmla="*/ 71134 h 923624"/>
              <a:gd name="connsiteX70" fmla="*/ 341829 w 900424"/>
              <a:gd name="connsiteY70" fmla="*/ 71134 h 923624"/>
              <a:gd name="connsiteX71" fmla="*/ 341829 w 900424"/>
              <a:gd name="connsiteY71" fmla="*/ 32101 h 923624"/>
              <a:gd name="connsiteX72" fmla="*/ 347386 w 900424"/>
              <a:gd name="connsiteY72" fmla="*/ 26544 h 923624"/>
              <a:gd name="connsiteX73" fmla="*/ 369616 w 900424"/>
              <a:gd name="connsiteY73" fmla="*/ 26544 h 923624"/>
              <a:gd name="connsiteX74" fmla="*/ 375173 w 900424"/>
              <a:gd name="connsiteY74" fmla="*/ 32101 h 923624"/>
              <a:gd name="connsiteX75" fmla="*/ 375173 w 900424"/>
              <a:gd name="connsiteY75" fmla="*/ 71134 h 923624"/>
              <a:gd name="connsiteX76" fmla="*/ 404543 w 900424"/>
              <a:gd name="connsiteY76" fmla="*/ 71134 h 923624"/>
              <a:gd name="connsiteX77" fmla="*/ 404543 w 900424"/>
              <a:gd name="connsiteY77" fmla="*/ 32101 h 923624"/>
              <a:gd name="connsiteX78" fmla="*/ 410100 w 900424"/>
              <a:gd name="connsiteY78" fmla="*/ 26544 h 923624"/>
              <a:gd name="connsiteX79" fmla="*/ 432330 w 900424"/>
              <a:gd name="connsiteY79" fmla="*/ 26544 h 923624"/>
              <a:gd name="connsiteX80" fmla="*/ 437887 w 900424"/>
              <a:gd name="connsiteY80" fmla="*/ 32101 h 923624"/>
              <a:gd name="connsiteX81" fmla="*/ 437887 w 900424"/>
              <a:gd name="connsiteY81" fmla="*/ 71134 h 923624"/>
              <a:gd name="connsiteX82" fmla="*/ 467255 w 900424"/>
              <a:gd name="connsiteY82" fmla="*/ 71134 h 923624"/>
              <a:gd name="connsiteX83" fmla="*/ 467255 w 900424"/>
              <a:gd name="connsiteY83" fmla="*/ 32101 h 923624"/>
              <a:gd name="connsiteX84" fmla="*/ 472813 w 900424"/>
              <a:gd name="connsiteY84" fmla="*/ 26544 h 923624"/>
              <a:gd name="connsiteX85" fmla="*/ 495042 w 900424"/>
              <a:gd name="connsiteY85" fmla="*/ 26544 h 923624"/>
              <a:gd name="connsiteX86" fmla="*/ 500600 w 900424"/>
              <a:gd name="connsiteY86" fmla="*/ 32101 h 923624"/>
              <a:gd name="connsiteX87" fmla="*/ 500600 w 900424"/>
              <a:gd name="connsiteY87" fmla="*/ 71134 h 923624"/>
              <a:gd name="connsiteX88" fmla="*/ 606532 w 900424"/>
              <a:gd name="connsiteY88" fmla="*/ 71134 h 923624"/>
              <a:gd name="connsiteX89" fmla="*/ 833814 w 900424"/>
              <a:gd name="connsiteY89" fmla="*/ 298416 h 923624"/>
              <a:gd name="connsiteX90" fmla="*/ 833814 w 900424"/>
              <a:gd name="connsiteY90" fmla="*/ 868590 h 923624"/>
              <a:gd name="connsiteX91" fmla="*/ 778780 w 900424"/>
              <a:gd name="connsiteY91" fmla="*/ 923624 h 923624"/>
              <a:gd name="connsiteX92" fmla="*/ 239864 w 900424"/>
              <a:gd name="connsiteY92" fmla="*/ 923624 h 923624"/>
              <a:gd name="connsiteX93" fmla="*/ 184830 w 900424"/>
              <a:gd name="connsiteY93" fmla="*/ 868590 h 923624"/>
              <a:gd name="connsiteX94" fmla="*/ 184830 w 900424"/>
              <a:gd name="connsiteY94" fmla="*/ 480294 h 923624"/>
              <a:gd name="connsiteX95" fmla="*/ 108913 w 900424"/>
              <a:gd name="connsiteY95" fmla="*/ 397523 h 923624"/>
              <a:gd name="connsiteX96" fmla="*/ 110701 w 900424"/>
              <a:gd name="connsiteY96" fmla="*/ 356111 h 923624"/>
              <a:gd name="connsiteX97" fmla="*/ 184830 w 900424"/>
              <a:gd name="connsiteY97" fmla="*/ 288121 h 923624"/>
              <a:gd name="connsiteX98" fmla="*/ 184830 w 900424"/>
              <a:gd name="connsiteY98" fmla="*/ 255779 h 923624"/>
              <a:gd name="connsiteX99" fmla="*/ 182259 w 900424"/>
              <a:gd name="connsiteY99" fmla="*/ 258139 h 923624"/>
              <a:gd name="connsiteX100" fmla="*/ 181841 w 900424"/>
              <a:gd name="connsiteY100" fmla="*/ 251347 h 923624"/>
              <a:gd name="connsiteX101" fmla="*/ 140694 w 900424"/>
              <a:gd name="connsiteY101" fmla="*/ 206486 h 923624"/>
              <a:gd name="connsiteX102" fmla="*/ 121321 w 900424"/>
              <a:gd name="connsiteY102" fmla="*/ 203601 h 923624"/>
              <a:gd name="connsiteX103" fmla="*/ 42515 w 900424"/>
              <a:gd name="connsiteY103" fmla="*/ 275879 h 923624"/>
              <a:gd name="connsiteX104" fmla="*/ 43718 w 900424"/>
              <a:gd name="connsiteY104" fmla="*/ 295429 h 923624"/>
              <a:gd name="connsiteX105" fmla="*/ 84866 w 900424"/>
              <a:gd name="connsiteY105" fmla="*/ 340291 h 923624"/>
              <a:gd name="connsiteX106" fmla="*/ 91596 w 900424"/>
              <a:gd name="connsiteY106" fmla="*/ 341293 h 923624"/>
              <a:gd name="connsiteX107" fmla="*/ 83614 w 900424"/>
              <a:gd name="connsiteY107" fmla="*/ 348614 h 923624"/>
              <a:gd name="connsiteX108" fmla="*/ 60335 w 900424"/>
              <a:gd name="connsiteY108" fmla="*/ 347609 h 923624"/>
              <a:gd name="connsiteX109" fmla="*/ 15793 w 900424"/>
              <a:gd name="connsiteY109" fmla="*/ 299045 h 923624"/>
              <a:gd name="connsiteX110" fmla="*/ 16799 w 900424"/>
              <a:gd name="connsiteY110" fmla="*/ 275766 h 923624"/>
              <a:gd name="connsiteX111" fmla="*/ 122114 w 900424"/>
              <a:gd name="connsiteY111" fmla="*/ 179172 h 923624"/>
              <a:gd name="connsiteX112" fmla="*/ 145393 w 900424"/>
              <a:gd name="connsiteY112" fmla="*/ 180177 h 923624"/>
              <a:gd name="connsiteX113" fmla="*/ 184830 w 900424"/>
              <a:gd name="connsiteY113" fmla="*/ 223174 h 923624"/>
              <a:gd name="connsiteX114" fmla="*/ 184830 w 900424"/>
              <a:gd name="connsiteY114" fmla="*/ 126169 h 923624"/>
              <a:gd name="connsiteX115" fmla="*/ 239864 w 900424"/>
              <a:gd name="connsiteY115" fmla="*/ 71134 h 923624"/>
              <a:gd name="connsiteX116" fmla="*/ 279115 w 900424"/>
              <a:gd name="connsiteY116" fmla="*/ 71134 h 923624"/>
              <a:gd name="connsiteX117" fmla="*/ 279115 w 900424"/>
              <a:gd name="connsiteY117" fmla="*/ 32101 h 923624"/>
              <a:gd name="connsiteX118" fmla="*/ 284672 w 900424"/>
              <a:gd name="connsiteY118" fmla="*/ 26544 h 923624"/>
              <a:gd name="connsiteX119" fmla="*/ 185348 w 900424"/>
              <a:gd name="connsiteY119" fmla="*/ 0 h 923624"/>
              <a:gd name="connsiteX120" fmla="*/ 185239 w 900424"/>
              <a:gd name="connsiteY120" fmla="*/ 90 h 923624"/>
              <a:gd name="connsiteX121" fmla="*/ 177024 w 900424"/>
              <a:gd name="connsiteY121" fmla="*/ 4549 h 923624"/>
              <a:gd name="connsiteX122" fmla="*/ 69385 w 900424"/>
              <a:gd name="connsiteY122" fmla="*/ 97763 h 923624"/>
              <a:gd name="connsiteX123" fmla="*/ 0 w 900424"/>
              <a:gd name="connsiteY123" fmla="*/ 195399 h 923624"/>
              <a:gd name="connsiteX124" fmla="*/ 0 w 900424"/>
              <a:gd name="connsiteY124" fmla="*/ 195353 h 923624"/>
              <a:gd name="connsiteX125" fmla="*/ 69366 w 900424"/>
              <a:gd name="connsiteY125" fmla="*/ 97745 h 923624"/>
              <a:gd name="connsiteX126" fmla="*/ 177009 w 900424"/>
              <a:gd name="connsiteY126" fmla="*/ 4526 h 923624"/>
              <a:gd name="connsiteX0" fmla="*/ 260828 w 900424"/>
              <a:gd name="connsiteY0" fmla="*/ 764558 h 923534"/>
              <a:gd name="connsiteX1" fmla="*/ 260828 w 900424"/>
              <a:gd name="connsiteY1" fmla="*/ 794070 h 923534"/>
              <a:gd name="connsiteX2" fmla="*/ 752690 w 900424"/>
              <a:gd name="connsiteY2" fmla="*/ 794070 h 923534"/>
              <a:gd name="connsiteX3" fmla="*/ 752690 w 900424"/>
              <a:gd name="connsiteY3" fmla="*/ 764558 h 923534"/>
              <a:gd name="connsiteX4" fmla="*/ 260828 w 900424"/>
              <a:gd name="connsiteY4" fmla="*/ 764558 h 923534"/>
              <a:gd name="connsiteX5" fmla="*/ 523025 w 900424"/>
              <a:gd name="connsiteY5" fmla="*/ 689243 h 923534"/>
              <a:gd name="connsiteX6" fmla="*/ 529392 w 900424"/>
              <a:gd name="connsiteY6" fmla="*/ 718755 h 923534"/>
              <a:gd name="connsiteX7" fmla="*/ 752690 w 900424"/>
              <a:gd name="connsiteY7" fmla="*/ 718755 h 923534"/>
              <a:gd name="connsiteX8" fmla="*/ 752690 w 900424"/>
              <a:gd name="connsiteY8" fmla="*/ 689243 h 923534"/>
              <a:gd name="connsiteX9" fmla="*/ 523025 w 900424"/>
              <a:gd name="connsiteY9" fmla="*/ 689243 h 923534"/>
              <a:gd name="connsiteX10" fmla="*/ 260828 w 900424"/>
              <a:gd name="connsiteY10" fmla="*/ 689243 h 923534"/>
              <a:gd name="connsiteX11" fmla="*/ 260828 w 900424"/>
              <a:gd name="connsiteY11" fmla="*/ 718755 h 923534"/>
              <a:gd name="connsiteX12" fmla="*/ 520342 w 900424"/>
              <a:gd name="connsiteY12" fmla="*/ 718755 h 923534"/>
              <a:gd name="connsiteX13" fmla="*/ 427300 w 900424"/>
              <a:gd name="connsiteY13" fmla="*/ 689243 h 923534"/>
              <a:gd name="connsiteX14" fmla="*/ 260828 w 900424"/>
              <a:gd name="connsiteY14" fmla="*/ 689243 h 923534"/>
              <a:gd name="connsiteX15" fmla="*/ 506777 w 900424"/>
              <a:gd name="connsiteY15" fmla="*/ 613925 h 923534"/>
              <a:gd name="connsiteX16" fmla="*/ 513144 w 900424"/>
              <a:gd name="connsiteY16" fmla="*/ 643437 h 923534"/>
              <a:gd name="connsiteX17" fmla="*/ 752690 w 900424"/>
              <a:gd name="connsiteY17" fmla="*/ 643437 h 923534"/>
              <a:gd name="connsiteX18" fmla="*/ 752690 w 900424"/>
              <a:gd name="connsiteY18" fmla="*/ 613925 h 923534"/>
              <a:gd name="connsiteX19" fmla="*/ 506777 w 900424"/>
              <a:gd name="connsiteY19" fmla="*/ 613925 h 923534"/>
              <a:gd name="connsiteX20" fmla="*/ 260828 w 900424"/>
              <a:gd name="connsiteY20" fmla="*/ 613925 h 923534"/>
              <a:gd name="connsiteX21" fmla="*/ 260828 w 900424"/>
              <a:gd name="connsiteY21" fmla="*/ 643437 h 923534"/>
              <a:gd name="connsiteX22" fmla="*/ 334546 w 900424"/>
              <a:gd name="connsiteY22" fmla="*/ 643437 h 923534"/>
              <a:gd name="connsiteX23" fmla="*/ 307478 w 900424"/>
              <a:gd name="connsiteY23" fmla="*/ 613925 h 923534"/>
              <a:gd name="connsiteX24" fmla="*/ 260828 w 900424"/>
              <a:gd name="connsiteY24" fmla="*/ 613925 h 923534"/>
              <a:gd name="connsiteX25" fmla="*/ 467940 w 900424"/>
              <a:gd name="connsiteY25" fmla="*/ 571317 h 923534"/>
              <a:gd name="connsiteX26" fmla="*/ 385032 w 900424"/>
              <a:gd name="connsiteY26" fmla="*/ 646579 h 923534"/>
              <a:gd name="connsiteX27" fmla="*/ 506739 w 900424"/>
              <a:gd name="connsiteY27" fmla="*/ 697043 h 923534"/>
              <a:gd name="connsiteX28" fmla="*/ 467940 w 900424"/>
              <a:gd name="connsiteY28" fmla="*/ 571317 h 923534"/>
              <a:gd name="connsiteX29" fmla="*/ 260828 w 900424"/>
              <a:gd name="connsiteY29" fmla="*/ 563064 h 923534"/>
              <a:gd name="connsiteX30" fmla="*/ 260828 w 900424"/>
              <a:gd name="connsiteY30" fmla="*/ 568120 h 923534"/>
              <a:gd name="connsiteX31" fmla="*/ 265465 w 900424"/>
              <a:gd name="connsiteY31" fmla="*/ 568120 h 923534"/>
              <a:gd name="connsiteX32" fmla="*/ 260828 w 900424"/>
              <a:gd name="connsiteY32" fmla="*/ 563064 h 923534"/>
              <a:gd name="connsiteX33" fmla="*/ 477023 w 900424"/>
              <a:gd name="connsiteY33" fmla="*/ 538609 h 923534"/>
              <a:gd name="connsiteX34" fmla="*/ 477810 w 900424"/>
              <a:gd name="connsiteY34" fmla="*/ 539466 h 923534"/>
              <a:gd name="connsiteX35" fmla="*/ 481962 w 900424"/>
              <a:gd name="connsiteY35" fmla="*/ 568120 h 923534"/>
              <a:gd name="connsiteX36" fmla="*/ 752690 w 900424"/>
              <a:gd name="connsiteY36" fmla="*/ 568120 h 923534"/>
              <a:gd name="connsiteX37" fmla="*/ 752690 w 900424"/>
              <a:gd name="connsiteY37" fmla="*/ 538609 h 923534"/>
              <a:gd name="connsiteX38" fmla="*/ 477023 w 900424"/>
              <a:gd name="connsiteY38" fmla="*/ 538609 h 923534"/>
              <a:gd name="connsiteX39" fmla="*/ 407941 w 900424"/>
              <a:gd name="connsiteY39" fmla="*/ 463291 h 923534"/>
              <a:gd name="connsiteX40" fmla="*/ 435010 w 900424"/>
              <a:gd name="connsiteY40" fmla="*/ 492803 h 923534"/>
              <a:gd name="connsiteX41" fmla="*/ 752690 w 900424"/>
              <a:gd name="connsiteY41" fmla="*/ 492803 h 923534"/>
              <a:gd name="connsiteX42" fmla="*/ 752690 w 900424"/>
              <a:gd name="connsiteY42" fmla="*/ 463291 h 923534"/>
              <a:gd name="connsiteX43" fmla="*/ 407941 w 900424"/>
              <a:gd name="connsiteY43" fmla="*/ 463291 h 923534"/>
              <a:gd name="connsiteX44" fmla="*/ 338860 w 900424"/>
              <a:gd name="connsiteY44" fmla="*/ 387973 h 923534"/>
              <a:gd name="connsiteX45" fmla="*/ 365929 w 900424"/>
              <a:gd name="connsiteY45" fmla="*/ 417485 h 923534"/>
              <a:gd name="connsiteX46" fmla="*/ 752690 w 900424"/>
              <a:gd name="connsiteY46" fmla="*/ 417485 h 923534"/>
              <a:gd name="connsiteX47" fmla="*/ 752690 w 900424"/>
              <a:gd name="connsiteY47" fmla="*/ 387973 h 923534"/>
              <a:gd name="connsiteX48" fmla="*/ 338860 w 900424"/>
              <a:gd name="connsiteY48" fmla="*/ 387973 h 923534"/>
              <a:gd name="connsiteX49" fmla="*/ 208773 w 900424"/>
              <a:gd name="connsiteY49" fmla="*/ 287844 h 923534"/>
              <a:gd name="connsiteX50" fmla="*/ 191984 w 900424"/>
              <a:gd name="connsiteY50" fmla="*/ 292482 h 923534"/>
              <a:gd name="connsiteX51" fmla="*/ 127335 w 900424"/>
              <a:gd name="connsiteY51" fmla="*/ 351778 h 923534"/>
              <a:gd name="connsiteX52" fmla="*/ 129474 w 900424"/>
              <a:gd name="connsiteY52" fmla="*/ 386557 h 923534"/>
              <a:gd name="connsiteX53" fmla="*/ 350534 w 900424"/>
              <a:gd name="connsiteY53" fmla="*/ 627573 h 923534"/>
              <a:gd name="connsiteX54" fmla="*/ 384998 w 900424"/>
              <a:gd name="connsiteY54" fmla="*/ 632703 h 923534"/>
              <a:gd name="connsiteX55" fmla="*/ 449647 w 900424"/>
              <a:gd name="connsiteY55" fmla="*/ 573407 h 923534"/>
              <a:gd name="connsiteX56" fmla="*/ 447509 w 900424"/>
              <a:gd name="connsiteY56" fmla="*/ 538629 h 923534"/>
              <a:gd name="connsiteX57" fmla="*/ 226448 w 900424"/>
              <a:gd name="connsiteY57" fmla="*/ 297612 h 923534"/>
              <a:gd name="connsiteX58" fmla="*/ 208773 w 900424"/>
              <a:gd name="connsiteY58" fmla="*/ 287844 h 923534"/>
              <a:gd name="connsiteX59" fmla="*/ 260828 w 900424"/>
              <a:gd name="connsiteY59" fmla="*/ 270130 h 923534"/>
              <a:gd name="connsiteX60" fmla="*/ 260828 w 900424"/>
              <a:gd name="connsiteY60" fmla="*/ 302896 h 923534"/>
              <a:gd name="connsiteX61" fmla="*/ 266867 w 900424"/>
              <a:gd name="connsiteY61" fmla="*/ 309479 h 923534"/>
              <a:gd name="connsiteX62" fmla="*/ 555945 w 900424"/>
              <a:gd name="connsiteY62" fmla="*/ 309479 h 923534"/>
              <a:gd name="connsiteX63" fmla="*/ 555945 w 900424"/>
              <a:gd name="connsiteY63" fmla="*/ 270130 h 923534"/>
              <a:gd name="connsiteX64" fmla="*/ 260828 w 900424"/>
              <a:gd name="connsiteY64" fmla="*/ 270130 h 923534"/>
              <a:gd name="connsiteX65" fmla="*/ 593007 w 900424"/>
              <a:gd name="connsiteY65" fmla="*/ 118999 h 923534"/>
              <a:gd name="connsiteX66" fmla="*/ 593004 w 900424"/>
              <a:gd name="connsiteY66" fmla="*/ 272708 h 923534"/>
              <a:gd name="connsiteX67" fmla="*/ 636152 w 900424"/>
              <a:gd name="connsiteY67" fmla="*/ 321246 h 923534"/>
              <a:gd name="connsiteX68" fmla="*/ 797949 w 900424"/>
              <a:gd name="connsiteY68" fmla="*/ 323942 h 923534"/>
              <a:gd name="connsiteX69" fmla="*/ 593007 w 900424"/>
              <a:gd name="connsiteY69" fmla="*/ 118999 h 923534"/>
              <a:gd name="connsiteX70" fmla="*/ 655342 w 900424"/>
              <a:gd name="connsiteY70" fmla="*/ 99358 h 923534"/>
              <a:gd name="connsiteX71" fmla="*/ 721150 w 900424"/>
              <a:gd name="connsiteY71" fmla="*/ 99358 h 923534"/>
              <a:gd name="connsiteX72" fmla="*/ 900424 w 900424"/>
              <a:gd name="connsiteY72" fmla="*/ 280970 h 923534"/>
              <a:gd name="connsiteX73" fmla="*/ 900424 w 900424"/>
              <a:gd name="connsiteY73" fmla="*/ 853426 h 923534"/>
              <a:gd name="connsiteX74" fmla="*/ 852052 w 900424"/>
              <a:gd name="connsiteY74" fmla="*/ 905466 h 923534"/>
              <a:gd name="connsiteX75" fmla="*/ 828360 w 900424"/>
              <a:gd name="connsiteY75" fmla="*/ 905466 h 923534"/>
              <a:gd name="connsiteX76" fmla="*/ 849187 w 900424"/>
              <a:gd name="connsiteY76" fmla="*/ 863377 h 923534"/>
              <a:gd name="connsiteX77" fmla="*/ 849187 w 900424"/>
              <a:gd name="connsiteY77" fmla="*/ 293203 h 923534"/>
              <a:gd name="connsiteX78" fmla="*/ 655342 w 900424"/>
              <a:gd name="connsiteY78" fmla="*/ 99358 h 923534"/>
              <a:gd name="connsiteX79" fmla="*/ 284672 w 900424"/>
              <a:gd name="connsiteY79" fmla="*/ 26454 h 923534"/>
              <a:gd name="connsiteX80" fmla="*/ 306902 w 900424"/>
              <a:gd name="connsiteY80" fmla="*/ 26454 h 923534"/>
              <a:gd name="connsiteX81" fmla="*/ 312459 w 900424"/>
              <a:gd name="connsiteY81" fmla="*/ 32011 h 923534"/>
              <a:gd name="connsiteX82" fmla="*/ 312459 w 900424"/>
              <a:gd name="connsiteY82" fmla="*/ 71044 h 923534"/>
              <a:gd name="connsiteX83" fmla="*/ 341829 w 900424"/>
              <a:gd name="connsiteY83" fmla="*/ 71044 h 923534"/>
              <a:gd name="connsiteX84" fmla="*/ 341829 w 900424"/>
              <a:gd name="connsiteY84" fmla="*/ 32011 h 923534"/>
              <a:gd name="connsiteX85" fmla="*/ 347386 w 900424"/>
              <a:gd name="connsiteY85" fmla="*/ 26454 h 923534"/>
              <a:gd name="connsiteX86" fmla="*/ 369616 w 900424"/>
              <a:gd name="connsiteY86" fmla="*/ 26454 h 923534"/>
              <a:gd name="connsiteX87" fmla="*/ 375173 w 900424"/>
              <a:gd name="connsiteY87" fmla="*/ 32011 h 923534"/>
              <a:gd name="connsiteX88" fmla="*/ 375173 w 900424"/>
              <a:gd name="connsiteY88" fmla="*/ 71044 h 923534"/>
              <a:gd name="connsiteX89" fmla="*/ 404543 w 900424"/>
              <a:gd name="connsiteY89" fmla="*/ 71044 h 923534"/>
              <a:gd name="connsiteX90" fmla="*/ 404543 w 900424"/>
              <a:gd name="connsiteY90" fmla="*/ 32011 h 923534"/>
              <a:gd name="connsiteX91" fmla="*/ 410100 w 900424"/>
              <a:gd name="connsiteY91" fmla="*/ 26454 h 923534"/>
              <a:gd name="connsiteX92" fmla="*/ 432330 w 900424"/>
              <a:gd name="connsiteY92" fmla="*/ 26454 h 923534"/>
              <a:gd name="connsiteX93" fmla="*/ 437887 w 900424"/>
              <a:gd name="connsiteY93" fmla="*/ 32011 h 923534"/>
              <a:gd name="connsiteX94" fmla="*/ 437887 w 900424"/>
              <a:gd name="connsiteY94" fmla="*/ 71044 h 923534"/>
              <a:gd name="connsiteX95" fmla="*/ 467255 w 900424"/>
              <a:gd name="connsiteY95" fmla="*/ 71044 h 923534"/>
              <a:gd name="connsiteX96" fmla="*/ 467255 w 900424"/>
              <a:gd name="connsiteY96" fmla="*/ 32011 h 923534"/>
              <a:gd name="connsiteX97" fmla="*/ 472813 w 900424"/>
              <a:gd name="connsiteY97" fmla="*/ 26454 h 923534"/>
              <a:gd name="connsiteX98" fmla="*/ 495042 w 900424"/>
              <a:gd name="connsiteY98" fmla="*/ 26454 h 923534"/>
              <a:gd name="connsiteX99" fmla="*/ 500600 w 900424"/>
              <a:gd name="connsiteY99" fmla="*/ 32011 h 923534"/>
              <a:gd name="connsiteX100" fmla="*/ 500600 w 900424"/>
              <a:gd name="connsiteY100" fmla="*/ 71044 h 923534"/>
              <a:gd name="connsiteX101" fmla="*/ 606532 w 900424"/>
              <a:gd name="connsiteY101" fmla="*/ 71044 h 923534"/>
              <a:gd name="connsiteX102" fmla="*/ 833814 w 900424"/>
              <a:gd name="connsiteY102" fmla="*/ 298326 h 923534"/>
              <a:gd name="connsiteX103" fmla="*/ 833814 w 900424"/>
              <a:gd name="connsiteY103" fmla="*/ 868500 h 923534"/>
              <a:gd name="connsiteX104" fmla="*/ 778780 w 900424"/>
              <a:gd name="connsiteY104" fmla="*/ 923534 h 923534"/>
              <a:gd name="connsiteX105" fmla="*/ 239864 w 900424"/>
              <a:gd name="connsiteY105" fmla="*/ 923534 h 923534"/>
              <a:gd name="connsiteX106" fmla="*/ 184830 w 900424"/>
              <a:gd name="connsiteY106" fmla="*/ 868500 h 923534"/>
              <a:gd name="connsiteX107" fmla="*/ 184830 w 900424"/>
              <a:gd name="connsiteY107" fmla="*/ 480204 h 923534"/>
              <a:gd name="connsiteX108" fmla="*/ 108913 w 900424"/>
              <a:gd name="connsiteY108" fmla="*/ 397433 h 923534"/>
              <a:gd name="connsiteX109" fmla="*/ 110701 w 900424"/>
              <a:gd name="connsiteY109" fmla="*/ 356021 h 923534"/>
              <a:gd name="connsiteX110" fmla="*/ 184830 w 900424"/>
              <a:gd name="connsiteY110" fmla="*/ 288031 h 923534"/>
              <a:gd name="connsiteX111" fmla="*/ 184830 w 900424"/>
              <a:gd name="connsiteY111" fmla="*/ 255689 h 923534"/>
              <a:gd name="connsiteX112" fmla="*/ 182259 w 900424"/>
              <a:gd name="connsiteY112" fmla="*/ 258049 h 923534"/>
              <a:gd name="connsiteX113" fmla="*/ 181841 w 900424"/>
              <a:gd name="connsiteY113" fmla="*/ 251257 h 923534"/>
              <a:gd name="connsiteX114" fmla="*/ 140694 w 900424"/>
              <a:gd name="connsiteY114" fmla="*/ 206396 h 923534"/>
              <a:gd name="connsiteX115" fmla="*/ 121321 w 900424"/>
              <a:gd name="connsiteY115" fmla="*/ 203511 h 923534"/>
              <a:gd name="connsiteX116" fmla="*/ 42515 w 900424"/>
              <a:gd name="connsiteY116" fmla="*/ 275789 h 923534"/>
              <a:gd name="connsiteX117" fmla="*/ 43718 w 900424"/>
              <a:gd name="connsiteY117" fmla="*/ 295339 h 923534"/>
              <a:gd name="connsiteX118" fmla="*/ 84866 w 900424"/>
              <a:gd name="connsiteY118" fmla="*/ 340201 h 923534"/>
              <a:gd name="connsiteX119" fmla="*/ 91596 w 900424"/>
              <a:gd name="connsiteY119" fmla="*/ 341203 h 923534"/>
              <a:gd name="connsiteX120" fmla="*/ 83614 w 900424"/>
              <a:gd name="connsiteY120" fmla="*/ 348524 h 923534"/>
              <a:gd name="connsiteX121" fmla="*/ 60335 w 900424"/>
              <a:gd name="connsiteY121" fmla="*/ 347519 h 923534"/>
              <a:gd name="connsiteX122" fmla="*/ 15793 w 900424"/>
              <a:gd name="connsiteY122" fmla="*/ 298955 h 923534"/>
              <a:gd name="connsiteX123" fmla="*/ 16799 w 900424"/>
              <a:gd name="connsiteY123" fmla="*/ 275676 h 923534"/>
              <a:gd name="connsiteX124" fmla="*/ 122114 w 900424"/>
              <a:gd name="connsiteY124" fmla="*/ 179082 h 923534"/>
              <a:gd name="connsiteX125" fmla="*/ 145393 w 900424"/>
              <a:gd name="connsiteY125" fmla="*/ 180087 h 923534"/>
              <a:gd name="connsiteX126" fmla="*/ 184830 w 900424"/>
              <a:gd name="connsiteY126" fmla="*/ 223084 h 923534"/>
              <a:gd name="connsiteX127" fmla="*/ 184830 w 900424"/>
              <a:gd name="connsiteY127" fmla="*/ 126079 h 923534"/>
              <a:gd name="connsiteX128" fmla="*/ 239864 w 900424"/>
              <a:gd name="connsiteY128" fmla="*/ 71044 h 923534"/>
              <a:gd name="connsiteX129" fmla="*/ 279115 w 900424"/>
              <a:gd name="connsiteY129" fmla="*/ 71044 h 923534"/>
              <a:gd name="connsiteX130" fmla="*/ 279115 w 900424"/>
              <a:gd name="connsiteY130" fmla="*/ 32011 h 923534"/>
              <a:gd name="connsiteX131" fmla="*/ 284672 w 900424"/>
              <a:gd name="connsiteY131" fmla="*/ 26454 h 923534"/>
              <a:gd name="connsiteX132" fmla="*/ 177009 w 900424"/>
              <a:gd name="connsiteY132" fmla="*/ 4436 h 923534"/>
              <a:gd name="connsiteX133" fmla="*/ 185239 w 900424"/>
              <a:gd name="connsiteY133" fmla="*/ 0 h 923534"/>
              <a:gd name="connsiteX134" fmla="*/ 177024 w 900424"/>
              <a:gd name="connsiteY134" fmla="*/ 4459 h 923534"/>
              <a:gd name="connsiteX135" fmla="*/ 69385 w 900424"/>
              <a:gd name="connsiteY135" fmla="*/ 97673 h 923534"/>
              <a:gd name="connsiteX136" fmla="*/ 0 w 900424"/>
              <a:gd name="connsiteY136" fmla="*/ 195309 h 923534"/>
              <a:gd name="connsiteX137" fmla="*/ 0 w 900424"/>
              <a:gd name="connsiteY137" fmla="*/ 195263 h 923534"/>
              <a:gd name="connsiteX138" fmla="*/ 69366 w 900424"/>
              <a:gd name="connsiteY138" fmla="*/ 97655 h 923534"/>
              <a:gd name="connsiteX139" fmla="*/ 177009 w 900424"/>
              <a:gd name="connsiteY139" fmla="*/ 4436 h 923534"/>
              <a:gd name="connsiteX0" fmla="*/ 260828 w 900424"/>
              <a:gd name="connsiteY0" fmla="*/ 764558 h 923534"/>
              <a:gd name="connsiteX1" fmla="*/ 260828 w 900424"/>
              <a:gd name="connsiteY1" fmla="*/ 794070 h 923534"/>
              <a:gd name="connsiteX2" fmla="*/ 752690 w 900424"/>
              <a:gd name="connsiteY2" fmla="*/ 794070 h 923534"/>
              <a:gd name="connsiteX3" fmla="*/ 752690 w 900424"/>
              <a:gd name="connsiteY3" fmla="*/ 764558 h 923534"/>
              <a:gd name="connsiteX4" fmla="*/ 260828 w 900424"/>
              <a:gd name="connsiteY4" fmla="*/ 764558 h 923534"/>
              <a:gd name="connsiteX5" fmla="*/ 523025 w 900424"/>
              <a:gd name="connsiteY5" fmla="*/ 689243 h 923534"/>
              <a:gd name="connsiteX6" fmla="*/ 529392 w 900424"/>
              <a:gd name="connsiteY6" fmla="*/ 718755 h 923534"/>
              <a:gd name="connsiteX7" fmla="*/ 752690 w 900424"/>
              <a:gd name="connsiteY7" fmla="*/ 718755 h 923534"/>
              <a:gd name="connsiteX8" fmla="*/ 752690 w 900424"/>
              <a:gd name="connsiteY8" fmla="*/ 689243 h 923534"/>
              <a:gd name="connsiteX9" fmla="*/ 523025 w 900424"/>
              <a:gd name="connsiteY9" fmla="*/ 689243 h 923534"/>
              <a:gd name="connsiteX10" fmla="*/ 260828 w 900424"/>
              <a:gd name="connsiteY10" fmla="*/ 689243 h 923534"/>
              <a:gd name="connsiteX11" fmla="*/ 260828 w 900424"/>
              <a:gd name="connsiteY11" fmla="*/ 718755 h 923534"/>
              <a:gd name="connsiteX12" fmla="*/ 520342 w 900424"/>
              <a:gd name="connsiteY12" fmla="*/ 718755 h 923534"/>
              <a:gd name="connsiteX13" fmla="*/ 427300 w 900424"/>
              <a:gd name="connsiteY13" fmla="*/ 689243 h 923534"/>
              <a:gd name="connsiteX14" fmla="*/ 260828 w 900424"/>
              <a:gd name="connsiteY14" fmla="*/ 689243 h 923534"/>
              <a:gd name="connsiteX15" fmla="*/ 506777 w 900424"/>
              <a:gd name="connsiteY15" fmla="*/ 613925 h 923534"/>
              <a:gd name="connsiteX16" fmla="*/ 513144 w 900424"/>
              <a:gd name="connsiteY16" fmla="*/ 643437 h 923534"/>
              <a:gd name="connsiteX17" fmla="*/ 752690 w 900424"/>
              <a:gd name="connsiteY17" fmla="*/ 643437 h 923534"/>
              <a:gd name="connsiteX18" fmla="*/ 752690 w 900424"/>
              <a:gd name="connsiteY18" fmla="*/ 613925 h 923534"/>
              <a:gd name="connsiteX19" fmla="*/ 506777 w 900424"/>
              <a:gd name="connsiteY19" fmla="*/ 613925 h 923534"/>
              <a:gd name="connsiteX20" fmla="*/ 260828 w 900424"/>
              <a:gd name="connsiteY20" fmla="*/ 613925 h 923534"/>
              <a:gd name="connsiteX21" fmla="*/ 260828 w 900424"/>
              <a:gd name="connsiteY21" fmla="*/ 643437 h 923534"/>
              <a:gd name="connsiteX22" fmla="*/ 334546 w 900424"/>
              <a:gd name="connsiteY22" fmla="*/ 643437 h 923534"/>
              <a:gd name="connsiteX23" fmla="*/ 307478 w 900424"/>
              <a:gd name="connsiteY23" fmla="*/ 613925 h 923534"/>
              <a:gd name="connsiteX24" fmla="*/ 260828 w 900424"/>
              <a:gd name="connsiteY24" fmla="*/ 613925 h 923534"/>
              <a:gd name="connsiteX25" fmla="*/ 467940 w 900424"/>
              <a:gd name="connsiteY25" fmla="*/ 571317 h 923534"/>
              <a:gd name="connsiteX26" fmla="*/ 385032 w 900424"/>
              <a:gd name="connsiteY26" fmla="*/ 646579 h 923534"/>
              <a:gd name="connsiteX27" fmla="*/ 506739 w 900424"/>
              <a:gd name="connsiteY27" fmla="*/ 697043 h 923534"/>
              <a:gd name="connsiteX28" fmla="*/ 467940 w 900424"/>
              <a:gd name="connsiteY28" fmla="*/ 571317 h 923534"/>
              <a:gd name="connsiteX29" fmla="*/ 260828 w 900424"/>
              <a:gd name="connsiteY29" fmla="*/ 563064 h 923534"/>
              <a:gd name="connsiteX30" fmla="*/ 260828 w 900424"/>
              <a:gd name="connsiteY30" fmla="*/ 568120 h 923534"/>
              <a:gd name="connsiteX31" fmla="*/ 265465 w 900424"/>
              <a:gd name="connsiteY31" fmla="*/ 568120 h 923534"/>
              <a:gd name="connsiteX32" fmla="*/ 260828 w 900424"/>
              <a:gd name="connsiteY32" fmla="*/ 563064 h 923534"/>
              <a:gd name="connsiteX33" fmla="*/ 477023 w 900424"/>
              <a:gd name="connsiteY33" fmla="*/ 538609 h 923534"/>
              <a:gd name="connsiteX34" fmla="*/ 477810 w 900424"/>
              <a:gd name="connsiteY34" fmla="*/ 539466 h 923534"/>
              <a:gd name="connsiteX35" fmla="*/ 481962 w 900424"/>
              <a:gd name="connsiteY35" fmla="*/ 568120 h 923534"/>
              <a:gd name="connsiteX36" fmla="*/ 752690 w 900424"/>
              <a:gd name="connsiteY36" fmla="*/ 568120 h 923534"/>
              <a:gd name="connsiteX37" fmla="*/ 752690 w 900424"/>
              <a:gd name="connsiteY37" fmla="*/ 538609 h 923534"/>
              <a:gd name="connsiteX38" fmla="*/ 477023 w 900424"/>
              <a:gd name="connsiteY38" fmla="*/ 538609 h 923534"/>
              <a:gd name="connsiteX39" fmla="*/ 407941 w 900424"/>
              <a:gd name="connsiteY39" fmla="*/ 463291 h 923534"/>
              <a:gd name="connsiteX40" fmla="*/ 435010 w 900424"/>
              <a:gd name="connsiteY40" fmla="*/ 492803 h 923534"/>
              <a:gd name="connsiteX41" fmla="*/ 752690 w 900424"/>
              <a:gd name="connsiteY41" fmla="*/ 492803 h 923534"/>
              <a:gd name="connsiteX42" fmla="*/ 752690 w 900424"/>
              <a:gd name="connsiteY42" fmla="*/ 463291 h 923534"/>
              <a:gd name="connsiteX43" fmla="*/ 407941 w 900424"/>
              <a:gd name="connsiteY43" fmla="*/ 463291 h 923534"/>
              <a:gd name="connsiteX44" fmla="*/ 338860 w 900424"/>
              <a:gd name="connsiteY44" fmla="*/ 387973 h 923534"/>
              <a:gd name="connsiteX45" fmla="*/ 365929 w 900424"/>
              <a:gd name="connsiteY45" fmla="*/ 417485 h 923534"/>
              <a:gd name="connsiteX46" fmla="*/ 752690 w 900424"/>
              <a:gd name="connsiteY46" fmla="*/ 417485 h 923534"/>
              <a:gd name="connsiteX47" fmla="*/ 752690 w 900424"/>
              <a:gd name="connsiteY47" fmla="*/ 387973 h 923534"/>
              <a:gd name="connsiteX48" fmla="*/ 338860 w 900424"/>
              <a:gd name="connsiteY48" fmla="*/ 387973 h 923534"/>
              <a:gd name="connsiteX49" fmla="*/ 208773 w 900424"/>
              <a:gd name="connsiteY49" fmla="*/ 287844 h 923534"/>
              <a:gd name="connsiteX50" fmla="*/ 191984 w 900424"/>
              <a:gd name="connsiteY50" fmla="*/ 292482 h 923534"/>
              <a:gd name="connsiteX51" fmla="*/ 127335 w 900424"/>
              <a:gd name="connsiteY51" fmla="*/ 351778 h 923534"/>
              <a:gd name="connsiteX52" fmla="*/ 129474 w 900424"/>
              <a:gd name="connsiteY52" fmla="*/ 386557 h 923534"/>
              <a:gd name="connsiteX53" fmla="*/ 350534 w 900424"/>
              <a:gd name="connsiteY53" fmla="*/ 627573 h 923534"/>
              <a:gd name="connsiteX54" fmla="*/ 384998 w 900424"/>
              <a:gd name="connsiteY54" fmla="*/ 632703 h 923534"/>
              <a:gd name="connsiteX55" fmla="*/ 449647 w 900424"/>
              <a:gd name="connsiteY55" fmla="*/ 573407 h 923534"/>
              <a:gd name="connsiteX56" fmla="*/ 447509 w 900424"/>
              <a:gd name="connsiteY56" fmla="*/ 538629 h 923534"/>
              <a:gd name="connsiteX57" fmla="*/ 226448 w 900424"/>
              <a:gd name="connsiteY57" fmla="*/ 297612 h 923534"/>
              <a:gd name="connsiteX58" fmla="*/ 208773 w 900424"/>
              <a:gd name="connsiteY58" fmla="*/ 287844 h 923534"/>
              <a:gd name="connsiteX59" fmla="*/ 260828 w 900424"/>
              <a:gd name="connsiteY59" fmla="*/ 270130 h 923534"/>
              <a:gd name="connsiteX60" fmla="*/ 260828 w 900424"/>
              <a:gd name="connsiteY60" fmla="*/ 302896 h 923534"/>
              <a:gd name="connsiteX61" fmla="*/ 266867 w 900424"/>
              <a:gd name="connsiteY61" fmla="*/ 309479 h 923534"/>
              <a:gd name="connsiteX62" fmla="*/ 555945 w 900424"/>
              <a:gd name="connsiteY62" fmla="*/ 309479 h 923534"/>
              <a:gd name="connsiteX63" fmla="*/ 555945 w 900424"/>
              <a:gd name="connsiteY63" fmla="*/ 270130 h 923534"/>
              <a:gd name="connsiteX64" fmla="*/ 260828 w 900424"/>
              <a:gd name="connsiteY64" fmla="*/ 270130 h 923534"/>
              <a:gd name="connsiteX65" fmla="*/ 593007 w 900424"/>
              <a:gd name="connsiteY65" fmla="*/ 118999 h 923534"/>
              <a:gd name="connsiteX66" fmla="*/ 593004 w 900424"/>
              <a:gd name="connsiteY66" fmla="*/ 272708 h 923534"/>
              <a:gd name="connsiteX67" fmla="*/ 636152 w 900424"/>
              <a:gd name="connsiteY67" fmla="*/ 321246 h 923534"/>
              <a:gd name="connsiteX68" fmla="*/ 797949 w 900424"/>
              <a:gd name="connsiteY68" fmla="*/ 323942 h 923534"/>
              <a:gd name="connsiteX69" fmla="*/ 593007 w 900424"/>
              <a:gd name="connsiteY69" fmla="*/ 118999 h 923534"/>
              <a:gd name="connsiteX70" fmla="*/ 655342 w 900424"/>
              <a:gd name="connsiteY70" fmla="*/ 99358 h 923534"/>
              <a:gd name="connsiteX71" fmla="*/ 721150 w 900424"/>
              <a:gd name="connsiteY71" fmla="*/ 99358 h 923534"/>
              <a:gd name="connsiteX72" fmla="*/ 900424 w 900424"/>
              <a:gd name="connsiteY72" fmla="*/ 280970 h 923534"/>
              <a:gd name="connsiteX73" fmla="*/ 900424 w 900424"/>
              <a:gd name="connsiteY73" fmla="*/ 853426 h 923534"/>
              <a:gd name="connsiteX74" fmla="*/ 852052 w 900424"/>
              <a:gd name="connsiteY74" fmla="*/ 905466 h 923534"/>
              <a:gd name="connsiteX75" fmla="*/ 828360 w 900424"/>
              <a:gd name="connsiteY75" fmla="*/ 905466 h 923534"/>
              <a:gd name="connsiteX76" fmla="*/ 849187 w 900424"/>
              <a:gd name="connsiteY76" fmla="*/ 863377 h 923534"/>
              <a:gd name="connsiteX77" fmla="*/ 849187 w 900424"/>
              <a:gd name="connsiteY77" fmla="*/ 293203 h 923534"/>
              <a:gd name="connsiteX78" fmla="*/ 655342 w 900424"/>
              <a:gd name="connsiteY78" fmla="*/ 99358 h 923534"/>
              <a:gd name="connsiteX79" fmla="*/ 284672 w 900424"/>
              <a:gd name="connsiteY79" fmla="*/ 26454 h 923534"/>
              <a:gd name="connsiteX80" fmla="*/ 306902 w 900424"/>
              <a:gd name="connsiteY80" fmla="*/ 26454 h 923534"/>
              <a:gd name="connsiteX81" fmla="*/ 312459 w 900424"/>
              <a:gd name="connsiteY81" fmla="*/ 32011 h 923534"/>
              <a:gd name="connsiteX82" fmla="*/ 312459 w 900424"/>
              <a:gd name="connsiteY82" fmla="*/ 71044 h 923534"/>
              <a:gd name="connsiteX83" fmla="*/ 341829 w 900424"/>
              <a:gd name="connsiteY83" fmla="*/ 71044 h 923534"/>
              <a:gd name="connsiteX84" fmla="*/ 341829 w 900424"/>
              <a:gd name="connsiteY84" fmla="*/ 32011 h 923534"/>
              <a:gd name="connsiteX85" fmla="*/ 347386 w 900424"/>
              <a:gd name="connsiteY85" fmla="*/ 26454 h 923534"/>
              <a:gd name="connsiteX86" fmla="*/ 369616 w 900424"/>
              <a:gd name="connsiteY86" fmla="*/ 26454 h 923534"/>
              <a:gd name="connsiteX87" fmla="*/ 375173 w 900424"/>
              <a:gd name="connsiteY87" fmla="*/ 32011 h 923534"/>
              <a:gd name="connsiteX88" fmla="*/ 375173 w 900424"/>
              <a:gd name="connsiteY88" fmla="*/ 71044 h 923534"/>
              <a:gd name="connsiteX89" fmla="*/ 404543 w 900424"/>
              <a:gd name="connsiteY89" fmla="*/ 71044 h 923534"/>
              <a:gd name="connsiteX90" fmla="*/ 404543 w 900424"/>
              <a:gd name="connsiteY90" fmla="*/ 32011 h 923534"/>
              <a:gd name="connsiteX91" fmla="*/ 410100 w 900424"/>
              <a:gd name="connsiteY91" fmla="*/ 26454 h 923534"/>
              <a:gd name="connsiteX92" fmla="*/ 432330 w 900424"/>
              <a:gd name="connsiteY92" fmla="*/ 26454 h 923534"/>
              <a:gd name="connsiteX93" fmla="*/ 437887 w 900424"/>
              <a:gd name="connsiteY93" fmla="*/ 32011 h 923534"/>
              <a:gd name="connsiteX94" fmla="*/ 437887 w 900424"/>
              <a:gd name="connsiteY94" fmla="*/ 71044 h 923534"/>
              <a:gd name="connsiteX95" fmla="*/ 467255 w 900424"/>
              <a:gd name="connsiteY95" fmla="*/ 71044 h 923534"/>
              <a:gd name="connsiteX96" fmla="*/ 467255 w 900424"/>
              <a:gd name="connsiteY96" fmla="*/ 32011 h 923534"/>
              <a:gd name="connsiteX97" fmla="*/ 472813 w 900424"/>
              <a:gd name="connsiteY97" fmla="*/ 26454 h 923534"/>
              <a:gd name="connsiteX98" fmla="*/ 495042 w 900424"/>
              <a:gd name="connsiteY98" fmla="*/ 26454 h 923534"/>
              <a:gd name="connsiteX99" fmla="*/ 500600 w 900424"/>
              <a:gd name="connsiteY99" fmla="*/ 32011 h 923534"/>
              <a:gd name="connsiteX100" fmla="*/ 500600 w 900424"/>
              <a:gd name="connsiteY100" fmla="*/ 71044 h 923534"/>
              <a:gd name="connsiteX101" fmla="*/ 606532 w 900424"/>
              <a:gd name="connsiteY101" fmla="*/ 71044 h 923534"/>
              <a:gd name="connsiteX102" fmla="*/ 833814 w 900424"/>
              <a:gd name="connsiteY102" fmla="*/ 298326 h 923534"/>
              <a:gd name="connsiteX103" fmla="*/ 833814 w 900424"/>
              <a:gd name="connsiteY103" fmla="*/ 868500 h 923534"/>
              <a:gd name="connsiteX104" fmla="*/ 778780 w 900424"/>
              <a:gd name="connsiteY104" fmla="*/ 923534 h 923534"/>
              <a:gd name="connsiteX105" fmla="*/ 239864 w 900424"/>
              <a:gd name="connsiteY105" fmla="*/ 923534 h 923534"/>
              <a:gd name="connsiteX106" fmla="*/ 184830 w 900424"/>
              <a:gd name="connsiteY106" fmla="*/ 868500 h 923534"/>
              <a:gd name="connsiteX107" fmla="*/ 184830 w 900424"/>
              <a:gd name="connsiteY107" fmla="*/ 480204 h 923534"/>
              <a:gd name="connsiteX108" fmla="*/ 108913 w 900424"/>
              <a:gd name="connsiteY108" fmla="*/ 397433 h 923534"/>
              <a:gd name="connsiteX109" fmla="*/ 110701 w 900424"/>
              <a:gd name="connsiteY109" fmla="*/ 356021 h 923534"/>
              <a:gd name="connsiteX110" fmla="*/ 184830 w 900424"/>
              <a:gd name="connsiteY110" fmla="*/ 288031 h 923534"/>
              <a:gd name="connsiteX111" fmla="*/ 184830 w 900424"/>
              <a:gd name="connsiteY111" fmla="*/ 255689 h 923534"/>
              <a:gd name="connsiteX112" fmla="*/ 182259 w 900424"/>
              <a:gd name="connsiteY112" fmla="*/ 258049 h 923534"/>
              <a:gd name="connsiteX113" fmla="*/ 181841 w 900424"/>
              <a:gd name="connsiteY113" fmla="*/ 251257 h 923534"/>
              <a:gd name="connsiteX114" fmla="*/ 140694 w 900424"/>
              <a:gd name="connsiteY114" fmla="*/ 206396 h 923534"/>
              <a:gd name="connsiteX115" fmla="*/ 121321 w 900424"/>
              <a:gd name="connsiteY115" fmla="*/ 203511 h 923534"/>
              <a:gd name="connsiteX116" fmla="*/ 42515 w 900424"/>
              <a:gd name="connsiteY116" fmla="*/ 275789 h 923534"/>
              <a:gd name="connsiteX117" fmla="*/ 43718 w 900424"/>
              <a:gd name="connsiteY117" fmla="*/ 295339 h 923534"/>
              <a:gd name="connsiteX118" fmla="*/ 84866 w 900424"/>
              <a:gd name="connsiteY118" fmla="*/ 340201 h 923534"/>
              <a:gd name="connsiteX119" fmla="*/ 91596 w 900424"/>
              <a:gd name="connsiteY119" fmla="*/ 341203 h 923534"/>
              <a:gd name="connsiteX120" fmla="*/ 83614 w 900424"/>
              <a:gd name="connsiteY120" fmla="*/ 348524 h 923534"/>
              <a:gd name="connsiteX121" fmla="*/ 60335 w 900424"/>
              <a:gd name="connsiteY121" fmla="*/ 347519 h 923534"/>
              <a:gd name="connsiteX122" fmla="*/ 15793 w 900424"/>
              <a:gd name="connsiteY122" fmla="*/ 298955 h 923534"/>
              <a:gd name="connsiteX123" fmla="*/ 16799 w 900424"/>
              <a:gd name="connsiteY123" fmla="*/ 275676 h 923534"/>
              <a:gd name="connsiteX124" fmla="*/ 122114 w 900424"/>
              <a:gd name="connsiteY124" fmla="*/ 179082 h 923534"/>
              <a:gd name="connsiteX125" fmla="*/ 145393 w 900424"/>
              <a:gd name="connsiteY125" fmla="*/ 180087 h 923534"/>
              <a:gd name="connsiteX126" fmla="*/ 184830 w 900424"/>
              <a:gd name="connsiteY126" fmla="*/ 223084 h 923534"/>
              <a:gd name="connsiteX127" fmla="*/ 184830 w 900424"/>
              <a:gd name="connsiteY127" fmla="*/ 126079 h 923534"/>
              <a:gd name="connsiteX128" fmla="*/ 239864 w 900424"/>
              <a:gd name="connsiteY128" fmla="*/ 71044 h 923534"/>
              <a:gd name="connsiteX129" fmla="*/ 279115 w 900424"/>
              <a:gd name="connsiteY129" fmla="*/ 71044 h 923534"/>
              <a:gd name="connsiteX130" fmla="*/ 279115 w 900424"/>
              <a:gd name="connsiteY130" fmla="*/ 32011 h 923534"/>
              <a:gd name="connsiteX131" fmla="*/ 284672 w 900424"/>
              <a:gd name="connsiteY131" fmla="*/ 26454 h 923534"/>
              <a:gd name="connsiteX132" fmla="*/ 69366 w 900424"/>
              <a:gd name="connsiteY132" fmla="*/ 97655 h 923534"/>
              <a:gd name="connsiteX133" fmla="*/ 185239 w 900424"/>
              <a:gd name="connsiteY133" fmla="*/ 0 h 923534"/>
              <a:gd name="connsiteX134" fmla="*/ 177024 w 900424"/>
              <a:gd name="connsiteY134" fmla="*/ 4459 h 923534"/>
              <a:gd name="connsiteX135" fmla="*/ 69385 w 900424"/>
              <a:gd name="connsiteY135" fmla="*/ 97673 h 923534"/>
              <a:gd name="connsiteX136" fmla="*/ 0 w 900424"/>
              <a:gd name="connsiteY136" fmla="*/ 195309 h 923534"/>
              <a:gd name="connsiteX137" fmla="*/ 0 w 900424"/>
              <a:gd name="connsiteY137" fmla="*/ 195263 h 923534"/>
              <a:gd name="connsiteX138" fmla="*/ 69366 w 900424"/>
              <a:gd name="connsiteY138" fmla="*/ 97655 h 923534"/>
              <a:gd name="connsiteX0" fmla="*/ 260828 w 900424"/>
              <a:gd name="connsiteY0" fmla="*/ 764558 h 923534"/>
              <a:gd name="connsiteX1" fmla="*/ 260828 w 900424"/>
              <a:gd name="connsiteY1" fmla="*/ 794070 h 923534"/>
              <a:gd name="connsiteX2" fmla="*/ 752690 w 900424"/>
              <a:gd name="connsiteY2" fmla="*/ 794070 h 923534"/>
              <a:gd name="connsiteX3" fmla="*/ 752690 w 900424"/>
              <a:gd name="connsiteY3" fmla="*/ 764558 h 923534"/>
              <a:gd name="connsiteX4" fmla="*/ 260828 w 900424"/>
              <a:gd name="connsiteY4" fmla="*/ 764558 h 923534"/>
              <a:gd name="connsiteX5" fmla="*/ 523025 w 900424"/>
              <a:gd name="connsiteY5" fmla="*/ 689243 h 923534"/>
              <a:gd name="connsiteX6" fmla="*/ 529392 w 900424"/>
              <a:gd name="connsiteY6" fmla="*/ 718755 h 923534"/>
              <a:gd name="connsiteX7" fmla="*/ 752690 w 900424"/>
              <a:gd name="connsiteY7" fmla="*/ 718755 h 923534"/>
              <a:gd name="connsiteX8" fmla="*/ 752690 w 900424"/>
              <a:gd name="connsiteY8" fmla="*/ 689243 h 923534"/>
              <a:gd name="connsiteX9" fmla="*/ 523025 w 900424"/>
              <a:gd name="connsiteY9" fmla="*/ 689243 h 923534"/>
              <a:gd name="connsiteX10" fmla="*/ 260828 w 900424"/>
              <a:gd name="connsiteY10" fmla="*/ 689243 h 923534"/>
              <a:gd name="connsiteX11" fmla="*/ 260828 w 900424"/>
              <a:gd name="connsiteY11" fmla="*/ 718755 h 923534"/>
              <a:gd name="connsiteX12" fmla="*/ 520342 w 900424"/>
              <a:gd name="connsiteY12" fmla="*/ 718755 h 923534"/>
              <a:gd name="connsiteX13" fmla="*/ 427300 w 900424"/>
              <a:gd name="connsiteY13" fmla="*/ 689243 h 923534"/>
              <a:gd name="connsiteX14" fmla="*/ 260828 w 900424"/>
              <a:gd name="connsiteY14" fmla="*/ 689243 h 923534"/>
              <a:gd name="connsiteX15" fmla="*/ 506777 w 900424"/>
              <a:gd name="connsiteY15" fmla="*/ 613925 h 923534"/>
              <a:gd name="connsiteX16" fmla="*/ 513144 w 900424"/>
              <a:gd name="connsiteY16" fmla="*/ 643437 h 923534"/>
              <a:gd name="connsiteX17" fmla="*/ 752690 w 900424"/>
              <a:gd name="connsiteY17" fmla="*/ 643437 h 923534"/>
              <a:gd name="connsiteX18" fmla="*/ 752690 w 900424"/>
              <a:gd name="connsiteY18" fmla="*/ 613925 h 923534"/>
              <a:gd name="connsiteX19" fmla="*/ 506777 w 900424"/>
              <a:gd name="connsiteY19" fmla="*/ 613925 h 923534"/>
              <a:gd name="connsiteX20" fmla="*/ 260828 w 900424"/>
              <a:gd name="connsiteY20" fmla="*/ 613925 h 923534"/>
              <a:gd name="connsiteX21" fmla="*/ 260828 w 900424"/>
              <a:gd name="connsiteY21" fmla="*/ 643437 h 923534"/>
              <a:gd name="connsiteX22" fmla="*/ 334546 w 900424"/>
              <a:gd name="connsiteY22" fmla="*/ 643437 h 923534"/>
              <a:gd name="connsiteX23" fmla="*/ 307478 w 900424"/>
              <a:gd name="connsiteY23" fmla="*/ 613925 h 923534"/>
              <a:gd name="connsiteX24" fmla="*/ 260828 w 900424"/>
              <a:gd name="connsiteY24" fmla="*/ 613925 h 923534"/>
              <a:gd name="connsiteX25" fmla="*/ 467940 w 900424"/>
              <a:gd name="connsiteY25" fmla="*/ 571317 h 923534"/>
              <a:gd name="connsiteX26" fmla="*/ 385032 w 900424"/>
              <a:gd name="connsiteY26" fmla="*/ 646579 h 923534"/>
              <a:gd name="connsiteX27" fmla="*/ 506739 w 900424"/>
              <a:gd name="connsiteY27" fmla="*/ 697043 h 923534"/>
              <a:gd name="connsiteX28" fmla="*/ 467940 w 900424"/>
              <a:gd name="connsiteY28" fmla="*/ 571317 h 923534"/>
              <a:gd name="connsiteX29" fmla="*/ 260828 w 900424"/>
              <a:gd name="connsiteY29" fmla="*/ 563064 h 923534"/>
              <a:gd name="connsiteX30" fmla="*/ 260828 w 900424"/>
              <a:gd name="connsiteY30" fmla="*/ 568120 h 923534"/>
              <a:gd name="connsiteX31" fmla="*/ 265465 w 900424"/>
              <a:gd name="connsiteY31" fmla="*/ 568120 h 923534"/>
              <a:gd name="connsiteX32" fmla="*/ 260828 w 900424"/>
              <a:gd name="connsiteY32" fmla="*/ 563064 h 923534"/>
              <a:gd name="connsiteX33" fmla="*/ 477023 w 900424"/>
              <a:gd name="connsiteY33" fmla="*/ 538609 h 923534"/>
              <a:gd name="connsiteX34" fmla="*/ 477810 w 900424"/>
              <a:gd name="connsiteY34" fmla="*/ 539466 h 923534"/>
              <a:gd name="connsiteX35" fmla="*/ 481962 w 900424"/>
              <a:gd name="connsiteY35" fmla="*/ 568120 h 923534"/>
              <a:gd name="connsiteX36" fmla="*/ 752690 w 900424"/>
              <a:gd name="connsiteY36" fmla="*/ 568120 h 923534"/>
              <a:gd name="connsiteX37" fmla="*/ 752690 w 900424"/>
              <a:gd name="connsiteY37" fmla="*/ 538609 h 923534"/>
              <a:gd name="connsiteX38" fmla="*/ 477023 w 900424"/>
              <a:gd name="connsiteY38" fmla="*/ 538609 h 923534"/>
              <a:gd name="connsiteX39" fmla="*/ 407941 w 900424"/>
              <a:gd name="connsiteY39" fmla="*/ 463291 h 923534"/>
              <a:gd name="connsiteX40" fmla="*/ 435010 w 900424"/>
              <a:gd name="connsiteY40" fmla="*/ 492803 h 923534"/>
              <a:gd name="connsiteX41" fmla="*/ 752690 w 900424"/>
              <a:gd name="connsiteY41" fmla="*/ 492803 h 923534"/>
              <a:gd name="connsiteX42" fmla="*/ 752690 w 900424"/>
              <a:gd name="connsiteY42" fmla="*/ 463291 h 923534"/>
              <a:gd name="connsiteX43" fmla="*/ 407941 w 900424"/>
              <a:gd name="connsiteY43" fmla="*/ 463291 h 923534"/>
              <a:gd name="connsiteX44" fmla="*/ 338860 w 900424"/>
              <a:gd name="connsiteY44" fmla="*/ 387973 h 923534"/>
              <a:gd name="connsiteX45" fmla="*/ 365929 w 900424"/>
              <a:gd name="connsiteY45" fmla="*/ 417485 h 923534"/>
              <a:gd name="connsiteX46" fmla="*/ 752690 w 900424"/>
              <a:gd name="connsiteY46" fmla="*/ 417485 h 923534"/>
              <a:gd name="connsiteX47" fmla="*/ 752690 w 900424"/>
              <a:gd name="connsiteY47" fmla="*/ 387973 h 923534"/>
              <a:gd name="connsiteX48" fmla="*/ 338860 w 900424"/>
              <a:gd name="connsiteY48" fmla="*/ 387973 h 923534"/>
              <a:gd name="connsiteX49" fmla="*/ 208773 w 900424"/>
              <a:gd name="connsiteY49" fmla="*/ 287844 h 923534"/>
              <a:gd name="connsiteX50" fmla="*/ 191984 w 900424"/>
              <a:gd name="connsiteY50" fmla="*/ 292482 h 923534"/>
              <a:gd name="connsiteX51" fmla="*/ 127335 w 900424"/>
              <a:gd name="connsiteY51" fmla="*/ 351778 h 923534"/>
              <a:gd name="connsiteX52" fmla="*/ 129474 w 900424"/>
              <a:gd name="connsiteY52" fmla="*/ 386557 h 923534"/>
              <a:gd name="connsiteX53" fmla="*/ 350534 w 900424"/>
              <a:gd name="connsiteY53" fmla="*/ 627573 h 923534"/>
              <a:gd name="connsiteX54" fmla="*/ 384998 w 900424"/>
              <a:gd name="connsiteY54" fmla="*/ 632703 h 923534"/>
              <a:gd name="connsiteX55" fmla="*/ 449647 w 900424"/>
              <a:gd name="connsiteY55" fmla="*/ 573407 h 923534"/>
              <a:gd name="connsiteX56" fmla="*/ 447509 w 900424"/>
              <a:gd name="connsiteY56" fmla="*/ 538629 h 923534"/>
              <a:gd name="connsiteX57" fmla="*/ 226448 w 900424"/>
              <a:gd name="connsiteY57" fmla="*/ 297612 h 923534"/>
              <a:gd name="connsiteX58" fmla="*/ 208773 w 900424"/>
              <a:gd name="connsiteY58" fmla="*/ 287844 h 923534"/>
              <a:gd name="connsiteX59" fmla="*/ 260828 w 900424"/>
              <a:gd name="connsiteY59" fmla="*/ 270130 h 923534"/>
              <a:gd name="connsiteX60" fmla="*/ 260828 w 900424"/>
              <a:gd name="connsiteY60" fmla="*/ 302896 h 923534"/>
              <a:gd name="connsiteX61" fmla="*/ 266867 w 900424"/>
              <a:gd name="connsiteY61" fmla="*/ 309479 h 923534"/>
              <a:gd name="connsiteX62" fmla="*/ 555945 w 900424"/>
              <a:gd name="connsiteY62" fmla="*/ 309479 h 923534"/>
              <a:gd name="connsiteX63" fmla="*/ 555945 w 900424"/>
              <a:gd name="connsiteY63" fmla="*/ 270130 h 923534"/>
              <a:gd name="connsiteX64" fmla="*/ 260828 w 900424"/>
              <a:gd name="connsiteY64" fmla="*/ 270130 h 923534"/>
              <a:gd name="connsiteX65" fmla="*/ 593007 w 900424"/>
              <a:gd name="connsiteY65" fmla="*/ 118999 h 923534"/>
              <a:gd name="connsiteX66" fmla="*/ 593004 w 900424"/>
              <a:gd name="connsiteY66" fmla="*/ 272708 h 923534"/>
              <a:gd name="connsiteX67" fmla="*/ 636152 w 900424"/>
              <a:gd name="connsiteY67" fmla="*/ 321246 h 923534"/>
              <a:gd name="connsiteX68" fmla="*/ 797949 w 900424"/>
              <a:gd name="connsiteY68" fmla="*/ 323942 h 923534"/>
              <a:gd name="connsiteX69" fmla="*/ 593007 w 900424"/>
              <a:gd name="connsiteY69" fmla="*/ 118999 h 923534"/>
              <a:gd name="connsiteX70" fmla="*/ 655342 w 900424"/>
              <a:gd name="connsiteY70" fmla="*/ 99358 h 923534"/>
              <a:gd name="connsiteX71" fmla="*/ 721150 w 900424"/>
              <a:gd name="connsiteY71" fmla="*/ 99358 h 923534"/>
              <a:gd name="connsiteX72" fmla="*/ 900424 w 900424"/>
              <a:gd name="connsiteY72" fmla="*/ 280970 h 923534"/>
              <a:gd name="connsiteX73" fmla="*/ 900424 w 900424"/>
              <a:gd name="connsiteY73" fmla="*/ 853426 h 923534"/>
              <a:gd name="connsiteX74" fmla="*/ 852052 w 900424"/>
              <a:gd name="connsiteY74" fmla="*/ 905466 h 923534"/>
              <a:gd name="connsiteX75" fmla="*/ 828360 w 900424"/>
              <a:gd name="connsiteY75" fmla="*/ 905466 h 923534"/>
              <a:gd name="connsiteX76" fmla="*/ 849187 w 900424"/>
              <a:gd name="connsiteY76" fmla="*/ 863377 h 923534"/>
              <a:gd name="connsiteX77" fmla="*/ 849187 w 900424"/>
              <a:gd name="connsiteY77" fmla="*/ 293203 h 923534"/>
              <a:gd name="connsiteX78" fmla="*/ 655342 w 900424"/>
              <a:gd name="connsiteY78" fmla="*/ 99358 h 923534"/>
              <a:gd name="connsiteX79" fmla="*/ 284672 w 900424"/>
              <a:gd name="connsiteY79" fmla="*/ 26454 h 923534"/>
              <a:gd name="connsiteX80" fmla="*/ 306902 w 900424"/>
              <a:gd name="connsiteY80" fmla="*/ 26454 h 923534"/>
              <a:gd name="connsiteX81" fmla="*/ 312459 w 900424"/>
              <a:gd name="connsiteY81" fmla="*/ 32011 h 923534"/>
              <a:gd name="connsiteX82" fmla="*/ 312459 w 900424"/>
              <a:gd name="connsiteY82" fmla="*/ 71044 h 923534"/>
              <a:gd name="connsiteX83" fmla="*/ 341829 w 900424"/>
              <a:gd name="connsiteY83" fmla="*/ 71044 h 923534"/>
              <a:gd name="connsiteX84" fmla="*/ 341829 w 900424"/>
              <a:gd name="connsiteY84" fmla="*/ 32011 h 923534"/>
              <a:gd name="connsiteX85" fmla="*/ 347386 w 900424"/>
              <a:gd name="connsiteY85" fmla="*/ 26454 h 923534"/>
              <a:gd name="connsiteX86" fmla="*/ 369616 w 900424"/>
              <a:gd name="connsiteY86" fmla="*/ 26454 h 923534"/>
              <a:gd name="connsiteX87" fmla="*/ 375173 w 900424"/>
              <a:gd name="connsiteY87" fmla="*/ 32011 h 923534"/>
              <a:gd name="connsiteX88" fmla="*/ 375173 w 900424"/>
              <a:gd name="connsiteY88" fmla="*/ 71044 h 923534"/>
              <a:gd name="connsiteX89" fmla="*/ 404543 w 900424"/>
              <a:gd name="connsiteY89" fmla="*/ 71044 h 923534"/>
              <a:gd name="connsiteX90" fmla="*/ 404543 w 900424"/>
              <a:gd name="connsiteY90" fmla="*/ 32011 h 923534"/>
              <a:gd name="connsiteX91" fmla="*/ 410100 w 900424"/>
              <a:gd name="connsiteY91" fmla="*/ 26454 h 923534"/>
              <a:gd name="connsiteX92" fmla="*/ 432330 w 900424"/>
              <a:gd name="connsiteY92" fmla="*/ 26454 h 923534"/>
              <a:gd name="connsiteX93" fmla="*/ 437887 w 900424"/>
              <a:gd name="connsiteY93" fmla="*/ 32011 h 923534"/>
              <a:gd name="connsiteX94" fmla="*/ 437887 w 900424"/>
              <a:gd name="connsiteY94" fmla="*/ 71044 h 923534"/>
              <a:gd name="connsiteX95" fmla="*/ 467255 w 900424"/>
              <a:gd name="connsiteY95" fmla="*/ 71044 h 923534"/>
              <a:gd name="connsiteX96" fmla="*/ 467255 w 900424"/>
              <a:gd name="connsiteY96" fmla="*/ 32011 h 923534"/>
              <a:gd name="connsiteX97" fmla="*/ 472813 w 900424"/>
              <a:gd name="connsiteY97" fmla="*/ 26454 h 923534"/>
              <a:gd name="connsiteX98" fmla="*/ 495042 w 900424"/>
              <a:gd name="connsiteY98" fmla="*/ 26454 h 923534"/>
              <a:gd name="connsiteX99" fmla="*/ 500600 w 900424"/>
              <a:gd name="connsiteY99" fmla="*/ 32011 h 923534"/>
              <a:gd name="connsiteX100" fmla="*/ 500600 w 900424"/>
              <a:gd name="connsiteY100" fmla="*/ 71044 h 923534"/>
              <a:gd name="connsiteX101" fmla="*/ 606532 w 900424"/>
              <a:gd name="connsiteY101" fmla="*/ 71044 h 923534"/>
              <a:gd name="connsiteX102" fmla="*/ 833814 w 900424"/>
              <a:gd name="connsiteY102" fmla="*/ 298326 h 923534"/>
              <a:gd name="connsiteX103" fmla="*/ 833814 w 900424"/>
              <a:gd name="connsiteY103" fmla="*/ 868500 h 923534"/>
              <a:gd name="connsiteX104" fmla="*/ 778780 w 900424"/>
              <a:gd name="connsiteY104" fmla="*/ 923534 h 923534"/>
              <a:gd name="connsiteX105" fmla="*/ 239864 w 900424"/>
              <a:gd name="connsiteY105" fmla="*/ 923534 h 923534"/>
              <a:gd name="connsiteX106" fmla="*/ 184830 w 900424"/>
              <a:gd name="connsiteY106" fmla="*/ 868500 h 923534"/>
              <a:gd name="connsiteX107" fmla="*/ 184830 w 900424"/>
              <a:gd name="connsiteY107" fmla="*/ 480204 h 923534"/>
              <a:gd name="connsiteX108" fmla="*/ 108913 w 900424"/>
              <a:gd name="connsiteY108" fmla="*/ 397433 h 923534"/>
              <a:gd name="connsiteX109" fmla="*/ 110701 w 900424"/>
              <a:gd name="connsiteY109" fmla="*/ 356021 h 923534"/>
              <a:gd name="connsiteX110" fmla="*/ 184830 w 900424"/>
              <a:gd name="connsiteY110" fmla="*/ 288031 h 923534"/>
              <a:gd name="connsiteX111" fmla="*/ 184830 w 900424"/>
              <a:gd name="connsiteY111" fmla="*/ 255689 h 923534"/>
              <a:gd name="connsiteX112" fmla="*/ 182259 w 900424"/>
              <a:gd name="connsiteY112" fmla="*/ 258049 h 923534"/>
              <a:gd name="connsiteX113" fmla="*/ 181841 w 900424"/>
              <a:gd name="connsiteY113" fmla="*/ 251257 h 923534"/>
              <a:gd name="connsiteX114" fmla="*/ 140694 w 900424"/>
              <a:gd name="connsiteY114" fmla="*/ 206396 h 923534"/>
              <a:gd name="connsiteX115" fmla="*/ 121321 w 900424"/>
              <a:gd name="connsiteY115" fmla="*/ 203511 h 923534"/>
              <a:gd name="connsiteX116" fmla="*/ 42515 w 900424"/>
              <a:gd name="connsiteY116" fmla="*/ 275789 h 923534"/>
              <a:gd name="connsiteX117" fmla="*/ 43718 w 900424"/>
              <a:gd name="connsiteY117" fmla="*/ 295339 h 923534"/>
              <a:gd name="connsiteX118" fmla="*/ 84866 w 900424"/>
              <a:gd name="connsiteY118" fmla="*/ 340201 h 923534"/>
              <a:gd name="connsiteX119" fmla="*/ 91596 w 900424"/>
              <a:gd name="connsiteY119" fmla="*/ 341203 h 923534"/>
              <a:gd name="connsiteX120" fmla="*/ 83614 w 900424"/>
              <a:gd name="connsiteY120" fmla="*/ 348524 h 923534"/>
              <a:gd name="connsiteX121" fmla="*/ 60335 w 900424"/>
              <a:gd name="connsiteY121" fmla="*/ 347519 h 923534"/>
              <a:gd name="connsiteX122" fmla="*/ 15793 w 900424"/>
              <a:gd name="connsiteY122" fmla="*/ 298955 h 923534"/>
              <a:gd name="connsiteX123" fmla="*/ 16799 w 900424"/>
              <a:gd name="connsiteY123" fmla="*/ 275676 h 923534"/>
              <a:gd name="connsiteX124" fmla="*/ 122114 w 900424"/>
              <a:gd name="connsiteY124" fmla="*/ 179082 h 923534"/>
              <a:gd name="connsiteX125" fmla="*/ 145393 w 900424"/>
              <a:gd name="connsiteY125" fmla="*/ 180087 h 923534"/>
              <a:gd name="connsiteX126" fmla="*/ 184830 w 900424"/>
              <a:gd name="connsiteY126" fmla="*/ 223084 h 923534"/>
              <a:gd name="connsiteX127" fmla="*/ 184830 w 900424"/>
              <a:gd name="connsiteY127" fmla="*/ 126079 h 923534"/>
              <a:gd name="connsiteX128" fmla="*/ 239864 w 900424"/>
              <a:gd name="connsiteY128" fmla="*/ 71044 h 923534"/>
              <a:gd name="connsiteX129" fmla="*/ 279115 w 900424"/>
              <a:gd name="connsiteY129" fmla="*/ 71044 h 923534"/>
              <a:gd name="connsiteX130" fmla="*/ 279115 w 900424"/>
              <a:gd name="connsiteY130" fmla="*/ 32011 h 923534"/>
              <a:gd name="connsiteX131" fmla="*/ 284672 w 900424"/>
              <a:gd name="connsiteY131" fmla="*/ 26454 h 923534"/>
              <a:gd name="connsiteX132" fmla="*/ 69366 w 900424"/>
              <a:gd name="connsiteY132" fmla="*/ 97655 h 923534"/>
              <a:gd name="connsiteX133" fmla="*/ 185239 w 900424"/>
              <a:gd name="connsiteY133" fmla="*/ 0 h 923534"/>
              <a:gd name="connsiteX134" fmla="*/ 69385 w 900424"/>
              <a:gd name="connsiteY134" fmla="*/ 97673 h 923534"/>
              <a:gd name="connsiteX135" fmla="*/ 0 w 900424"/>
              <a:gd name="connsiteY135" fmla="*/ 195309 h 923534"/>
              <a:gd name="connsiteX136" fmla="*/ 0 w 900424"/>
              <a:gd name="connsiteY136" fmla="*/ 195263 h 923534"/>
              <a:gd name="connsiteX137" fmla="*/ 69366 w 900424"/>
              <a:gd name="connsiteY137" fmla="*/ 97655 h 923534"/>
              <a:gd name="connsiteX0" fmla="*/ 260828 w 900424"/>
              <a:gd name="connsiteY0" fmla="*/ 738104 h 897080"/>
              <a:gd name="connsiteX1" fmla="*/ 260828 w 900424"/>
              <a:gd name="connsiteY1" fmla="*/ 767616 h 897080"/>
              <a:gd name="connsiteX2" fmla="*/ 752690 w 900424"/>
              <a:gd name="connsiteY2" fmla="*/ 767616 h 897080"/>
              <a:gd name="connsiteX3" fmla="*/ 752690 w 900424"/>
              <a:gd name="connsiteY3" fmla="*/ 738104 h 897080"/>
              <a:gd name="connsiteX4" fmla="*/ 260828 w 900424"/>
              <a:gd name="connsiteY4" fmla="*/ 738104 h 897080"/>
              <a:gd name="connsiteX5" fmla="*/ 523025 w 900424"/>
              <a:gd name="connsiteY5" fmla="*/ 662789 h 897080"/>
              <a:gd name="connsiteX6" fmla="*/ 529392 w 900424"/>
              <a:gd name="connsiteY6" fmla="*/ 692301 h 897080"/>
              <a:gd name="connsiteX7" fmla="*/ 752690 w 900424"/>
              <a:gd name="connsiteY7" fmla="*/ 692301 h 897080"/>
              <a:gd name="connsiteX8" fmla="*/ 752690 w 900424"/>
              <a:gd name="connsiteY8" fmla="*/ 662789 h 897080"/>
              <a:gd name="connsiteX9" fmla="*/ 523025 w 900424"/>
              <a:gd name="connsiteY9" fmla="*/ 662789 h 897080"/>
              <a:gd name="connsiteX10" fmla="*/ 260828 w 900424"/>
              <a:gd name="connsiteY10" fmla="*/ 662789 h 897080"/>
              <a:gd name="connsiteX11" fmla="*/ 260828 w 900424"/>
              <a:gd name="connsiteY11" fmla="*/ 692301 h 897080"/>
              <a:gd name="connsiteX12" fmla="*/ 520342 w 900424"/>
              <a:gd name="connsiteY12" fmla="*/ 692301 h 897080"/>
              <a:gd name="connsiteX13" fmla="*/ 427300 w 900424"/>
              <a:gd name="connsiteY13" fmla="*/ 662789 h 897080"/>
              <a:gd name="connsiteX14" fmla="*/ 260828 w 900424"/>
              <a:gd name="connsiteY14" fmla="*/ 662789 h 897080"/>
              <a:gd name="connsiteX15" fmla="*/ 506777 w 900424"/>
              <a:gd name="connsiteY15" fmla="*/ 587471 h 897080"/>
              <a:gd name="connsiteX16" fmla="*/ 513144 w 900424"/>
              <a:gd name="connsiteY16" fmla="*/ 616983 h 897080"/>
              <a:gd name="connsiteX17" fmla="*/ 752690 w 900424"/>
              <a:gd name="connsiteY17" fmla="*/ 616983 h 897080"/>
              <a:gd name="connsiteX18" fmla="*/ 752690 w 900424"/>
              <a:gd name="connsiteY18" fmla="*/ 587471 h 897080"/>
              <a:gd name="connsiteX19" fmla="*/ 506777 w 900424"/>
              <a:gd name="connsiteY19" fmla="*/ 587471 h 897080"/>
              <a:gd name="connsiteX20" fmla="*/ 260828 w 900424"/>
              <a:gd name="connsiteY20" fmla="*/ 587471 h 897080"/>
              <a:gd name="connsiteX21" fmla="*/ 260828 w 900424"/>
              <a:gd name="connsiteY21" fmla="*/ 616983 h 897080"/>
              <a:gd name="connsiteX22" fmla="*/ 334546 w 900424"/>
              <a:gd name="connsiteY22" fmla="*/ 616983 h 897080"/>
              <a:gd name="connsiteX23" fmla="*/ 307478 w 900424"/>
              <a:gd name="connsiteY23" fmla="*/ 587471 h 897080"/>
              <a:gd name="connsiteX24" fmla="*/ 260828 w 900424"/>
              <a:gd name="connsiteY24" fmla="*/ 587471 h 897080"/>
              <a:gd name="connsiteX25" fmla="*/ 467940 w 900424"/>
              <a:gd name="connsiteY25" fmla="*/ 544863 h 897080"/>
              <a:gd name="connsiteX26" fmla="*/ 385032 w 900424"/>
              <a:gd name="connsiteY26" fmla="*/ 620125 h 897080"/>
              <a:gd name="connsiteX27" fmla="*/ 506739 w 900424"/>
              <a:gd name="connsiteY27" fmla="*/ 670589 h 897080"/>
              <a:gd name="connsiteX28" fmla="*/ 467940 w 900424"/>
              <a:gd name="connsiteY28" fmla="*/ 544863 h 897080"/>
              <a:gd name="connsiteX29" fmla="*/ 260828 w 900424"/>
              <a:gd name="connsiteY29" fmla="*/ 536610 h 897080"/>
              <a:gd name="connsiteX30" fmla="*/ 260828 w 900424"/>
              <a:gd name="connsiteY30" fmla="*/ 541666 h 897080"/>
              <a:gd name="connsiteX31" fmla="*/ 265465 w 900424"/>
              <a:gd name="connsiteY31" fmla="*/ 541666 h 897080"/>
              <a:gd name="connsiteX32" fmla="*/ 260828 w 900424"/>
              <a:gd name="connsiteY32" fmla="*/ 536610 h 897080"/>
              <a:gd name="connsiteX33" fmla="*/ 477023 w 900424"/>
              <a:gd name="connsiteY33" fmla="*/ 512155 h 897080"/>
              <a:gd name="connsiteX34" fmla="*/ 477810 w 900424"/>
              <a:gd name="connsiteY34" fmla="*/ 513012 h 897080"/>
              <a:gd name="connsiteX35" fmla="*/ 481962 w 900424"/>
              <a:gd name="connsiteY35" fmla="*/ 541666 h 897080"/>
              <a:gd name="connsiteX36" fmla="*/ 752690 w 900424"/>
              <a:gd name="connsiteY36" fmla="*/ 541666 h 897080"/>
              <a:gd name="connsiteX37" fmla="*/ 752690 w 900424"/>
              <a:gd name="connsiteY37" fmla="*/ 512155 h 897080"/>
              <a:gd name="connsiteX38" fmla="*/ 477023 w 900424"/>
              <a:gd name="connsiteY38" fmla="*/ 512155 h 897080"/>
              <a:gd name="connsiteX39" fmla="*/ 407941 w 900424"/>
              <a:gd name="connsiteY39" fmla="*/ 436837 h 897080"/>
              <a:gd name="connsiteX40" fmla="*/ 435010 w 900424"/>
              <a:gd name="connsiteY40" fmla="*/ 466349 h 897080"/>
              <a:gd name="connsiteX41" fmla="*/ 752690 w 900424"/>
              <a:gd name="connsiteY41" fmla="*/ 466349 h 897080"/>
              <a:gd name="connsiteX42" fmla="*/ 752690 w 900424"/>
              <a:gd name="connsiteY42" fmla="*/ 436837 h 897080"/>
              <a:gd name="connsiteX43" fmla="*/ 407941 w 900424"/>
              <a:gd name="connsiteY43" fmla="*/ 436837 h 897080"/>
              <a:gd name="connsiteX44" fmla="*/ 338860 w 900424"/>
              <a:gd name="connsiteY44" fmla="*/ 361519 h 897080"/>
              <a:gd name="connsiteX45" fmla="*/ 365929 w 900424"/>
              <a:gd name="connsiteY45" fmla="*/ 391031 h 897080"/>
              <a:gd name="connsiteX46" fmla="*/ 752690 w 900424"/>
              <a:gd name="connsiteY46" fmla="*/ 391031 h 897080"/>
              <a:gd name="connsiteX47" fmla="*/ 752690 w 900424"/>
              <a:gd name="connsiteY47" fmla="*/ 361519 h 897080"/>
              <a:gd name="connsiteX48" fmla="*/ 338860 w 900424"/>
              <a:gd name="connsiteY48" fmla="*/ 361519 h 897080"/>
              <a:gd name="connsiteX49" fmla="*/ 208773 w 900424"/>
              <a:gd name="connsiteY49" fmla="*/ 261390 h 897080"/>
              <a:gd name="connsiteX50" fmla="*/ 191984 w 900424"/>
              <a:gd name="connsiteY50" fmla="*/ 266028 h 897080"/>
              <a:gd name="connsiteX51" fmla="*/ 127335 w 900424"/>
              <a:gd name="connsiteY51" fmla="*/ 325324 h 897080"/>
              <a:gd name="connsiteX52" fmla="*/ 129474 w 900424"/>
              <a:gd name="connsiteY52" fmla="*/ 360103 h 897080"/>
              <a:gd name="connsiteX53" fmla="*/ 350534 w 900424"/>
              <a:gd name="connsiteY53" fmla="*/ 601119 h 897080"/>
              <a:gd name="connsiteX54" fmla="*/ 384998 w 900424"/>
              <a:gd name="connsiteY54" fmla="*/ 606249 h 897080"/>
              <a:gd name="connsiteX55" fmla="*/ 449647 w 900424"/>
              <a:gd name="connsiteY55" fmla="*/ 546953 h 897080"/>
              <a:gd name="connsiteX56" fmla="*/ 447509 w 900424"/>
              <a:gd name="connsiteY56" fmla="*/ 512175 h 897080"/>
              <a:gd name="connsiteX57" fmla="*/ 226448 w 900424"/>
              <a:gd name="connsiteY57" fmla="*/ 271158 h 897080"/>
              <a:gd name="connsiteX58" fmla="*/ 208773 w 900424"/>
              <a:gd name="connsiteY58" fmla="*/ 261390 h 897080"/>
              <a:gd name="connsiteX59" fmla="*/ 260828 w 900424"/>
              <a:gd name="connsiteY59" fmla="*/ 243676 h 897080"/>
              <a:gd name="connsiteX60" fmla="*/ 260828 w 900424"/>
              <a:gd name="connsiteY60" fmla="*/ 276442 h 897080"/>
              <a:gd name="connsiteX61" fmla="*/ 266867 w 900424"/>
              <a:gd name="connsiteY61" fmla="*/ 283025 h 897080"/>
              <a:gd name="connsiteX62" fmla="*/ 555945 w 900424"/>
              <a:gd name="connsiteY62" fmla="*/ 283025 h 897080"/>
              <a:gd name="connsiteX63" fmla="*/ 555945 w 900424"/>
              <a:gd name="connsiteY63" fmla="*/ 243676 h 897080"/>
              <a:gd name="connsiteX64" fmla="*/ 260828 w 900424"/>
              <a:gd name="connsiteY64" fmla="*/ 243676 h 897080"/>
              <a:gd name="connsiteX65" fmla="*/ 593007 w 900424"/>
              <a:gd name="connsiteY65" fmla="*/ 92545 h 897080"/>
              <a:gd name="connsiteX66" fmla="*/ 593004 w 900424"/>
              <a:gd name="connsiteY66" fmla="*/ 246254 h 897080"/>
              <a:gd name="connsiteX67" fmla="*/ 636152 w 900424"/>
              <a:gd name="connsiteY67" fmla="*/ 294792 h 897080"/>
              <a:gd name="connsiteX68" fmla="*/ 797949 w 900424"/>
              <a:gd name="connsiteY68" fmla="*/ 297488 h 897080"/>
              <a:gd name="connsiteX69" fmla="*/ 593007 w 900424"/>
              <a:gd name="connsiteY69" fmla="*/ 92545 h 897080"/>
              <a:gd name="connsiteX70" fmla="*/ 655342 w 900424"/>
              <a:gd name="connsiteY70" fmla="*/ 72904 h 897080"/>
              <a:gd name="connsiteX71" fmla="*/ 721150 w 900424"/>
              <a:gd name="connsiteY71" fmla="*/ 72904 h 897080"/>
              <a:gd name="connsiteX72" fmla="*/ 900424 w 900424"/>
              <a:gd name="connsiteY72" fmla="*/ 254516 h 897080"/>
              <a:gd name="connsiteX73" fmla="*/ 900424 w 900424"/>
              <a:gd name="connsiteY73" fmla="*/ 826972 h 897080"/>
              <a:gd name="connsiteX74" fmla="*/ 852052 w 900424"/>
              <a:gd name="connsiteY74" fmla="*/ 879012 h 897080"/>
              <a:gd name="connsiteX75" fmla="*/ 828360 w 900424"/>
              <a:gd name="connsiteY75" fmla="*/ 879012 h 897080"/>
              <a:gd name="connsiteX76" fmla="*/ 849187 w 900424"/>
              <a:gd name="connsiteY76" fmla="*/ 836923 h 897080"/>
              <a:gd name="connsiteX77" fmla="*/ 849187 w 900424"/>
              <a:gd name="connsiteY77" fmla="*/ 266749 h 897080"/>
              <a:gd name="connsiteX78" fmla="*/ 655342 w 900424"/>
              <a:gd name="connsiteY78" fmla="*/ 72904 h 897080"/>
              <a:gd name="connsiteX79" fmla="*/ 284672 w 900424"/>
              <a:gd name="connsiteY79" fmla="*/ 0 h 897080"/>
              <a:gd name="connsiteX80" fmla="*/ 306902 w 900424"/>
              <a:gd name="connsiteY80" fmla="*/ 0 h 897080"/>
              <a:gd name="connsiteX81" fmla="*/ 312459 w 900424"/>
              <a:gd name="connsiteY81" fmla="*/ 5557 h 897080"/>
              <a:gd name="connsiteX82" fmla="*/ 312459 w 900424"/>
              <a:gd name="connsiteY82" fmla="*/ 44590 h 897080"/>
              <a:gd name="connsiteX83" fmla="*/ 341829 w 900424"/>
              <a:gd name="connsiteY83" fmla="*/ 44590 h 897080"/>
              <a:gd name="connsiteX84" fmla="*/ 341829 w 900424"/>
              <a:gd name="connsiteY84" fmla="*/ 5557 h 897080"/>
              <a:gd name="connsiteX85" fmla="*/ 347386 w 900424"/>
              <a:gd name="connsiteY85" fmla="*/ 0 h 897080"/>
              <a:gd name="connsiteX86" fmla="*/ 369616 w 900424"/>
              <a:gd name="connsiteY86" fmla="*/ 0 h 897080"/>
              <a:gd name="connsiteX87" fmla="*/ 375173 w 900424"/>
              <a:gd name="connsiteY87" fmla="*/ 5557 h 897080"/>
              <a:gd name="connsiteX88" fmla="*/ 375173 w 900424"/>
              <a:gd name="connsiteY88" fmla="*/ 44590 h 897080"/>
              <a:gd name="connsiteX89" fmla="*/ 404543 w 900424"/>
              <a:gd name="connsiteY89" fmla="*/ 44590 h 897080"/>
              <a:gd name="connsiteX90" fmla="*/ 404543 w 900424"/>
              <a:gd name="connsiteY90" fmla="*/ 5557 h 897080"/>
              <a:gd name="connsiteX91" fmla="*/ 410100 w 900424"/>
              <a:gd name="connsiteY91" fmla="*/ 0 h 897080"/>
              <a:gd name="connsiteX92" fmla="*/ 432330 w 900424"/>
              <a:gd name="connsiteY92" fmla="*/ 0 h 897080"/>
              <a:gd name="connsiteX93" fmla="*/ 437887 w 900424"/>
              <a:gd name="connsiteY93" fmla="*/ 5557 h 897080"/>
              <a:gd name="connsiteX94" fmla="*/ 437887 w 900424"/>
              <a:gd name="connsiteY94" fmla="*/ 44590 h 897080"/>
              <a:gd name="connsiteX95" fmla="*/ 467255 w 900424"/>
              <a:gd name="connsiteY95" fmla="*/ 44590 h 897080"/>
              <a:gd name="connsiteX96" fmla="*/ 467255 w 900424"/>
              <a:gd name="connsiteY96" fmla="*/ 5557 h 897080"/>
              <a:gd name="connsiteX97" fmla="*/ 472813 w 900424"/>
              <a:gd name="connsiteY97" fmla="*/ 0 h 897080"/>
              <a:gd name="connsiteX98" fmla="*/ 495042 w 900424"/>
              <a:gd name="connsiteY98" fmla="*/ 0 h 897080"/>
              <a:gd name="connsiteX99" fmla="*/ 500600 w 900424"/>
              <a:gd name="connsiteY99" fmla="*/ 5557 h 897080"/>
              <a:gd name="connsiteX100" fmla="*/ 500600 w 900424"/>
              <a:gd name="connsiteY100" fmla="*/ 44590 h 897080"/>
              <a:gd name="connsiteX101" fmla="*/ 606532 w 900424"/>
              <a:gd name="connsiteY101" fmla="*/ 44590 h 897080"/>
              <a:gd name="connsiteX102" fmla="*/ 833814 w 900424"/>
              <a:gd name="connsiteY102" fmla="*/ 271872 h 897080"/>
              <a:gd name="connsiteX103" fmla="*/ 833814 w 900424"/>
              <a:gd name="connsiteY103" fmla="*/ 842046 h 897080"/>
              <a:gd name="connsiteX104" fmla="*/ 778780 w 900424"/>
              <a:gd name="connsiteY104" fmla="*/ 897080 h 897080"/>
              <a:gd name="connsiteX105" fmla="*/ 239864 w 900424"/>
              <a:gd name="connsiteY105" fmla="*/ 897080 h 897080"/>
              <a:gd name="connsiteX106" fmla="*/ 184830 w 900424"/>
              <a:gd name="connsiteY106" fmla="*/ 842046 h 897080"/>
              <a:gd name="connsiteX107" fmla="*/ 184830 w 900424"/>
              <a:gd name="connsiteY107" fmla="*/ 453750 h 897080"/>
              <a:gd name="connsiteX108" fmla="*/ 108913 w 900424"/>
              <a:gd name="connsiteY108" fmla="*/ 370979 h 897080"/>
              <a:gd name="connsiteX109" fmla="*/ 110701 w 900424"/>
              <a:gd name="connsiteY109" fmla="*/ 329567 h 897080"/>
              <a:gd name="connsiteX110" fmla="*/ 184830 w 900424"/>
              <a:gd name="connsiteY110" fmla="*/ 261577 h 897080"/>
              <a:gd name="connsiteX111" fmla="*/ 184830 w 900424"/>
              <a:gd name="connsiteY111" fmla="*/ 229235 h 897080"/>
              <a:gd name="connsiteX112" fmla="*/ 182259 w 900424"/>
              <a:gd name="connsiteY112" fmla="*/ 231595 h 897080"/>
              <a:gd name="connsiteX113" fmla="*/ 181841 w 900424"/>
              <a:gd name="connsiteY113" fmla="*/ 224803 h 897080"/>
              <a:gd name="connsiteX114" fmla="*/ 140694 w 900424"/>
              <a:gd name="connsiteY114" fmla="*/ 179942 h 897080"/>
              <a:gd name="connsiteX115" fmla="*/ 121321 w 900424"/>
              <a:gd name="connsiteY115" fmla="*/ 177057 h 897080"/>
              <a:gd name="connsiteX116" fmla="*/ 42515 w 900424"/>
              <a:gd name="connsiteY116" fmla="*/ 249335 h 897080"/>
              <a:gd name="connsiteX117" fmla="*/ 43718 w 900424"/>
              <a:gd name="connsiteY117" fmla="*/ 268885 h 897080"/>
              <a:gd name="connsiteX118" fmla="*/ 84866 w 900424"/>
              <a:gd name="connsiteY118" fmla="*/ 313747 h 897080"/>
              <a:gd name="connsiteX119" fmla="*/ 91596 w 900424"/>
              <a:gd name="connsiteY119" fmla="*/ 314749 h 897080"/>
              <a:gd name="connsiteX120" fmla="*/ 83614 w 900424"/>
              <a:gd name="connsiteY120" fmla="*/ 322070 h 897080"/>
              <a:gd name="connsiteX121" fmla="*/ 60335 w 900424"/>
              <a:gd name="connsiteY121" fmla="*/ 321065 h 897080"/>
              <a:gd name="connsiteX122" fmla="*/ 15793 w 900424"/>
              <a:gd name="connsiteY122" fmla="*/ 272501 h 897080"/>
              <a:gd name="connsiteX123" fmla="*/ 16799 w 900424"/>
              <a:gd name="connsiteY123" fmla="*/ 249222 h 897080"/>
              <a:gd name="connsiteX124" fmla="*/ 122114 w 900424"/>
              <a:gd name="connsiteY124" fmla="*/ 152628 h 897080"/>
              <a:gd name="connsiteX125" fmla="*/ 145393 w 900424"/>
              <a:gd name="connsiteY125" fmla="*/ 153633 h 897080"/>
              <a:gd name="connsiteX126" fmla="*/ 184830 w 900424"/>
              <a:gd name="connsiteY126" fmla="*/ 196630 h 897080"/>
              <a:gd name="connsiteX127" fmla="*/ 184830 w 900424"/>
              <a:gd name="connsiteY127" fmla="*/ 99625 h 897080"/>
              <a:gd name="connsiteX128" fmla="*/ 239864 w 900424"/>
              <a:gd name="connsiteY128" fmla="*/ 44590 h 897080"/>
              <a:gd name="connsiteX129" fmla="*/ 279115 w 900424"/>
              <a:gd name="connsiteY129" fmla="*/ 44590 h 897080"/>
              <a:gd name="connsiteX130" fmla="*/ 279115 w 900424"/>
              <a:gd name="connsiteY130" fmla="*/ 5557 h 897080"/>
              <a:gd name="connsiteX131" fmla="*/ 284672 w 900424"/>
              <a:gd name="connsiteY131" fmla="*/ 0 h 897080"/>
              <a:gd name="connsiteX132" fmla="*/ 69366 w 900424"/>
              <a:gd name="connsiteY132" fmla="*/ 71201 h 897080"/>
              <a:gd name="connsiteX133" fmla="*/ 69385 w 900424"/>
              <a:gd name="connsiteY133" fmla="*/ 71219 h 897080"/>
              <a:gd name="connsiteX134" fmla="*/ 0 w 900424"/>
              <a:gd name="connsiteY134" fmla="*/ 168855 h 897080"/>
              <a:gd name="connsiteX135" fmla="*/ 0 w 900424"/>
              <a:gd name="connsiteY135" fmla="*/ 168809 h 897080"/>
              <a:gd name="connsiteX136" fmla="*/ 69366 w 900424"/>
              <a:gd name="connsiteY136" fmla="*/ 71201 h 897080"/>
              <a:gd name="connsiteX0" fmla="*/ 260828 w 900424"/>
              <a:gd name="connsiteY0" fmla="*/ 738104 h 897080"/>
              <a:gd name="connsiteX1" fmla="*/ 260828 w 900424"/>
              <a:gd name="connsiteY1" fmla="*/ 767616 h 897080"/>
              <a:gd name="connsiteX2" fmla="*/ 752690 w 900424"/>
              <a:gd name="connsiteY2" fmla="*/ 767616 h 897080"/>
              <a:gd name="connsiteX3" fmla="*/ 752690 w 900424"/>
              <a:gd name="connsiteY3" fmla="*/ 738104 h 897080"/>
              <a:gd name="connsiteX4" fmla="*/ 260828 w 900424"/>
              <a:gd name="connsiteY4" fmla="*/ 738104 h 897080"/>
              <a:gd name="connsiteX5" fmla="*/ 523025 w 900424"/>
              <a:gd name="connsiteY5" fmla="*/ 662789 h 897080"/>
              <a:gd name="connsiteX6" fmla="*/ 529392 w 900424"/>
              <a:gd name="connsiteY6" fmla="*/ 692301 h 897080"/>
              <a:gd name="connsiteX7" fmla="*/ 752690 w 900424"/>
              <a:gd name="connsiteY7" fmla="*/ 692301 h 897080"/>
              <a:gd name="connsiteX8" fmla="*/ 752690 w 900424"/>
              <a:gd name="connsiteY8" fmla="*/ 662789 h 897080"/>
              <a:gd name="connsiteX9" fmla="*/ 523025 w 900424"/>
              <a:gd name="connsiteY9" fmla="*/ 662789 h 897080"/>
              <a:gd name="connsiteX10" fmla="*/ 260828 w 900424"/>
              <a:gd name="connsiteY10" fmla="*/ 662789 h 897080"/>
              <a:gd name="connsiteX11" fmla="*/ 260828 w 900424"/>
              <a:gd name="connsiteY11" fmla="*/ 692301 h 897080"/>
              <a:gd name="connsiteX12" fmla="*/ 520342 w 900424"/>
              <a:gd name="connsiteY12" fmla="*/ 692301 h 897080"/>
              <a:gd name="connsiteX13" fmla="*/ 427300 w 900424"/>
              <a:gd name="connsiteY13" fmla="*/ 662789 h 897080"/>
              <a:gd name="connsiteX14" fmla="*/ 260828 w 900424"/>
              <a:gd name="connsiteY14" fmla="*/ 662789 h 897080"/>
              <a:gd name="connsiteX15" fmla="*/ 506777 w 900424"/>
              <a:gd name="connsiteY15" fmla="*/ 587471 h 897080"/>
              <a:gd name="connsiteX16" fmla="*/ 513144 w 900424"/>
              <a:gd name="connsiteY16" fmla="*/ 616983 h 897080"/>
              <a:gd name="connsiteX17" fmla="*/ 752690 w 900424"/>
              <a:gd name="connsiteY17" fmla="*/ 616983 h 897080"/>
              <a:gd name="connsiteX18" fmla="*/ 752690 w 900424"/>
              <a:gd name="connsiteY18" fmla="*/ 587471 h 897080"/>
              <a:gd name="connsiteX19" fmla="*/ 506777 w 900424"/>
              <a:gd name="connsiteY19" fmla="*/ 587471 h 897080"/>
              <a:gd name="connsiteX20" fmla="*/ 260828 w 900424"/>
              <a:gd name="connsiteY20" fmla="*/ 587471 h 897080"/>
              <a:gd name="connsiteX21" fmla="*/ 260828 w 900424"/>
              <a:gd name="connsiteY21" fmla="*/ 616983 h 897080"/>
              <a:gd name="connsiteX22" fmla="*/ 334546 w 900424"/>
              <a:gd name="connsiteY22" fmla="*/ 616983 h 897080"/>
              <a:gd name="connsiteX23" fmla="*/ 307478 w 900424"/>
              <a:gd name="connsiteY23" fmla="*/ 587471 h 897080"/>
              <a:gd name="connsiteX24" fmla="*/ 260828 w 900424"/>
              <a:gd name="connsiteY24" fmla="*/ 587471 h 897080"/>
              <a:gd name="connsiteX25" fmla="*/ 467940 w 900424"/>
              <a:gd name="connsiteY25" fmla="*/ 544863 h 897080"/>
              <a:gd name="connsiteX26" fmla="*/ 385032 w 900424"/>
              <a:gd name="connsiteY26" fmla="*/ 620125 h 897080"/>
              <a:gd name="connsiteX27" fmla="*/ 506739 w 900424"/>
              <a:gd name="connsiteY27" fmla="*/ 670589 h 897080"/>
              <a:gd name="connsiteX28" fmla="*/ 467940 w 900424"/>
              <a:gd name="connsiteY28" fmla="*/ 544863 h 897080"/>
              <a:gd name="connsiteX29" fmla="*/ 260828 w 900424"/>
              <a:gd name="connsiteY29" fmla="*/ 536610 h 897080"/>
              <a:gd name="connsiteX30" fmla="*/ 260828 w 900424"/>
              <a:gd name="connsiteY30" fmla="*/ 541666 h 897080"/>
              <a:gd name="connsiteX31" fmla="*/ 265465 w 900424"/>
              <a:gd name="connsiteY31" fmla="*/ 541666 h 897080"/>
              <a:gd name="connsiteX32" fmla="*/ 260828 w 900424"/>
              <a:gd name="connsiteY32" fmla="*/ 536610 h 897080"/>
              <a:gd name="connsiteX33" fmla="*/ 477023 w 900424"/>
              <a:gd name="connsiteY33" fmla="*/ 512155 h 897080"/>
              <a:gd name="connsiteX34" fmla="*/ 477810 w 900424"/>
              <a:gd name="connsiteY34" fmla="*/ 513012 h 897080"/>
              <a:gd name="connsiteX35" fmla="*/ 481962 w 900424"/>
              <a:gd name="connsiteY35" fmla="*/ 541666 h 897080"/>
              <a:gd name="connsiteX36" fmla="*/ 752690 w 900424"/>
              <a:gd name="connsiteY36" fmla="*/ 541666 h 897080"/>
              <a:gd name="connsiteX37" fmla="*/ 752690 w 900424"/>
              <a:gd name="connsiteY37" fmla="*/ 512155 h 897080"/>
              <a:gd name="connsiteX38" fmla="*/ 477023 w 900424"/>
              <a:gd name="connsiteY38" fmla="*/ 512155 h 897080"/>
              <a:gd name="connsiteX39" fmla="*/ 407941 w 900424"/>
              <a:gd name="connsiteY39" fmla="*/ 436837 h 897080"/>
              <a:gd name="connsiteX40" fmla="*/ 435010 w 900424"/>
              <a:gd name="connsiteY40" fmla="*/ 466349 h 897080"/>
              <a:gd name="connsiteX41" fmla="*/ 752690 w 900424"/>
              <a:gd name="connsiteY41" fmla="*/ 466349 h 897080"/>
              <a:gd name="connsiteX42" fmla="*/ 752690 w 900424"/>
              <a:gd name="connsiteY42" fmla="*/ 436837 h 897080"/>
              <a:gd name="connsiteX43" fmla="*/ 407941 w 900424"/>
              <a:gd name="connsiteY43" fmla="*/ 436837 h 897080"/>
              <a:gd name="connsiteX44" fmla="*/ 338860 w 900424"/>
              <a:gd name="connsiteY44" fmla="*/ 361519 h 897080"/>
              <a:gd name="connsiteX45" fmla="*/ 365929 w 900424"/>
              <a:gd name="connsiteY45" fmla="*/ 391031 h 897080"/>
              <a:gd name="connsiteX46" fmla="*/ 752690 w 900424"/>
              <a:gd name="connsiteY46" fmla="*/ 391031 h 897080"/>
              <a:gd name="connsiteX47" fmla="*/ 752690 w 900424"/>
              <a:gd name="connsiteY47" fmla="*/ 361519 h 897080"/>
              <a:gd name="connsiteX48" fmla="*/ 338860 w 900424"/>
              <a:gd name="connsiteY48" fmla="*/ 361519 h 897080"/>
              <a:gd name="connsiteX49" fmla="*/ 208773 w 900424"/>
              <a:gd name="connsiteY49" fmla="*/ 261390 h 897080"/>
              <a:gd name="connsiteX50" fmla="*/ 191984 w 900424"/>
              <a:gd name="connsiteY50" fmla="*/ 266028 h 897080"/>
              <a:gd name="connsiteX51" fmla="*/ 127335 w 900424"/>
              <a:gd name="connsiteY51" fmla="*/ 325324 h 897080"/>
              <a:gd name="connsiteX52" fmla="*/ 129474 w 900424"/>
              <a:gd name="connsiteY52" fmla="*/ 360103 h 897080"/>
              <a:gd name="connsiteX53" fmla="*/ 350534 w 900424"/>
              <a:gd name="connsiteY53" fmla="*/ 601119 h 897080"/>
              <a:gd name="connsiteX54" fmla="*/ 384998 w 900424"/>
              <a:gd name="connsiteY54" fmla="*/ 606249 h 897080"/>
              <a:gd name="connsiteX55" fmla="*/ 449647 w 900424"/>
              <a:gd name="connsiteY55" fmla="*/ 546953 h 897080"/>
              <a:gd name="connsiteX56" fmla="*/ 447509 w 900424"/>
              <a:gd name="connsiteY56" fmla="*/ 512175 h 897080"/>
              <a:gd name="connsiteX57" fmla="*/ 226448 w 900424"/>
              <a:gd name="connsiteY57" fmla="*/ 271158 h 897080"/>
              <a:gd name="connsiteX58" fmla="*/ 208773 w 900424"/>
              <a:gd name="connsiteY58" fmla="*/ 261390 h 897080"/>
              <a:gd name="connsiteX59" fmla="*/ 260828 w 900424"/>
              <a:gd name="connsiteY59" fmla="*/ 243676 h 897080"/>
              <a:gd name="connsiteX60" fmla="*/ 260828 w 900424"/>
              <a:gd name="connsiteY60" fmla="*/ 276442 h 897080"/>
              <a:gd name="connsiteX61" fmla="*/ 266867 w 900424"/>
              <a:gd name="connsiteY61" fmla="*/ 283025 h 897080"/>
              <a:gd name="connsiteX62" fmla="*/ 555945 w 900424"/>
              <a:gd name="connsiteY62" fmla="*/ 283025 h 897080"/>
              <a:gd name="connsiteX63" fmla="*/ 555945 w 900424"/>
              <a:gd name="connsiteY63" fmla="*/ 243676 h 897080"/>
              <a:gd name="connsiteX64" fmla="*/ 260828 w 900424"/>
              <a:gd name="connsiteY64" fmla="*/ 243676 h 897080"/>
              <a:gd name="connsiteX65" fmla="*/ 593007 w 900424"/>
              <a:gd name="connsiteY65" fmla="*/ 92545 h 897080"/>
              <a:gd name="connsiteX66" fmla="*/ 593004 w 900424"/>
              <a:gd name="connsiteY66" fmla="*/ 246254 h 897080"/>
              <a:gd name="connsiteX67" fmla="*/ 636152 w 900424"/>
              <a:gd name="connsiteY67" fmla="*/ 294792 h 897080"/>
              <a:gd name="connsiteX68" fmla="*/ 797949 w 900424"/>
              <a:gd name="connsiteY68" fmla="*/ 297488 h 897080"/>
              <a:gd name="connsiteX69" fmla="*/ 593007 w 900424"/>
              <a:gd name="connsiteY69" fmla="*/ 92545 h 897080"/>
              <a:gd name="connsiteX70" fmla="*/ 655342 w 900424"/>
              <a:gd name="connsiteY70" fmla="*/ 72904 h 897080"/>
              <a:gd name="connsiteX71" fmla="*/ 721150 w 900424"/>
              <a:gd name="connsiteY71" fmla="*/ 72904 h 897080"/>
              <a:gd name="connsiteX72" fmla="*/ 900424 w 900424"/>
              <a:gd name="connsiteY72" fmla="*/ 254516 h 897080"/>
              <a:gd name="connsiteX73" fmla="*/ 900424 w 900424"/>
              <a:gd name="connsiteY73" fmla="*/ 826972 h 897080"/>
              <a:gd name="connsiteX74" fmla="*/ 852052 w 900424"/>
              <a:gd name="connsiteY74" fmla="*/ 879012 h 897080"/>
              <a:gd name="connsiteX75" fmla="*/ 828360 w 900424"/>
              <a:gd name="connsiteY75" fmla="*/ 879012 h 897080"/>
              <a:gd name="connsiteX76" fmla="*/ 849187 w 900424"/>
              <a:gd name="connsiteY76" fmla="*/ 836923 h 897080"/>
              <a:gd name="connsiteX77" fmla="*/ 849187 w 900424"/>
              <a:gd name="connsiteY77" fmla="*/ 266749 h 897080"/>
              <a:gd name="connsiteX78" fmla="*/ 655342 w 900424"/>
              <a:gd name="connsiteY78" fmla="*/ 72904 h 897080"/>
              <a:gd name="connsiteX79" fmla="*/ 284672 w 900424"/>
              <a:gd name="connsiteY79" fmla="*/ 0 h 897080"/>
              <a:gd name="connsiteX80" fmla="*/ 306902 w 900424"/>
              <a:gd name="connsiteY80" fmla="*/ 0 h 897080"/>
              <a:gd name="connsiteX81" fmla="*/ 312459 w 900424"/>
              <a:gd name="connsiteY81" fmla="*/ 5557 h 897080"/>
              <a:gd name="connsiteX82" fmla="*/ 312459 w 900424"/>
              <a:gd name="connsiteY82" fmla="*/ 44590 h 897080"/>
              <a:gd name="connsiteX83" fmla="*/ 341829 w 900424"/>
              <a:gd name="connsiteY83" fmla="*/ 44590 h 897080"/>
              <a:gd name="connsiteX84" fmla="*/ 341829 w 900424"/>
              <a:gd name="connsiteY84" fmla="*/ 5557 h 897080"/>
              <a:gd name="connsiteX85" fmla="*/ 347386 w 900424"/>
              <a:gd name="connsiteY85" fmla="*/ 0 h 897080"/>
              <a:gd name="connsiteX86" fmla="*/ 369616 w 900424"/>
              <a:gd name="connsiteY86" fmla="*/ 0 h 897080"/>
              <a:gd name="connsiteX87" fmla="*/ 375173 w 900424"/>
              <a:gd name="connsiteY87" fmla="*/ 5557 h 897080"/>
              <a:gd name="connsiteX88" fmla="*/ 375173 w 900424"/>
              <a:gd name="connsiteY88" fmla="*/ 44590 h 897080"/>
              <a:gd name="connsiteX89" fmla="*/ 404543 w 900424"/>
              <a:gd name="connsiteY89" fmla="*/ 44590 h 897080"/>
              <a:gd name="connsiteX90" fmla="*/ 404543 w 900424"/>
              <a:gd name="connsiteY90" fmla="*/ 5557 h 897080"/>
              <a:gd name="connsiteX91" fmla="*/ 410100 w 900424"/>
              <a:gd name="connsiteY91" fmla="*/ 0 h 897080"/>
              <a:gd name="connsiteX92" fmla="*/ 432330 w 900424"/>
              <a:gd name="connsiteY92" fmla="*/ 0 h 897080"/>
              <a:gd name="connsiteX93" fmla="*/ 437887 w 900424"/>
              <a:gd name="connsiteY93" fmla="*/ 5557 h 897080"/>
              <a:gd name="connsiteX94" fmla="*/ 437887 w 900424"/>
              <a:gd name="connsiteY94" fmla="*/ 44590 h 897080"/>
              <a:gd name="connsiteX95" fmla="*/ 467255 w 900424"/>
              <a:gd name="connsiteY95" fmla="*/ 44590 h 897080"/>
              <a:gd name="connsiteX96" fmla="*/ 467255 w 900424"/>
              <a:gd name="connsiteY96" fmla="*/ 5557 h 897080"/>
              <a:gd name="connsiteX97" fmla="*/ 472813 w 900424"/>
              <a:gd name="connsiteY97" fmla="*/ 0 h 897080"/>
              <a:gd name="connsiteX98" fmla="*/ 495042 w 900424"/>
              <a:gd name="connsiteY98" fmla="*/ 0 h 897080"/>
              <a:gd name="connsiteX99" fmla="*/ 500600 w 900424"/>
              <a:gd name="connsiteY99" fmla="*/ 5557 h 897080"/>
              <a:gd name="connsiteX100" fmla="*/ 500600 w 900424"/>
              <a:gd name="connsiteY100" fmla="*/ 44590 h 897080"/>
              <a:gd name="connsiteX101" fmla="*/ 606532 w 900424"/>
              <a:gd name="connsiteY101" fmla="*/ 44590 h 897080"/>
              <a:gd name="connsiteX102" fmla="*/ 833814 w 900424"/>
              <a:gd name="connsiteY102" fmla="*/ 271872 h 897080"/>
              <a:gd name="connsiteX103" fmla="*/ 833814 w 900424"/>
              <a:gd name="connsiteY103" fmla="*/ 842046 h 897080"/>
              <a:gd name="connsiteX104" fmla="*/ 778780 w 900424"/>
              <a:gd name="connsiteY104" fmla="*/ 897080 h 897080"/>
              <a:gd name="connsiteX105" fmla="*/ 239864 w 900424"/>
              <a:gd name="connsiteY105" fmla="*/ 897080 h 897080"/>
              <a:gd name="connsiteX106" fmla="*/ 184830 w 900424"/>
              <a:gd name="connsiteY106" fmla="*/ 842046 h 897080"/>
              <a:gd name="connsiteX107" fmla="*/ 184830 w 900424"/>
              <a:gd name="connsiteY107" fmla="*/ 453750 h 897080"/>
              <a:gd name="connsiteX108" fmla="*/ 108913 w 900424"/>
              <a:gd name="connsiteY108" fmla="*/ 370979 h 897080"/>
              <a:gd name="connsiteX109" fmla="*/ 110701 w 900424"/>
              <a:gd name="connsiteY109" fmla="*/ 329567 h 897080"/>
              <a:gd name="connsiteX110" fmla="*/ 184830 w 900424"/>
              <a:gd name="connsiteY110" fmla="*/ 261577 h 897080"/>
              <a:gd name="connsiteX111" fmla="*/ 184830 w 900424"/>
              <a:gd name="connsiteY111" fmla="*/ 229235 h 897080"/>
              <a:gd name="connsiteX112" fmla="*/ 182259 w 900424"/>
              <a:gd name="connsiteY112" fmla="*/ 231595 h 897080"/>
              <a:gd name="connsiteX113" fmla="*/ 181841 w 900424"/>
              <a:gd name="connsiteY113" fmla="*/ 224803 h 897080"/>
              <a:gd name="connsiteX114" fmla="*/ 140694 w 900424"/>
              <a:gd name="connsiteY114" fmla="*/ 179942 h 897080"/>
              <a:gd name="connsiteX115" fmla="*/ 121321 w 900424"/>
              <a:gd name="connsiteY115" fmla="*/ 177057 h 897080"/>
              <a:gd name="connsiteX116" fmla="*/ 42515 w 900424"/>
              <a:gd name="connsiteY116" fmla="*/ 249335 h 897080"/>
              <a:gd name="connsiteX117" fmla="*/ 43718 w 900424"/>
              <a:gd name="connsiteY117" fmla="*/ 268885 h 897080"/>
              <a:gd name="connsiteX118" fmla="*/ 84866 w 900424"/>
              <a:gd name="connsiteY118" fmla="*/ 313747 h 897080"/>
              <a:gd name="connsiteX119" fmla="*/ 91596 w 900424"/>
              <a:gd name="connsiteY119" fmla="*/ 314749 h 897080"/>
              <a:gd name="connsiteX120" fmla="*/ 83614 w 900424"/>
              <a:gd name="connsiteY120" fmla="*/ 322070 h 897080"/>
              <a:gd name="connsiteX121" fmla="*/ 60335 w 900424"/>
              <a:gd name="connsiteY121" fmla="*/ 321065 h 897080"/>
              <a:gd name="connsiteX122" fmla="*/ 15793 w 900424"/>
              <a:gd name="connsiteY122" fmla="*/ 272501 h 897080"/>
              <a:gd name="connsiteX123" fmla="*/ 16799 w 900424"/>
              <a:gd name="connsiteY123" fmla="*/ 249222 h 897080"/>
              <a:gd name="connsiteX124" fmla="*/ 122114 w 900424"/>
              <a:gd name="connsiteY124" fmla="*/ 152628 h 897080"/>
              <a:gd name="connsiteX125" fmla="*/ 145393 w 900424"/>
              <a:gd name="connsiteY125" fmla="*/ 153633 h 897080"/>
              <a:gd name="connsiteX126" fmla="*/ 184830 w 900424"/>
              <a:gd name="connsiteY126" fmla="*/ 196630 h 897080"/>
              <a:gd name="connsiteX127" fmla="*/ 184830 w 900424"/>
              <a:gd name="connsiteY127" fmla="*/ 99625 h 897080"/>
              <a:gd name="connsiteX128" fmla="*/ 239864 w 900424"/>
              <a:gd name="connsiteY128" fmla="*/ 44590 h 897080"/>
              <a:gd name="connsiteX129" fmla="*/ 279115 w 900424"/>
              <a:gd name="connsiteY129" fmla="*/ 44590 h 897080"/>
              <a:gd name="connsiteX130" fmla="*/ 279115 w 900424"/>
              <a:gd name="connsiteY130" fmla="*/ 5557 h 897080"/>
              <a:gd name="connsiteX131" fmla="*/ 284672 w 900424"/>
              <a:gd name="connsiteY131" fmla="*/ 0 h 897080"/>
              <a:gd name="connsiteX132" fmla="*/ 0 w 900424"/>
              <a:gd name="connsiteY132" fmla="*/ 168809 h 897080"/>
              <a:gd name="connsiteX133" fmla="*/ 69385 w 900424"/>
              <a:gd name="connsiteY133" fmla="*/ 71219 h 897080"/>
              <a:gd name="connsiteX134" fmla="*/ 0 w 900424"/>
              <a:gd name="connsiteY134" fmla="*/ 168855 h 897080"/>
              <a:gd name="connsiteX135" fmla="*/ 0 w 900424"/>
              <a:gd name="connsiteY135" fmla="*/ 168809 h 897080"/>
              <a:gd name="connsiteX0" fmla="*/ 260828 w 900424"/>
              <a:gd name="connsiteY0" fmla="*/ 738104 h 897080"/>
              <a:gd name="connsiteX1" fmla="*/ 260828 w 900424"/>
              <a:gd name="connsiteY1" fmla="*/ 767616 h 897080"/>
              <a:gd name="connsiteX2" fmla="*/ 752690 w 900424"/>
              <a:gd name="connsiteY2" fmla="*/ 767616 h 897080"/>
              <a:gd name="connsiteX3" fmla="*/ 752690 w 900424"/>
              <a:gd name="connsiteY3" fmla="*/ 738104 h 897080"/>
              <a:gd name="connsiteX4" fmla="*/ 260828 w 900424"/>
              <a:gd name="connsiteY4" fmla="*/ 738104 h 897080"/>
              <a:gd name="connsiteX5" fmla="*/ 523025 w 900424"/>
              <a:gd name="connsiteY5" fmla="*/ 662789 h 897080"/>
              <a:gd name="connsiteX6" fmla="*/ 529392 w 900424"/>
              <a:gd name="connsiteY6" fmla="*/ 692301 h 897080"/>
              <a:gd name="connsiteX7" fmla="*/ 752690 w 900424"/>
              <a:gd name="connsiteY7" fmla="*/ 692301 h 897080"/>
              <a:gd name="connsiteX8" fmla="*/ 752690 w 900424"/>
              <a:gd name="connsiteY8" fmla="*/ 662789 h 897080"/>
              <a:gd name="connsiteX9" fmla="*/ 523025 w 900424"/>
              <a:gd name="connsiteY9" fmla="*/ 662789 h 897080"/>
              <a:gd name="connsiteX10" fmla="*/ 260828 w 900424"/>
              <a:gd name="connsiteY10" fmla="*/ 662789 h 897080"/>
              <a:gd name="connsiteX11" fmla="*/ 260828 w 900424"/>
              <a:gd name="connsiteY11" fmla="*/ 692301 h 897080"/>
              <a:gd name="connsiteX12" fmla="*/ 520342 w 900424"/>
              <a:gd name="connsiteY12" fmla="*/ 692301 h 897080"/>
              <a:gd name="connsiteX13" fmla="*/ 427300 w 900424"/>
              <a:gd name="connsiteY13" fmla="*/ 662789 h 897080"/>
              <a:gd name="connsiteX14" fmla="*/ 260828 w 900424"/>
              <a:gd name="connsiteY14" fmla="*/ 662789 h 897080"/>
              <a:gd name="connsiteX15" fmla="*/ 506777 w 900424"/>
              <a:gd name="connsiteY15" fmla="*/ 587471 h 897080"/>
              <a:gd name="connsiteX16" fmla="*/ 513144 w 900424"/>
              <a:gd name="connsiteY16" fmla="*/ 616983 h 897080"/>
              <a:gd name="connsiteX17" fmla="*/ 752690 w 900424"/>
              <a:gd name="connsiteY17" fmla="*/ 616983 h 897080"/>
              <a:gd name="connsiteX18" fmla="*/ 752690 w 900424"/>
              <a:gd name="connsiteY18" fmla="*/ 587471 h 897080"/>
              <a:gd name="connsiteX19" fmla="*/ 506777 w 900424"/>
              <a:gd name="connsiteY19" fmla="*/ 587471 h 897080"/>
              <a:gd name="connsiteX20" fmla="*/ 260828 w 900424"/>
              <a:gd name="connsiteY20" fmla="*/ 587471 h 897080"/>
              <a:gd name="connsiteX21" fmla="*/ 260828 w 900424"/>
              <a:gd name="connsiteY21" fmla="*/ 616983 h 897080"/>
              <a:gd name="connsiteX22" fmla="*/ 334546 w 900424"/>
              <a:gd name="connsiteY22" fmla="*/ 616983 h 897080"/>
              <a:gd name="connsiteX23" fmla="*/ 307478 w 900424"/>
              <a:gd name="connsiteY23" fmla="*/ 587471 h 897080"/>
              <a:gd name="connsiteX24" fmla="*/ 260828 w 900424"/>
              <a:gd name="connsiteY24" fmla="*/ 587471 h 897080"/>
              <a:gd name="connsiteX25" fmla="*/ 467940 w 900424"/>
              <a:gd name="connsiteY25" fmla="*/ 544863 h 897080"/>
              <a:gd name="connsiteX26" fmla="*/ 385032 w 900424"/>
              <a:gd name="connsiteY26" fmla="*/ 620125 h 897080"/>
              <a:gd name="connsiteX27" fmla="*/ 506739 w 900424"/>
              <a:gd name="connsiteY27" fmla="*/ 670589 h 897080"/>
              <a:gd name="connsiteX28" fmla="*/ 467940 w 900424"/>
              <a:gd name="connsiteY28" fmla="*/ 544863 h 897080"/>
              <a:gd name="connsiteX29" fmla="*/ 260828 w 900424"/>
              <a:gd name="connsiteY29" fmla="*/ 536610 h 897080"/>
              <a:gd name="connsiteX30" fmla="*/ 260828 w 900424"/>
              <a:gd name="connsiteY30" fmla="*/ 541666 h 897080"/>
              <a:gd name="connsiteX31" fmla="*/ 265465 w 900424"/>
              <a:gd name="connsiteY31" fmla="*/ 541666 h 897080"/>
              <a:gd name="connsiteX32" fmla="*/ 260828 w 900424"/>
              <a:gd name="connsiteY32" fmla="*/ 536610 h 897080"/>
              <a:gd name="connsiteX33" fmla="*/ 477023 w 900424"/>
              <a:gd name="connsiteY33" fmla="*/ 512155 h 897080"/>
              <a:gd name="connsiteX34" fmla="*/ 477810 w 900424"/>
              <a:gd name="connsiteY34" fmla="*/ 513012 h 897080"/>
              <a:gd name="connsiteX35" fmla="*/ 481962 w 900424"/>
              <a:gd name="connsiteY35" fmla="*/ 541666 h 897080"/>
              <a:gd name="connsiteX36" fmla="*/ 752690 w 900424"/>
              <a:gd name="connsiteY36" fmla="*/ 541666 h 897080"/>
              <a:gd name="connsiteX37" fmla="*/ 752690 w 900424"/>
              <a:gd name="connsiteY37" fmla="*/ 512155 h 897080"/>
              <a:gd name="connsiteX38" fmla="*/ 477023 w 900424"/>
              <a:gd name="connsiteY38" fmla="*/ 512155 h 897080"/>
              <a:gd name="connsiteX39" fmla="*/ 407941 w 900424"/>
              <a:gd name="connsiteY39" fmla="*/ 436837 h 897080"/>
              <a:gd name="connsiteX40" fmla="*/ 435010 w 900424"/>
              <a:gd name="connsiteY40" fmla="*/ 466349 h 897080"/>
              <a:gd name="connsiteX41" fmla="*/ 752690 w 900424"/>
              <a:gd name="connsiteY41" fmla="*/ 466349 h 897080"/>
              <a:gd name="connsiteX42" fmla="*/ 752690 w 900424"/>
              <a:gd name="connsiteY42" fmla="*/ 436837 h 897080"/>
              <a:gd name="connsiteX43" fmla="*/ 407941 w 900424"/>
              <a:gd name="connsiteY43" fmla="*/ 436837 h 897080"/>
              <a:gd name="connsiteX44" fmla="*/ 338860 w 900424"/>
              <a:gd name="connsiteY44" fmla="*/ 361519 h 897080"/>
              <a:gd name="connsiteX45" fmla="*/ 365929 w 900424"/>
              <a:gd name="connsiteY45" fmla="*/ 391031 h 897080"/>
              <a:gd name="connsiteX46" fmla="*/ 752690 w 900424"/>
              <a:gd name="connsiteY46" fmla="*/ 391031 h 897080"/>
              <a:gd name="connsiteX47" fmla="*/ 752690 w 900424"/>
              <a:gd name="connsiteY47" fmla="*/ 361519 h 897080"/>
              <a:gd name="connsiteX48" fmla="*/ 338860 w 900424"/>
              <a:gd name="connsiteY48" fmla="*/ 361519 h 897080"/>
              <a:gd name="connsiteX49" fmla="*/ 208773 w 900424"/>
              <a:gd name="connsiteY49" fmla="*/ 261390 h 897080"/>
              <a:gd name="connsiteX50" fmla="*/ 191984 w 900424"/>
              <a:gd name="connsiteY50" fmla="*/ 266028 h 897080"/>
              <a:gd name="connsiteX51" fmla="*/ 127335 w 900424"/>
              <a:gd name="connsiteY51" fmla="*/ 325324 h 897080"/>
              <a:gd name="connsiteX52" fmla="*/ 129474 w 900424"/>
              <a:gd name="connsiteY52" fmla="*/ 360103 h 897080"/>
              <a:gd name="connsiteX53" fmla="*/ 350534 w 900424"/>
              <a:gd name="connsiteY53" fmla="*/ 601119 h 897080"/>
              <a:gd name="connsiteX54" fmla="*/ 384998 w 900424"/>
              <a:gd name="connsiteY54" fmla="*/ 606249 h 897080"/>
              <a:gd name="connsiteX55" fmla="*/ 449647 w 900424"/>
              <a:gd name="connsiteY55" fmla="*/ 546953 h 897080"/>
              <a:gd name="connsiteX56" fmla="*/ 447509 w 900424"/>
              <a:gd name="connsiteY56" fmla="*/ 512175 h 897080"/>
              <a:gd name="connsiteX57" fmla="*/ 226448 w 900424"/>
              <a:gd name="connsiteY57" fmla="*/ 271158 h 897080"/>
              <a:gd name="connsiteX58" fmla="*/ 208773 w 900424"/>
              <a:gd name="connsiteY58" fmla="*/ 261390 h 897080"/>
              <a:gd name="connsiteX59" fmla="*/ 260828 w 900424"/>
              <a:gd name="connsiteY59" fmla="*/ 243676 h 897080"/>
              <a:gd name="connsiteX60" fmla="*/ 260828 w 900424"/>
              <a:gd name="connsiteY60" fmla="*/ 276442 h 897080"/>
              <a:gd name="connsiteX61" fmla="*/ 266867 w 900424"/>
              <a:gd name="connsiteY61" fmla="*/ 283025 h 897080"/>
              <a:gd name="connsiteX62" fmla="*/ 555945 w 900424"/>
              <a:gd name="connsiteY62" fmla="*/ 283025 h 897080"/>
              <a:gd name="connsiteX63" fmla="*/ 555945 w 900424"/>
              <a:gd name="connsiteY63" fmla="*/ 243676 h 897080"/>
              <a:gd name="connsiteX64" fmla="*/ 260828 w 900424"/>
              <a:gd name="connsiteY64" fmla="*/ 243676 h 897080"/>
              <a:gd name="connsiteX65" fmla="*/ 593007 w 900424"/>
              <a:gd name="connsiteY65" fmla="*/ 92545 h 897080"/>
              <a:gd name="connsiteX66" fmla="*/ 593004 w 900424"/>
              <a:gd name="connsiteY66" fmla="*/ 246254 h 897080"/>
              <a:gd name="connsiteX67" fmla="*/ 636152 w 900424"/>
              <a:gd name="connsiteY67" fmla="*/ 294792 h 897080"/>
              <a:gd name="connsiteX68" fmla="*/ 797949 w 900424"/>
              <a:gd name="connsiteY68" fmla="*/ 297488 h 897080"/>
              <a:gd name="connsiteX69" fmla="*/ 593007 w 900424"/>
              <a:gd name="connsiteY69" fmla="*/ 92545 h 897080"/>
              <a:gd name="connsiteX70" fmla="*/ 655342 w 900424"/>
              <a:gd name="connsiteY70" fmla="*/ 72904 h 897080"/>
              <a:gd name="connsiteX71" fmla="*/ 721150 w 900424"/>
              <a:gd name="connsiteY71" fmla="*/ 72904 h 897080"/>
              <a:gd name="connsiteX72" fmla="*/ 900424 w 900424"/>
              <a:gd name="connsiteY72" fmla="*/ 254516 h 897080"/>
              <a:gd name="connsiteX73" fmla="*/ 900424 w 900424"/>
              <a:gd name="connsiteY73" fmla="*/ 826972 h 897080"/>
              <a:gd name="connsiteX74" fmla="*/ 852052 w 900424"/>
              <a:gd name="connsiteY74" fmla="*/ 879012 h 897080"/>
              <a:gd name="connsiteX75" fmla="*/ 828360 w 900424"/>
              <a:gd name="connsiteY75" fmla="*/ 879012 h 897080"/>
              <a:gd name="connsiteX76" fmla="*/ 849187 w 900424"/>
              <a:gd name="connsiteY76" fmla="*/ 836923 h 897080"/>
              <a:gd name="connsiteX77" fmla="*/ 849187 w 900424"/>
              <a:gd name="connsiteY77" fmla="*/ 266749 h 897080"/>
              <a:gd name="connsiteX78" fmla="*/ 655342 w 900424"/>
              <a:gd name="connsiteY78" fmla="*/ 72904 h 897080"/>
              <a:gd name="connsiteX79" fmla="*/ 284672 w 900424"/>
              <a:gd name="connsiteY79" fmla="*/ 0 h 897080"/>
              <a:gd name="connsiteX80" fmla="*/ 306902 w 900424"/>
              <a:gd name="connsiteY80" fmla="*/ 0 h 897080"/>
              <a:gd name="connsiteX81" fmla="*/ 312459 w 900424"/>
              <a:gd name="connsiteY81" fmla="*/ 5557 h 897080"/>
              <a:gd name="connsiteX82" fmla="*/ 312459 w 900424"/>
              <a:gd name="connsiteY82" fmla="*/ 44590 h 897080"/>
              <a:gd name="connsiteX83" fmla="*/ 341829 w 900424"/>
              <a:gd name="connsiteY83" fmla="*/ 44590 h 897080"/>
              <a:gd name="connsiteX84" fmla="*/ 341829 w 900424"/>
              <a:gd name="connsiteY84" fmla="*/ 5557 h 897080"/>
              <a:gd name="connsiteX85" fmla="*/ 347386 w 900424"/>
              <a:gd name="connsiteY85" fmla="*/ 0 h 897080"/>
              <a:gd name="connsiteX86" fmla="*/ 369616 w 900424"/>
              <a:gd name="connsiteY86" fmla="*/ 0 h 897080"/>
              <a:gd name="connsiteX87" fmla="*/ 375173 w 900424"/>
              <a:gd name="connsiteY87" fmla="*/ 5557 h 897080"/>
              <a:gd name="connsiteX88" fmla="*/ 375173 w 900424"/>
              <a:gd name="connsiteY88" fmla="*/ 44590 h 897080"/>
              <a:gd name="connsiteX89" fmla="*/ 404543 w 900424"/>
              <a:gd name="connsiteY89" fmla="*/ 44590 h 897080"/>
              <a:gd name="connsiteX90" fmla="*/ 404543 w 900424"/>
              <a:gd name="connsiteY90" fmla="*/ 5557 h 897080"/>
              <a:gd name="connsiteX91" fmla="*/ 410100 w 900424"/>
              <a:gd name="connsiteY91" fmla="*/ 0 h 897080"/>
              <a:gd name="connsiteX92" fmla="*/ 432330 w 900424"/>
              <a:gd name="connsiteY92" fmla="*/ 0 h 897080"/>
              <a:gd name="connsiteX93" fmla="*/ 437887 w 900424"/>
              <a:gd name="connsiteY93" fmla="*/ 5557 h 897080"/>
              <a:gd name="connsiteX94" fmla="*/ 437887 w 900424"/>
              <a:gd name="connsiteY94" fmla="*/ 44590 h 897080"/>
              <a:gd name="connsiteX95" fmla="*/ 467255 w 900424"/>
              <a:gd name="connsiteY95" fmla="*/ 44590 h 897080"/>
              <a:gd name="connsiteX96" fmla="*/ 467255 w 900424"/>
              <a:gd name="connsiteY96" fmla="*/ 5557 h 897080"/>
              <a:gd name="connsiteX97" fmla="*/ 472813 w 900424"/>
              <a:gd name="connsiteY97" fmla="*/ 0 h 897080"/>
              <a:gd name="connsiteX98" fmla="*/ 495042 w 900424"/>
              <a:gd name="connsiteY98" fmla="*/ 0 h 897080"/>
              <a:gd name="connsiteX99" fmla="*/ 500600 w 900424"/>
              <a:gd name="connsiteY99" fmla="*/ 5557 h 897080"/>
              <a:gd name="connsiteX100" fmla="*/ 500600 w 900424"/>
              <a:gd name="connsiteY100" fmla="*/ 44590 h 897080"/>
              <a:gd name="connsiteX101" fmla="*/ 606532 w 900424"/>
              <a:gd name="connsiteY101" fmla="*/ 44590 h 897080"/>
              <a:gd name="connsiteX102" fmla="*/ 833814 w 900424"/>
              <a:gd name="connsiteY102" fmla="*/ 271872 h 897080"/>
              <a:gd name="connsiteX103" fmla="*/ 833814 w 900424"/>
              <a:gd name="connsiteY103" fmla="*/ 842046 h 897080"/>
              <a:gd name="connsiteX104" fmla="*/ 778780 w 900424"/>
              <a:gd name="connsiteY104" fmla="*/ 897080 h 897080"/>
              <a:gd name="connsiteX105" fmla="*/ 239864 w 900424"/>
              <a:gd name="connsiteY105" fmla="*/ 897080 h 897080"/>
              <a:gd name="connsiteX106" fmla="*/ 184830 w 900424"/>
              <a:gd name="connsiteY106" fmla="*/ 842046 h 897080"/>
              <a:gd name="connsiteX107" fmla="*/ 184830 w 900424"/>
              <a:gd name="connsiteY107" fmla="*/ 453750 h 897080"/>
              <a:gd name="connsiteX108" fmla="*/ 108913 w 900424"/>
              <a:gd name="connsiteY108" fmla="*/ 370979 h 897080"/>
              <a:gd name="connsiteX109" fmla="*/ 110701 w 900424"/>
              <a:gd name="connsiteY109" fmla="*/ 329567 h 897080"/>
              <a:gd name="connsiteX110" fmla="*/ 184830 w 900424"/>
              <a:gd name="connsiteY110" fmla="*/ 261577 h 897080"/>
              <a:gd name="connsiteX111" fmla="*/ 184830 w 900424"/>
              <a:gd name="connsiteY111" fmla="*/ 229235 h 897080"/>
              <a:gd name="connsiteX112" fmla="*/ 182259 w 900424"/>
              <a:gd name="connsiteY112" fmla="*/ 231595 h 897080"/>
              <a:gd name="connsiteX113" fmla="*/ 181841 w 900424"/>
              <a:gd name="connsiteY113" fmla="*/ 224803 h 897080"/>
              <a:gd name="connsiteX114" fmla="*/ 140694 w 900424"/>
              <a:gd name="connsiteY114" fmla="*/ 179942 h 897080"/>
              <a:gd name="connsiteX115" fmla="*/ 121321 w 900424"/>
              <a:gd name="connsiteY115" fmla="*/ 177057 h 897080"/>
              <a:gd name="connsiteX116" fmla="*/ 42515 w 900424"/>
              <a:gd name="connsiteY116" fmla="*/ 249335 h 897080"/>
              <a:gd name="connsiteX117" fmla="*/ 43718 w 900424"/>
              <a:gd name="connsiteY117" fmla="*/ 268885 h 897080"/>
              <a:gd name="connsiteX118" fmla="*/ 84866 w 900424"/>
              <a:gd name="connsiteY118" fmla="*/ 313747 h 897080"/>
              <a:gd name="connsiteX119" fmla="*/ 91596 w 900424"/>
              <a:gd name="connsiteY119" fmla="*/ 314749 h 897080"/>
              <a:gd name="connsiteX120" fmla="*/ 83614 w 900424"/>
              <a:gd name="connsiteY120" fmla="*/ 322070 h 897080"/>
              <a:gd name="connsiteX121" fmla="*/ 60335 w 900424"/>
              <a:gd name="connsiteY121" fmla="*/ 321065 h 897080"/>
              <a:gd name="connsiteX122" fmla="*/ 15793 w 900424"/>
              <a:gd name="connsiteY122" fmla="*/ 272501 h 897080"/>
              <a:gd name="connsiteX123" fmla="*/ 16799 w 900424"/>
              <a:gd name="connsiteY123" fmla="*/ 249222 h 897080"/>
              <a:gd name="connsiteX124" fmla="*/ 122114 w 900424"/>
              <a:gd name="connsiteY124" fmla="*/ 152628 h 897080"/>
              <a:gd name="connsiteX125" fmla="*/ 145393 w 900424"/>
              <a:gd name="connsiteY125" fmla="*/ 153633 h 897080"/>
              <a:gd name="connsiteX126" fmla="*/ 184830 w 900424"/>
              <a:gd name="connsiteY126" fmla="*/ 196630 h 897080"/>
              <a:gd name="connsiteX127" fmla="*/ 184830 w 900424"/>
              <a:gd name="connsiteY127" fmla="*/ 99625 h 897080"/>
              <a:gd name="connsiteX128" fmla="*/ 239864 w 900424"/>
              <a:gd name="connsiteY128" fmla="*/ 44590 h 897080"/>
              <a:gd name="connsiteX129" fmla="*/ 279115 w 900424"/>
              <a:gd name="connsiteY129" fmla="*/ 44590 h 897080"/>
              <a:gd name="connsiteX130" fmla="*/ 279115 w 900424"/>
              <a:gd name="connsiteY130" fmla="*/ 5557 h 897080"/>
              <a:gd name="connsiteX131" fmla="*/ 284672 w 900424"/>
              <a:gd name="connsiteY131" fmla="*/ 0 h 897080"/>
              <a:gd name="connsiteX132" fmla="*/ 0 w 900424"/>
              <a:gd name="connsiteY132" fmla="*/ 168855 h 897080"/>
              <a:gd name="connsiteX133" fmla="*/ 69385 w 900424"/>
              <a:gd name="connsiteY133" fmla="*/ 71219 h 897080"/>
              <a:gd name="connsiteX134" fmla="*/ 0 w 900424"/>
              <a:gd name="connsiteY134" fmla="*/ 168855 h 897080"/>
              <a:gd name="connsiteX0" fmla="*/ 249370 w 888966"/>
              <a:gd name="connsiteY0" fmla="*/ 738104 h 897080"/>
              <a:gd name="connsiteX1" fmla="*/ 249370 w 888966"/>
              <a:gd name="connsiteY1" fmla="*/ 767616 h 897080"/>
              <a:gd name="connsiteX2" fmla="*/ 741232 w 888966"/>
              <a:gd name="connsiteY2" fmla="*/ 767616 h 897080"/>
              <a:gd name="connsiteX3" fmla="*/ 741232 w 888966"/>
              <a:gd name="connsiteY3" fmla="*/ 738104 h 897080"/>
              <a:gd name="connsiteX4" fmla="*/ 249370 w 888966"/>
              <a:gd name="connsiteY4" fmla="*/ 738104 h 897080"/>
              <a:gd name="connsiteX5" fmla="*/ 511567 w 888966"/>
              <a:gd name="connsiteY5" fmla="*/ 662789 h 897080"/>
              <a:gd name="connsiteX6" fmla="*/ 517934 w 888966"/>
              <a:gd name="connsiteY6" fmla="*/ 692301 h 897080"/>
              <a:gd name="connsiteX7" fmla="*/ 741232 w 888966"/>
              <a:gd name="connsiteY7" fmla="*/ 692301 h 897080"/>
              <a:gd name="connsiteX8" fmla="*/ 741232 w 888966"/>
              <a:gd name="connsiteY8" fmla="*/ 662789 h 897080"/>
              <a:gd name="connsiteX9" fmla="*/ 511567 w 888966"/>
              <a:gd name="connsiteY9" fmla="*/ 662789 h 897080"/>
              <a:gd name="connsiteX10" fmla="*/ 249370 w 888966"/>
              <a:gd name="connsiteY10" fmla="*/ 662789 h 897080"/>
              <a:gd name="connsiteX11" fmla="*/ 249370 w 888966"/>
              <a:gd name="connsiteY11" fmla="*/ 692301 h 897080"/>
              <a:gd name="connsiteX12" fmla="*/ 508884 w 888966"/>
              <a:gd name="connsiteY12" fmla="*/ 692301 h 897080"/>
              <a:gd name="connsiteX13" fmla="*/ 415842 w 888966"/>
              <a:gd name="connsiteY13" fmla="*/ 662789 h 897080"/>
              <a:gd name="connsiteX14" fmla="*/ 249370 w 888966"/>
              <a:gd name="connsiteY14" fmla="*/ 662789 h 897080"/>
              <a:gd name="connsiteX15" fmla="*/ 495319 w 888966"/>
              <a:gd name="connsiteY15" fmla="*/ 587471 h 897080"/>
              <a:gd name="connsiteX16" fmla="*/ 501686 w 888966"/>
              <a:gd name="connsiteY16" fmla="*/ 616983 h 897080"/>
              <a:gd name="connsiteX17" fmla="*/ 741232 w 888966"/>
              <a:gd name="connsiteY17" fmla="*/ 616983 h 897080"/>
              <a:gd name="connsiteX18" fmla="*/ 741232 w 888966"/>
              <a:gd name="connsiteY18" fmla="*/ 587471 h 897080"/>
              <a:gd name="connsiteX19" fmla="*/ 495319 w 888966"/>
              <a:gd name="connsiteY19" fmla="*/ 587471 h 897080"/>
              <a:gd name="connsiteX20" fmla="*/ 249370 w 888966"/>
              <a:gd name="connsiteY20" fmla="*/ 587471 h 897080"/>
              <a:gd name="connsiteX21" fmla="*/ 249370 w 888966"/>
              <a:gd name="connsiteY21" fmla="*/ 616983 h 897080"/>
              <a:gd name="connsiteX22" fmla="*/ 323088 w 888966"/>
              <a:gd name="connsiteY22" fmla="*/ 616983 h 897080"/>
              <a:gd name="connsiteX23" fmla="*/ 296020 w 888966"/>
              <a:gd name="connsiteY23" fmla="*/ 587471 h 897080"/>
              <a:gd name="connsiteX24" fmla="*/ 249370 w 888966"/>
              <a:gd name="connsiteY24" fmla="*/ 587471 h 897080"/>
              <a:gd name="connsiteX25" fmla="*/ 456482 w 888966"/>
              <a:gd name="connsiteY25" fmla="*/ 544863 h 897080"/>
              <a:gd name="connsiteX26" fmla="*/ 373574 w 888966"/>
              <a:gd name="connsiteY26" fmla="*/ 620125 h 897080"/>
              <a:gd name="connsiteX27" fmla="*/ 495281 w 888966"/>
              <a:gd name="connsiteY27" fmla="*/ 670589 h 897080"/>
              <a:gd name="connsiteX28" fmla="*/ 456482 w 888966"/>
              <a:gd name="connsiteY28" fmla="*/ 544863 h 897080"/>
              <a:gd name="connsiteX29" fmla="*/ 249370 w 888966"/>
              <a:gd name="connsiteY29" fmla="*/ 536610 h 897080"/>
              <a:gd name="connsiteX30" fmla="*/ 249370 w 888966"/>
              <a:gd name="connsiteY30" fmla="*/ 541666 h 897080"/>
              <a:gd name="connsiteX31" fmla="*/ 254007 w 888966"/>
              <a:gd name="connsiteY31" fmla="*/ 541666 h 897080"/>
              <a:gd name="connsiteX32" fmla="*/ 249370 w 888966"/>
              <a:gd name="connsiteY32" fmla="*/ 536610 h 897080"/>
              <a:gd name="connsiteX33" fmla="*/ 465565 w 888966"/>
              <a:gd name="connsiteY33" fmla="*/ 512155 h 897080"/>
              <a:gd name="connsiteX34" fmla="*/ 466352 w 888966"/>
              <a:gd name="connsiteY34" fmla="*/ 513012 h 897080"/>
              <a:gd name="connsiteX35" fmla="*/ 470504 w 888966"/>
              <a:gd name="connsiteY35" fmla="*/ 541666 h 897080"/>
              <a:gd name="connsiteX36" fmla="*/ 741232 w 888966"/>
              <a:gd name="connsiteY36" fmla="*/ 541666 h 897080"/>
              <a:gd name="connsiteX37" fmla="*/ 741232 w 888966"/>
              <a:gd name="connsiteY37" fmla="*/ 512155 h 897080"/>
              <a:gd name="connsiteX38" fmla="*/ 465565 w 888966"/>
              <a:gd name="connsiteY38" fmla="*/ 512155 h 897080"/>
              <a:gd name="connsiteX39" fmla="*/ 396483 w 888966"/>
              <a:gd name="connsiteY39" fmla="*/ 436837 h 897080"/>
              <a:gd name="connsiteX40" fmla="*/ 423552 w 888966"/>
              <a:gd name="connsiteY40" fmla="*/ 466349 h 897080"/>
              <a:gd name="connsiteX41" fmla="*/ 741232 w 888966"/>
              <a:gd name="connsiteY41" fmla="*/ 466349 h 897080"/>
              <a:gd name="connsiteX42" fmla="*/ 741232 w 888966"/>
              <a:gd name="connsiteY42" fmla="*/ 436837 h 897080"/>
              <a:gd name="connsiteX43" fmla="*/ 396483 w 888966"/>
              <a:gd name="connsiteY43" fmla="*/ 436837 h 897080"/>
              <a:gd name="connsiteX44" fmla="*/ 327402 w 888966"/>
              <a:gd name="connsiteY44" fmla="*/ 361519 h 897080"/>
              <a:gd name="connsiteX45" fmla="*/ 354471 w 888966"/>
              <a:gd name="connsiteY45" fmla="*/ 391031 h 897080"/>
              <a:gd name="connsiteX46" fmla="*/ 741232 w 888966"/>
              <a:gd name="connsiteY46" fmla="*/ 391031 h 897080"/>
              <a:gd name="connsiteX47" fmla="*/ 741232 w 888966"/>
              <a:gd name="connsiteY47" fmla="*/ 361519 h 897080"/>
              <a:gd name="connsiteX48" fmla="*/ 327402 w 888966"/>
              <a:gd name="connsiteY48" fmla="*/ 361519 h 897080"/>
              <a:gd name="connsiteX49" fmla="*/ 197315 w 888966"/>
              <a:gd name="connsiteY49" fmla="*/ 261390 h 897080"/>
              <a:gd name="connsiteX50" fmla="*/ 180526 w 888966"/>
              <a:gd name="connsiteY50" fmla="*/ 266028 h 897080"/>
              <a:gd name="connsiteX51" fmla="*/ 115877 w 888966"/>
              <a:gd name="connsiteY51" fmla="*/ 325324 h 897080"/>
              <a:gd name="connsiteX52" fmla="*/ 118016 w 888966"/>
              <a:gd name="connsiteY52" fmla="*/ 360103 h 897080"/>
              <a:gd name="connsiteX53" fmla="*/ 339076 w 888966"/>
              <a:gd name="connsiteY53" fmla="*/ 601119 h 897080"/>
              <a:gd name="connsiteX54" fmla="*/ 373540 w 888966"/>
              <a:gd name="connsiteY54" fmla="*/ 606249 h 897080"/>
              <a:gd name="connsiteX55" fmla="*/ 438189 w 888966"/>
              <a:gd name="connsiteY55" fmla="*/ 546953 h 897080"/>
              <a:gd name="connsiteX56" fmla="*/ 436051 w 888966"/>
              <a:gd name="connsiteY56" fmla="*/ 512175 h 897080"/>
              <a:gd name="connsiteX57" fmla="*/ 214990 w 888966"/>
              <a:gd name="connsiteY57" fmla="*/ 271158 h 897080"/>
              <a:gd name="connsiteX58" fmla="*/ 197315 w 888966"/>
              <a:gd name="connsiteY58" fmla="*/ 261390 h 897080"/>
              <a:gd name="connsiteX59" fmla="*/ 249370 w 888966"/>
              <a:gd name="connsiteY59" fmla="*/ 243676 h 897080"/>
              <a:gd name="connsiteX60" fmla="*/ 249370 w 888966"/>
              <a:gd name="connsiteY60" fmla="*/ 276442 h 897080"/>
              <a:gd name="connsiteX61" fmla="*/ 255409 w 888966"/>
              <a:gd name="connsiteY61" fmla="*/ 283025 h 897080"/>
              <a:gd name="connsiteX62" fmla="*/ 544487 w 888966"/>
              <a:gd name="connsiteY62" fmla="*/ 283025 h 897080"/>
              <a:gd name="connsiteX63" fmla="*/ 544487 w 888966"/>
              <a:gd name="connsiteY63" fmla="*/ 243676 h 897080"/>
              <a:gd name="connsiteX64" fmla="*/ 249370 w 888966"/>
              <a:gd name="connsiteY64" fmla="*/ 243676 h 897080"/>
              <a:gd name="connsiteX65" fmla="*/ 581549 w 888966"/>
              <a:gd name="connsiteY65" fmla="*/ 92545 h 897080"/>
              <a:gd name="connsiteX66" fmla="*/ 581546 w 888966"/>
              <a:gd name="connsiteY66" fmla="*/ 246254 h 897080"/>
              <a:gd name="connsiteX67" fmla="*/ 624694 w 888966"/>
              <a:gd name="connsiteY67" fmla="*/ 294792 h 897080"/>
              <a:gd name="connsiteX68" fmla="*/ 786491 w 888966"/>
              <a:gd name="connsiteY68" fmla="*/ 297488 h 897080"/>
              <a:gd name="connsiteX69" fmla="*/ 581549 w 888966"/>
              <a:gd name="connsiteY69" fmla="*/ 92545 h 897080"/>
              <a:gd name="connsiteX70" fmla="*/ 643884 w 888966"/>
              <a:gd name="connsiteY70" fmla="*/ 72904 h 897080"/>
              <a:gd name="connsiteX71" fmla="*/ 709692 w 888966"/>
              <a:gd name="connsiteY71" fmla="*/ 72904 h 897080"/>
              <a:gd name="connsiteX72" fmla="*/ 888966 w 888966"/>
              <a:gd name="connsiteY72" fmla="*/ 254516 h 897080"/>
              <a:gd name="connsiteX73" fmla="*/ 888966 w 888966"/>
              <a:gd name="connsiteY73" fmla="*/ 826972 h 897080"/>
              <a:gd name="connsiteX74" fmla="*/ 840594 w 888966"/>
              <a:gd name="connsiteY74" fmla="*/ 879012 h 897080"/>
              <a:gd name="connsiteX75" fmla="*/ 816902 w 888966"/>
              <a:gd name="connsiteY75" fmla="*/ 879012 h 897080"/>
              <a:gd name="connsiteX76" fmla="*/ 837729 w 888966"/>
              <a:gd name="connsiteY76" fmla="*/ 836923 h 897080"/>
              <a:gd name="connsiteX77" fmla="*/ 837729 w 888966"/>
              <a:gd name="connsiteY77" fmla="*/ 266749 h 897080"/>
              <a:gd name="connsiteX78" fmla="*/ 643884 w 888966"/>
              <a:gd name="connsiteY78" fmla="*/ 72904 h 897080"/>
              <a:gd name="connsiteX79" fmla="*/ 273214 w 888966"/>
              <a:gd name="connsiteY79" fmla="*/ 0 h 897080"/>
              <a:gd name="connsiteX80" fmla="*/ 295444 w 888966"/>
              <a:gd name="connsiteY80" fmla="*/ 0 h 897080"/>
              <a:gd name="connsiteX81" fmla="*/ 301001 w 888966"/>
              <a:gd name="connsiteY81" fmla="*/ 5557 h 897080"/>
              <a:gd name="connsiteX82" fmla="*/ 301001 w 888966"/>
              <a:gd name="connsiteY82" fmla="*/ 44590 h 897080"/>
              <a:gd name="connsiteX83" fmla="*/ 330371 w 888966"/>
              <a:gd name="connsiteY83" fmla="*/ 44590 h 897080"/>
              <a:gd name="connsiteX84" fmla="*/ 330371 w 888966"/>
              <a:gd name="connsiteY84" fmla="*/ 5557 h 897080"/>
              <a:gd name="connsiteX85" fmla="*/ 335928 w 888966"/>
              <a:gd name="connsiteY85" fmla="*/ 0 h 897080"/>
              <a:gd name="connsiteX86" fmla="*/ 358158 w 888966"/>
              <a:gd name="connsiteY86" fmla="*/ 0 h 897080"/>
              <a:gd name="connsiteX87" fmla="*/ 363715 w 888966"/>
              <a:gd name="connsiteY87" fmla="*/ 5557 h 897080"/>
              <a:gd name="connsiteX88" fmla="*/ 363715 w 888966"/>
              <a:gd name="connsiteY88" fmla="*/ 44590 h 897080"/>
              <a:gd name="connsiteX89" fmla="*/ 393085 w 888966"/>
              <a:gd name="connsiteY89" fmla="*/ 44590 h 897080"/>
              <a:gd name="connsiteX90" fmla="*/ 393085 w 888966"/>
              <a:gd name="connsiteY90" fmla="*/ 5557 h 897080"/>
              <a:gd name="connsiteX91" fmla="*/ 398642 w 888966"/>
              <a:gd name="connsiteY91" fmla="*/ 0 h 897080"/>
              <a:gd name="connsiteX92" fmla="*/ 420872 w 888966"/>
              <a:gd name="connsiteY92" fmla="*/ 0 h 897080"/>
              <a:gd name="connsiteX93" fmla="*/ 426429 w 888966"/>
              <a:gd name="connsiteY93" fmla="*/ 5557 h 897080"/>
              <a:gd name="connsiteX94" fmla="*/ 426429 w 888966"/>
              <a:gd name="connsiteY94" fmla="*/ 44590 h 897080"/>
              <a:gd name="connsiteX95" fmla="*/ 455797 w 888966"/>
              <a:gd name="connsiteY95" fmla="*/ 44590 h 897080"/>
              <a:gd name="connsiteX96" fmla="*/ 455797 w 888966"/>
              <a:gd name="connsiteY96" fmla="*/ 5557 h 897080"/>
              <a:gd name="connsiteX97" fmla="*/ 461355 w 888966"/>
              <a:gd name="connsiteY97" fmla="*/ 0 h 897080"/>
              <a:gd name="connsiteX98" fmla="*/ 483584 w 888966"/>
              <a:gd name="connsiteY98" fmla="*/ 0 h 897080"/>
              <a:gd name="connsiteX99" fmla="*/ 489142 w 888966"/>
              <a:gd name="connsiteY99" fmla="*/ 5557 h 897080"/>
              <a:gd name="connsiteX100" fmla="*/ 489142 w 888966"/>
              <a:gd name="connsiteY100" fmla="*/ 44590 h 897080"/>
              <a:gd name="connsiteX101" fmla="*/ 595074 w 888966"/>
              <a:gd name="connsiteY101" fmla="*/ 44590 h 897080"/>
              <a:gd name="connsiteX102" fmla="*/ 822356 w 888966"/>
              <a:gd name="connsiteY102" fmla="*/ 271872 h 897080"/>
              <a:gd name="connsiteX103" fmla="*/ 822356 w 888966"/>
              <a:gd name="connsiteY103" fmla="*/ 842046 h 897080"/>
              <a:gd name="connsiteX104" fmla="*/ 767322 w 888966"/>
              <a:gd name="connsiteY104" fmla="*/ 897080 h 897080"/>
              <a:gd name="connsiteX105" fmla="*/ 228406 w 888966"/>
              <a:gd name="connsiteY105" fmla="*/ 897080 h 897080"/>
              <a:gd name="connsiteX106" fmla="*/ 173372 w 888966"/>
              <a:gd name="connsiteY106" fmla="*/ 842046 h 897080"/>
              <a:gd name="connsiteX107" fmla="*/ 173372 w 888966"/>
              <a:gd name="connsiteY107" fmla="*/ 453750 h 897080"/>
              <a:gd name="connsiteX108" fmla="*/ 97455 w 888966"/>
              <a:gd name="connsiteY108" fmla="*/ 370979 h 897080"/>
              <a:gd name="connsiteX109" fmla="*/ 99243 w 888966"/>
              <a:gd name="connsiteY109" fmla="*/ 329567 h 897080"/>
              <a:gd name="connsiteX110" fmla="*/ 173372 w 888966"/>
              <a:gd name="connsiteY110" fmla="*/ 261577 h 897080"/>
              <a:gd name="connsiteX111" fmla="*/ 173372 w 888966"/>
              <a:gd name="connsiteY111" fmla="*/ 229235 h 897080"/>
              <a:gd name="connsiteX112" fmla="*/ 170801 w 888966"/>
              <a:gd name="connsiteY112" fmla="*/ 231595 h 897080"/>
              <a:gd name="connsiteX113" fmla="*/ 170383 w 888966"/>
              <a:gd name="connsiteY113" fmla="*/ 224803 h 897080"/>
              <a:gd name="connsiteX114" fmla="*/ 129236 w 888966"/>
              <a:gd name="connsiteY114" fmla="*/ 179942 h 897080"/>
              <a:gd name="connsiteX115" fmla="*/ 109863 w 888966"/>
              <a:gd name="connsiteY115" fmla="*/ 177057 h 897080"/>
              <a:gd name="connsiteX116" fmla="*/ 31057 w 888966"/>
              <a:gd name="connsiteY116" fmla="*/ 249335 h 897080"/>
              <a:gd name="connsiteX117" fmla="*/ 32260 w 888966"/>
              <a:gd name="connsiteY117" fmla="*/ 268885 h 897080"/>
              <a:gd name="connsiteX118" fmla="*/ 73408 w 888966"/>
              <a:gd name="connsiteY118" fmla="*/ 313747 h 897080"/>
              <a:gd name="connsiteX119" fmla="*/ 80138 w 888966"/>
              <a:gd name="connsiteY119" fmla="*/ 314749 h 897080"/>
              <a:gd name="connsiteX120" fmla="*/ 72156 w 888966"/>
              <a:gd name="connsiteY120" fmla="*/ 322070 h 897080"/>
              <a:gd name="connsiteX121" fmla="*/ 48877 w 888966"/>
              <a:gd name="connsiteY121" fmla="*/ 321065 h 897080"/>
              <a:gd name="connsiteX122" fmla="*/ 4335 w 888966"/>
              <a:gd name="connsiteY122" fmla="*/ 272501 h 897080"/>
              <a:gd name="connsiteX123" fmla="*/ 5341 w 888966"/>
              <a:gd name="connsiteY123" fmla="*/ 249222 h 897080"/>
              <a:gd name="connsiteX124" fmla="*/ 110656 w 888966"/>
              <a:gd name="connsiteY124" fmla="*/ 152628 h 897080"/>
              <a:gd name="connsiteX125" fmla="*/ 133935 w 888966"/>
              <a:gd name="connsiteY125" fmla="*/ 153633 h 897080"/>
              <a:gd name="connsiteX126" fmla="*/ 173372 w 888966"/>
              <a:gd name="connsiteY126" fmla="*/ 196630 h 897080"/>
              <a:gd name="connsiteX127" fmla="*/ 173372 w 888966"/>
              <a:gd name="connsiteY127" fmla="*/ 99625 h 897080"/>
              <a:gd name="connsiteX128" fmla="*/ 228406 w 888966"/>
              <a:gd name="connsiteY128" fmla="*/ 44590 h 897080"/>
              <a:gd name="connsiteX129" fmla="*/ 267657 w 888966"/>
              <a:gd name="connsiteY129" fmla="*/ 44590 h 897080"/>
              <a:gd name="connsiteX130" fmla="*/ 267657 w 888966"/>
              <a:gd name="connsiteY130" fmla="*/ 5557 h 897080"/>
              <a:gd name="connsiteX131" fmla="*/ 273214 w 888966"/>
              <a:gd name="connsiteY131" fmla="*/ 0 h 897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Lst>
            <a:rect l="l" t="t" r="r" b="b"/>
            <a:pathLst>
              <a:path w="888966" h="897080">
                <a:moveTo>
                  <a:pt x="249370" y="738104"/>
                </a:moveTo>
                <a:lnTo>
                  <a:pt x="249370" y="767616"/>
                </a:lnTo>
                <a:lnTo>
                  <a:pt x="741232" y="767616"/>
                </a:lnTo>
                <a:lnTo>
                  <a:pt x="741232" y="738104"/>
                </a:lnTo>
                <a:lnTo>
                  <a:pt x="249370" y="738104"/>
                </a:lnTo>
                <a:close/>
                <a:moveTo>
                  <a:pt x="511567" y="662789"/>
                </a:moveTo>
                <a:lnTo>
                  <a:pt x="517934" y="692301"/>
                </a:lnTo>
                <a:lnTo>
                  <a:pt x="741232" y="692301"/>
                </a:lnTo>
                <a:lnTo>
                  <a:pt x="741232" y="662789"/>
                </a:lnTo>
                <a:lnTo>
                  <a:pt x="511567" y="662789"/>
                </a:lnTo>
                <a:close/>
                <a:moveTo>
                  <a:pt x="249370" y="662789"/>
                </a:moveTo>
                <a:lnTo>
                  <a:pt x="249370" y="692301"/>
                </a:lnTo>
                <a:lnTo>
                  <a:pt x="508884" y="692301"/>
                </a:lnTo>
                <a:lnTo>
                  <a:pt x="415842" y="662789"/>
                </a:lnTo>
                <a:lnTo>
                  <a:pt x="249370" y="662789"/>
                </a:lnTo>
                <a:close/>
                <a:moveTo>
                  <a:pt x="495319" y="587471"/>
                </a:moveTo>
                <a:lnTo>
                  <a:pt x="501686" y="616983"/>
                </a:lnTo>
                <a:lnTo>
                  <a:pt x="741232" y="616983"/>
                </a:lnTo>
                <a:lnTo>
                  <a:pt x="741232" y="587471"/>
                </a:lnTo>
                <a:lnTo>
                  <a:pt x="495319" y="587471"/>
                </a:lnTo>
                <a:close/>
                <a:moveTo>
                  <a:pt x="249370" y="587471"/>
                </a:moveTo>
                <a:lnTo>
                  <a:pt x="249370" y="616983"/>
                </a:lnTo>
                <a:lnTo>
                  <a:pt x="323088" y="616983"/>
                </a:lnTo>
                <a:lnTo>
                  <a:pt x="296020" y="587471"/>
                </a:lnTo>
                <a:lnTo>
                  <a:pt x="249370" y="587471"/>
                </a:lnTo>
                <a:close/>
                <a:moveTo>
                  <a:pt x="456482" y="544863"/>
                </a:moveTo>
                <a:lnTo>
                  <a:pt x="373574" y="620125"/>
                </a:lnTo>
                <a:lnTo>
                  <a:pt x="495281" y="670589"/>
                </a:lnTo>
                <a:lnTo>
                  <a:pt x="456482" y="544863"/>
                </a:lnTo>
                <a:close/>
                <a:moveTo>
                  <a:pt x="249370" y="536610"/>
                </a:moveTo>
                <a:lnTo>
                  <a:pt x="249370" y="541666"/>
                </a:lnTo>
                <a:lnTo>
                  <a:pt x="254007" y="541666"/>
                </a:lnTo>
                <a:lnTo>
                  <a:pt x="249370" y="536610"/>
                </a:lnTo>
                <a:close/>
                <a:moveTo>
                  <a:pt x="465565" y="512155"/>
                </a:moveTo>
                <a:lnTo>
                  <a:pt x="466352" y="513012"/>
                </a:lnTo>
                <a:cubicBezTo>
                  <a:pt x="473866" y="521204"/>
                  <a:pt x="475841" y="532516"/>
                  <a:pt x="470504" y="541666"/>
                </a:cubicBezTo>
                <a:lnTo>
                  <a:pt x="741232" y="541666"/>
                </a:lnTo>
                <a:lnTo>
                  <a:pt x="741232" y="512155"/>
                </a:lnTo>
                <a:lnTo>
                  <a:pt x="465565" y="512155"/>
                </a:lnTo>
                <a:close/>
                <a:moveTo>
                  <a:pt x="396483" y="436837"/>
                </a:moveTo>
                <a:lnTo>
                  <a:pt x="423552" y="466349"/>
                </a:lnTo>
                <a:lnTo>
                  <a:pt x="741232" y="466349"/>
                </a:lnTo>
                <a:lnTo>
                  <a:pt x="741232" y="436837"/>
                </a:lnTo>
                <a:lnTo>
                  <a:pt x="396483" y="436837"/>
                </a:lnTo>
                <a:close/>
                <a:moveTo>
                  <a:pt x="327402" y="361519"/>
                </a:moveTo>
                <a:lnTo>
                  <a:pt x="354471" y="391031"/>
                </a:lnTo>
                <a:lnTo>
                  <a:pt x="741232" y="391031"/>
                </a:lnTo>
                <a:lnTo>
                  <a:pt x="741232" y="361519"/>
                </a:lnTo>
                <a:lnTo>
                  <a:pt x="327402" y="361519"/>
                </a:lnTo>
                <a:close/>
                <a:moveTo>
                  <a:pt x="197315" y="261390"/>
                </a:moveTo>
                <a:cubicBezTo>
                  <a:pt x="191078" y="260462"/>
                  <a:pt x="184990" y="261934"/>
                  <a:pt x="180526" y="266028"/>
                </a:cubicBezTo>
                <a:lnTo>
                  <a:pt x="115877" y="325324"/>
                </a:lnTo>
                <a:cubicBezTo>
                  <a:pt x="106950" y="333512"/>
                  <a:pt x="107908" y="349083"/>
                  <a:pt x="118016" y="360103"/>
                </a:cubicBezTo>
                <a:lnTo>
                  <a:pt x="339076" y="601119"/>
                </a:lnTo>
                <a:cubicBezTo>
                  <a:pt x="349185" y="612140"/>
                  <a:pt x="364614" y="614437"/>
                  <a:pt x="373540" y="606249"/>
                </a:cubicBezTo>
                <a:lnTo>
                  <a:pt x="438189" y="546953"/>
                </a:lnTo>
                <a:cubicBezTo>
                  <a:pt x="447116" y="538766"/>
                  <a:pt x="446158" y="523195"/>
                  <a:pt x="436051" y="512175"/>
                </a:cubicBezTo>
                <a:lnTo>
                  <a:pt x="214990" y="271158"/>
                </a:lnTo>
                <a:cubicBezTo>
                  <a:pt x="209936" y="265648"/>
                  <a:pt x="203552" y="262320"/>
                  <a:pt x="197315" y="261390"/>
                </a:cubicBezTo>
                <a:close/>
                <a:moveTo>
                  <a:pt x="249370" y="243676"/>
                </a:moveTo>
                <a:lnTo>
                  <a:pt x="249370" y="276442"/>
                </a:lnTo>
                <a:lnTo>
                  <a:pt x="255409" y="283025"/>
                </a:lnTo>
                <a:lnTo>
                  <a:pt x="544487" y="283025"/>
                </a:lnTo>
                <a:lnTo>
                  <a:pt x="544487" y="243676"/>
                </a:lnTo>
                <a:lnTo>
                  <a:pt x="249370" y="243676"/>
                </a:lnTo>
                <a:close/>
                <a:moveTo>
                  <a:pt x="581549" y="92545"/>
                </a:moveTo>
                <a:cubicBezTo>
                  <a:pt x="581549" y="143782"/>
                  <a:pt x="581546" y="195017"/>
                  <a:pt x="581546" y="246254"/>
                </a:cubicBezTo>
                <a:cubicBezTo>
                  <a:pt x="580561" y="275242"/>
                  <a:pt x="607752" y="291422"/>
                  <a:pt x="624694" y="294792"/>
                </a:cubicBezTo>
                <a:lnTo>
                  <a:pt x="786491" y="297488"/>
                </a:lnTo>
                <a:lnTo>
                  <a:pt x="581549" y="92545"/>
                </a:lnTo>
                <a:close/>
                <a:moveTo>
                  <a:pt x="643884" y="72904"/>
                </a:moveTo>
                <a:lnTo>
                  <a:pt x="709692" y="72904"/>
                </a:lnTo>
                <a:lnTo>
                  <a:pt x="888966" y="254516"/>
                </a:lnTo>
                <a:lnTo>
                  <a:pt x="888966" y="826972"/>
                </a:lnTo>
                <a:cubicBezTo>
                  <a:pt x="888966" y="855713"/>
                  <a:pt x="867310" y="879012"/>
                  <a:pt x="840594" y="879012"/>
                </a:cubicBezTo>
                <a:lnTo>
                  <a:pt x="816902" y="879012"/>
                </a:lnTo>
                <a:cubicBezTo>
                  <a:pt x="829807" y="869541"/>
                  <a:pt x="837729" y="854157"/>
                  <a:pt x="837729" y="836923"/>
                </a:cubicBezTo>
                <a:lnTo>
                  <a:pt x="837729" y="266749"/>
                </a:lnTo>
                <a:lnTo>
                  <a:pt x="643884" y="72904"/>
                </a:lnTo>
                <a:close/>
                <a:moveTo>
                  <a:pt x="273214" y="0"/>
                </a:moveTo>
                <a:lnTo>
                  <a:pt x="295444" y="0"/>
                </a:lnTo>
                <a:cubicBezTo>
                  <a:pt x="298513" y="0"/>
                  <a:pt x="301001" y="2488"/>
                  <a:pt x="301001" y="5557"/>
                </a:cubicBezTo>
                <a:lnTo>
                  <a:pt x="301001" y="44590"/>
                </a:lnTo>
                <a:lnTo>
                  <a:pt x="330371" y="44590"/>
                </a:lnTo>
                <a:lnTo>
                  <a:pt x="330371" y="5557"/>
                </a:lnTo>
                <a:lnTo>
                  <a:pt x="335928" y="0"/>
                </a:lnTo>
                <a:lnTo>
                  <a:pt x="358158" y="0"/>
                </a:lnTo>
                <a:cubicBezTo>
                  <a:pt x="361227" y="0"/>
                  <a:pt x="363715" y="2488"/>
                  <a:pt x="363715" y="5557"/>
                </a:cubicBezTo>
                <a:lnTo>
                  <a:pt x="363715" y="44590"/>
                </a:lnTo>
                <a:lnTo>
                  <a:pt x="393085" y="44590"/>
                </a:lnTo>
                <a:lnTo>
                  <a:pt x="393085" y="5557"/>
                </a:lnTo>
                <a:lnTo>
                  <a:pt x="398642" y="0"/>
                </a:lnTo>
                <a:lnTo>
                  <a:pt x="420872" y="0"/>
                </a:lnTo>
                <a:cubicBezTo>
                  <a:pt x="423941" y="0"/>
                  <a:pt x="426429" y="2488"/>
                  <a:pt x="426429" y="5557"/>
                </a:cubicBezTo>
                <a:lnTo>
                  <a:pt x="426429" y="44590"/>
                </a:lnTo>
                <a:lnTo>
                  <a:pt x="455797" y="44590"/>
                </a:lnTo>
                <a:lnTo>
                  <a:pt x="455797" y="5557"/>
                </a:lnTo>
                <a:lnTo>
                  <a:pt x="461355" y="0"/>
                </a:lnTo>
                <a:lnTo>
                  <a:pt x="483584" y="0"/>
                </a:lnTo>
                <a:cubicBezTo>
                  <a:pt x="486654" y="0"/>
                  <a:pt x="489142" y="2488"/>
                  <a:pt x="489142" y="5557"/>
                </a:cubicBezTo>
                <a:lnTo>
                  <a:pt x="489142" y="44590"/>
                </a:lnTo>
                <a:lnTo>
                  <a:pt x="595074" y="44590"/>
                </a:lnTo>
                <a:lnTo>
                  <a:pt x="822356" y="271872"/>
                </a:lnTo>
                <a:lnTo>
                  <a:pt x="822356" y="842046"/>
                </a:lnTo>
                <a:cubicBezTo>
                  <a:pt x="822356" y="872441"/>
                  <a:pt x="797716" y="897080"/>
                  <a:pt x="767322" y="897080"/>
                </a:cubicBezTo>
                <a:lnTo>
                  <a:pt x="228406" y="897080"/>
                </a:lnTo>
                <a:cubicBezTo>
                  <a:pt x="198010" y="897080"/>
                  <a:pt x="173372" y="872441"/>
                  <a:pt x="173372" y="842046"/>
                </a:cubicBezTo>
                <a:lnTo>
                  <a:pt x="173372" y="453750"/>
                </a:lnTo>
                <a:lnTo>
                  <a:pt x="97455" y="370979"/>
                </a:lnTo>
                <a:cubicBezTo>
                  <a:pt x="86512" y="359050"/>
                  <a:pt x="87313" y="340510"/>
                  <a:pt x="99243" y="329567"/>
                </a:cubicBezTo>
                <a:lnTo>
                  <a:pt x="173372" y="261577"/>
                </a:lnTo>
                <a:lnTo>
                  <a:pt x="173372" y="229235"/>
                </a:lnTo>
                <a:lnTo>
                  <a:pt x="170801" y="231595"/>
                </a:lnTo>
                <a:cubicBezTo>
                  <a:pt x="170662" y="229331"/>
                  <a:pt x="170522" y="227067"/>
                  <a:pt x="170383" y="224803"/>
                </a:cubicBezTo>
                <a:lnTo>
                  <a:pt x="129236" y="179942"/>
                </a:lnTo>
                <a:cubicBezTo>
                  <a:pt x="123552" y="173745"/>
                  <a:pt x="114879" y="172454"/>
                  <a:pt x="109863" y="177057"/>
                </a:cubicBezTo>
                <a:lnTo>
                  <a:pt x="31057" y="249335"/>
                </a:lnTo>
                <a:cubicBezTo>
                  <a:pt x="26040" y="253937"/>
                  <a:pt x="26578" y="262690"/>
                  <a:pt x="32260" y="268885"/>
                </a:cubicBezTo>
                <a:lnTo>
                  <a:pt x="73408" y="313747"/>
                </a:lnTo>
                <a:cubicBezTo>
                  <a:pt x="74973" y="315454"/>
                  <a:pt x="76765" y="316789"/>
                  <a:pt x="80138" y="314749"/>
                </a:cubicBezTo>
                <a:lnTo>
                  <a:pt x="72156" y="322070"/>
                </a:lnTo>
                <a:cubicBezTo>
                  <a:pt x="65450" y="328221"/>
                  <a:pt x="55029" y="327771"/>
                  <a:pt x="48877" y="321065"/>
                </a:cubicBezTo>
                <a:lnTo>
                  <a:pt x="4335" y="272501"/>
                </a:lnTo>
                <a:cubicBezTo>
                  <a:pt x="-1816" y="265795"/>
                  <a:pt x="-1366" y="255373"/>
                  <a:pt x="5341" y="249222"/>
                </a:cubicBezTo>
                <a:lnTo>
                  <a:pt x="110656" y="152628"/>
                </a:lnTo>
                <a:cubicBezTo>
                  <a:pt x="117361" y="146476"/>
                  <a:pt x="127783" y="146927"/>
                  <a:pt x="133935" y="153633"/>
                </a:cubicBezTo>
                <a:lnTo>
                  <a:pt x="173372" y="196630"/>
                </a:lnTo>
                <a:lnTo>
                  <a:pt x="173372" y="99625"/>
                </a:lnTo>
                <a:cubicBezTo>
                  <a:pt x="173372" y="69230"/>
                  <a:pt x="198010" y="44590"/>
                  <a:pt x="228406" y="44590"/>
                </a:cubicBezTo>
                <a:lnTo>
                  <a:pt x="267657" y="44590"/>
                </a:lnTo>
                <a:lnTo>
                  <a:pt x="267657" y="5557"/>
                </a:lnTo>
                <a:cubicBezTo>
                  <a:pt x="267657" y="2488"/>
                  <a:pt x="270145" y="0"/>
                  <a:pt x="273214" y="0"/>
                </a:cubicBezTo>
                <a:close/>
              </a:path>
            </a:pathLst>
          </a:custGeom>
          <a:solidFill>
            <a:srgbClr val="0DBFF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3232" tIns="46615" rIns="93232" bIns="46615" rtlCol="0" anchor="ctr">
            <a:noAutofit/>
          </a:bodyPr>
          <a:lstStyle/>
          <a:p>
            <a:pPr algn="ctr"/>
            <a:endParaRPr lang="en-US" sz="2399" dirty="0">
              <a:solidFill>
                <a:prstClr val="white"/>
              </a:solidFill>
            </a:endParaRPr>
          </a:p>
        </p:txBody>
      </p:sp>
      <p:sp>
        <p:nvSpPr>
          <p:cNvPr id="65" name="Freeform 64"/>
          <p:cNvSpPr/>
          <p:nvPr/>
        </p:nvSpPr>
        <p:spPr>
          <a:xfrm>
            <a:off x="4197073" y="3762836"/>
            <a:ext cx="614637" cy="620156"/>
          </a:xfrm>
          <a:custGeom>
            <a:avLst/>
            <a:gdLst>
              <a:gd name="connsiteX0" fmla="*/ 260828 w 900424"/>
              <a:gd name="connsiteY0" fmla="*/ 764648 h 923624"/>
              <a:gd name="connsiteX1" fmla="*/ 260828 w 900424"/>
              <a:gd name="connsiteY1" fmla="*/ 794160 h 923624"/>
              <a:gd name="connsiteX2" fmla="*/ 752690 w 900424"/>
              <a:gd name="connsiteY2" fmla="*/ 794160 h 923624"/>
              <a:gd name="connsiteX3" fmla="*/ 752690 w 900424"/>
              <a:gd name="connsiteY3" fmla="*/ 764648 h 923624"/>
              <a:gd name="connsiteX4" fmla="*/ 523025 w 900424"/>
              <a:gd name="connsiteY4" fmla="*/ 689333 h 923624"/>
              <a:gd name="connsiteX5" fmla="*/ 529392 w 900424"/>
              <a:gd name="connsiteY5" fmla="*/ 718845 h 923624"/>
              <a:gd name="connsiteX6" fmla="*/ 752690 w 900424"/>
              <a:gd name="connsiteY6" fmla="*/ 718845 h 923624"/>
              <a:gd name="connsiteX7" fmla="*/ 752690 w 900424"/>
              <a:gd name="connsiteY7" fmla="*/ 689333 h 923624"/>
              <a:gd name="connsiteX8" fmla="*/ 260828 w 900424"/>
              <a:gd name="connsiteY8" fmla="*/ 689333 h 923624"/>
              <a:gd name="connsiteX9" fmla="*/ 260828 w 900424"/>
              <a:gd name="connsiteY9" fmla="*/ 718845 h 923624"/>
              <a:gd name="connsiteX10" fmla="*/ 520342 w 900424"/>
              <a:gd name="connsiteY10" fmla="*/ 718845 h 923624"/>
              <a:gd name="connsiteX11" fmla="*/ 427300 w 900424"/>
              <a:gd name="connsiteY11" fmla="*/ 689333 h 923624"/>
              <a:gd name="connsiteX12" fmla="*/ 506777 w 900424"/>
              <a:gd name="connsiteY12" fmla="*/ 614015 h 923624"/>
              <a:gd name="connsiteX13" fmla="*/ 513144 w 900424"/>
              <a:gd name="connsiteY13" fmla="*/ 643527 h 923624"/>
              <a:gd name="connsiteX14" fmla="*/ 752690 w 900424"/>
              <a:gd name="connsiteY14" fmla="*/ 643527 h 923624"/>
              <a:gd name="connsiteX15" fmla="*/ 752690 w 900424"/>
              <a:gd name="connsiteY15" fmla="*/ 614015 h 923624"/>
              <a:gd name="connsiteX16" fmla="*/ 260828 w 900424"/>
              <a:gd name="connsiteY16" fmla="*/ 614015 h 923624"/>
              <a:gd name="connsiteX17" fmla="*/ 260828 w 900424"/>
              <a:gd name="connsiteY17" fmla="*/ 643527 h 923624"/>
              <a:gd name="connsiteX18" fmla="*/ 334546 w 900424"/>
              <a:gd name="connsiteY18" fmla="*/ 643527 h 923624"/>
              <a:gd name="connsiteX19" fmla="*/ 307478 w 900424"/>
              <a:gd name="connsiteY19" fmla="*/ 614015 h 923624"/>
              <a:gd name="connsiteX20" fmla="*/ 467940 w 900424"/>
              <a:gd name="connsiteY20" fmla="*/ 571407 h 923624"/>
              <a:gd name="connsiteX21" fmla="*/ 385032 w 900424"/>
              <a:gd name="connsiteY21" fmla="*/ 646669 h 923624"/>
              <a:gd name="connsiteX22" fmla="*/ 506739 w 900424"/>
              <a:gd name="connsiteY22" fmla="*/ 697133 h 923624"/>
              <a:gd name="connsiteX23" fmla="*/ 260828 w 900424"/>
              <a:gd name="connsiteY23" fmla="*/ 563154 h 923624"/>
              <a:gd name="connsiteX24" fmla="*/ 260828 w 900424"/>
              <a:gd name="connsiteY24" fmla="*/ 568210 h 923624"/>
              <a:gd name="connsiteX25" fmla="*/ 265465 w 900424"/>
              <a:gd name="connsiteY25" fmla="*/ 568210 h 923624"/>
              <a:gd name="connsiteX26" fmla="*/ 477023 w 900424"/>
              <a:gd name="connsiteY26" fmla="*/ 538699 h 923624"/>
              <a:gd name="connsiteX27" fmla="*/ 477810 w 900424"/>
              <a:gd name="connsiteY27" fmla="*/ 539556 h 923624"/>
              <a:gd name="connsiteX28" fmla="*/ 481962 w 900424"/>
              <a:gd name="connsiteY28" fmla="*/ 568210 h 923624"/>
              <a:gd name="connsiteX29" fmla="*/ 752690 w 900424"/>
              <a:gd name="connsiteY29" fmla="*/ 568210 h 923624"/>
              <a:gd name="connsiteX30" fmla="*/ 752690 w 900424"/>
              <a:gd name="connsiteY30" fmla="*/ 538699 h 923624"/>
              <a:gd name="connsiteX31" fmla="*/ 407941 w 900424"/>
              <a:gd name="connsiteY31" fmla="*/ 463381 h 923624"/>
              <a:gd name="connsiteX32" fmla="*/ 435010 w 900424"/>
              <a:gd name="connsiteY32" fmla="*/ 492893 h 923624"/>
              <a:gd name="connsiteX33" fmla="*/ 752690 w 900424"/>
              <a:gd name="connsiteY33" fmla="*/ 492893 h 923624"/>
              <a:gd name="connsiteX34" fmla="*/ 752690 w 900424"/>
              <a:gd name="connsiteY34" fmla="*/ 463381 h 923624"/>
              <a:gd name="connsiteX35" fmla="*/ 338860 w 900424"/>
              <a:gd name="connsiteY35" fmla="*/ 388063 h 923624"/>
              <a:gd name="connsiteX36" fmla="*/ 365929 w 900424"/>
              <a:gd name="connsiteY36" fmla="*/ 417575 h 923624"/>
              <a:gd name="connsiteX37" fmla="*/ 752690 w 900424"/>
              <a:gd name="connsiteY37" fmla="*/ 417575 h 923624"/>
              <a:gd name="connsiteX38" fmla="*/ 752690 w 900424"/>
              <a:gd name="connsiteY38" fmla="*/ 388063 h 923624"/>
              <a:gd name="connsiteX39" fmla="*/ 208773 w 900424"/>
              <a:gd name="connsiteY39" fmla="*/ 287934 h 923624"/>
              <a:gd name="connsiteX40" fmla="*/ 191984 w 900424"/>
              <a:gd name="connsiteY40" fmla="*/ 292572 h 923624"/>
              <a:gd name="connsiteX41" fmla="*/ 127335 w 900424"/>
              <a:gd name="connsiteY41" fmla="*/ 351868 h 923624"/>
              <a:gd name="connsiteX42" fmla="*/ 129474 w 900424"/>
              <a:gd name="connsiteY42" fmla="*/ 386647 h 923624"/>
              <a:gd name="connsiteX43" fmla="*/ 350534 w 900424"/>
              <a:gd name="connsiteY43" fmla="*/ 627663 h 923624"/>
              <a:gd name="connsiteX44" fmla="*/ 384998 w 900424"/>
              <a:gd name="connsiteY44" fmla="*/ 632793 h 923624"/>
              <a:gd name="connsiteX45" fmla="*/ 449647 w 900424"/>
              <a:gd name="connsiteY45" fmla="*/ 573497 h 923624"/>
              <a:gd name="connsiteX46" fmla="*/ 447509 w 900424"/>
              <a:gd name="connsiteY46" fmla="*/ 538719 h 923624"/>
              <a:gd name="connsiteX47" fmla="*/ 226448 w 900424"/>
              <a:gd name="connsiteY47" fmla="*/ 297702 h 923624"/>
              <a:gd name="connsiteX48" fmla="*/ 208773 w 900424"/>
              <a:gd name="connsiteY48" fmla="*/ 287934 h 923624"/>
              <a:gd name="connsiteX49" fmla="*/ 260828 w 900424"/>
              <a:gd name="connsiteY49" fmla="*/ 270220 h 923624"/>
              <a:gd name="connsiteX50" fmla="*/ 260828 w 900424"/>
              <a:gd name="connsiteY50" fmla="*/ 302986 h 923624"/>
              <a:gd name="connsiteX51" fmla="*/ 266867 w 900424"/>
              <a:gd name="connsiteY51" fmla="*/ 309569 h 923624"/>
              <a:gd name="connsiteX52" fmla="*/ 555945 w 900424"/>
              <a:gd name="connsiteY52" fmla="*/ 309569 h 923624"/>
              <a:gd name="connsiteX53" fmla="*/ 555945 w 900424"/>
              <a:gd name="connsiteY53" fmla="*/ 270220 h 923624"/>
              <a:gd name="connsiteX54" fmla="*/ 593007 w 900424"/>
              <a:gd name="connsiteY54" fmla="*/ 119089 h 923624"/>
              <a:gd name="connsiteX55" fmla="*/ 593004 w 900424"/>
              <a:gd name="connsiteY55" fmla="*/ 272798 h 923624"/>
              <a:gd name="connsiteX56" fmla="*/ 636152 w 900424"/>
              <a:gd name="connsiteY56" fmla="*/ 321336 h 923624"/>
              <a:gd name="connsiteX57" fmla="*/ 797949 w 900424"/>
              <a:gd name="connsiteY57" fmla="*/ 324032 h 923624"/>
              <a:gd name="connsiteX58" fmla="*/ 655342 w 900424"/>
              <a:gd name="connsiteY58" fmla="*/ 99448 h 923624"/>
              <a:gd name="connsiteX59" fmla="*/ 721150 w 900424"/>
              <a:gd name="connsiteY59" fmla="*/ 99448 h 923624"/>
              <a:gd name="connsiteX60" fmla="*/ 900424 w 900424"/>
              <a:gd name="connsiteY60" fmla="*/ 281060 h 923624"/>
              <a:gd name="connsiteX61" fmla="*/ 900424 w 900424"/>
              <a:gd name="connsiteY61" fmla="*/ 853516 h 923624"/>
              <a:gd name="connsiteX62" fmla="*/ 852052 w 900424"/>
              <a:gd name="connsiteY62" fmla="*/ 905556 h 923624"/>
              <a:gd name="connsiteX63" fmla="*/ 828360 w 900424"/>
              <a:gd name="connsiteY63" fmla="*/ 905556 h 923624"/>
              <a:gd name="connsiteX64" fmla="*/ 849187 w 900424"/>
              <a:gd name="connsiteY64" fmla="*/ 863467 h 923624"/>
              <a:gd name="connsiteX65" fmla="*/ 849187 w 900424"/>
              <a:gd name="connsiteY65" fmla="*/ 293293 h 923624"/>
              <a:gd name="connsiteX66" fmla="*/ 284672 w 900424"/>
              <a:gd name="connsiteY66" fmla="*/ 26544 h 923624"/>
              <a:gd name="connsiteX67" fmla="*/ 306902 w 900424"/>
              <a:gd name="connsiteY67" fmla="*/ 26544 h 923624"/>
              <a:gd name="connsiteX68" fmla="*/ 312459 w 900424"/>
              <a:gd name="connsiteY68" fmla="*/ 32101 h 923624"/>
              <a:gd name="connsiteX69" fmla="*/ 312459 w 900424"/>
              <a:gd name="connsiteY69" fmla="*/ 71134 h 923624"/>
              <a:gd name="connsiteX70" fmla="*/ 341829 w 900424"/>
              <a:gd name="connsiteY70" fmla="*/ 71134 h 923624"/>
              <a:gd name="connsiteX71" fmla="*/ 341829 w 900424"/>
              <a:gd name="connsiteY71" fmla="*/ 32101 h 923624"/>
              <a:gd name="connsiteX72" fmla="*/ 347386 w 900424"/>
              <a:gd name="connsiteY72" fmla="*/ 26544 h 923624"/>
              <a:gd name="connsiteX73" fmla="*/ 369616 w 900424"/>
              <a:gd name="connsiteY73" fmla="*/ 26544 h 923624"/>
              <a:gd name="connsiteX74" fmla="*/ 375173 w 900424"/>
              <a:gd name="connsiteY74" fmla="*/ 32101 h 923624"/>
              <a:gd name="connsiteX75" fmla="*/ 375173 w 900424"/>
              <a:gd name="connsiteY75" fmla="*/ 71134 h 923624"/>
              <a:gd name="connsiteX76" fmla="*/ 404543 w 900424"/>
              <a:gd name="connsiteY76" fmla="*/ 71134 h 923624"/>
              <a:gd name="connsiteX77" fmla="*/ 404543 w 900424"/>
              <a:gd name="connsiteY77" fmla="*/ 32101 h 923624"/>
              <a:gd name="connsiteX78" fmla="*/ 410100 w 900424"/>
              <a:gd name="connsiteY78" fmla="*/ 26544 h 923624"/>
              <a:gd name="connsiteX79" fmla="*/ 432330 w 900424"/>
              <a:gd name="connsiteY79" fmla="*/ 26544 h 923624"/>
              <a:gd name="connsiteX80" fmla="*/ 437887 w 900424"/>
              <a:gd name="connsiteY80" fmla="*/ 32101 h 923624"/>
              <a:gd name="connsiteX81" fmla="*/ 437887 w 900424"/>
              <a:gd name="connsiteY81" fmla="*/ 71134 h 923624"/>
              <a:gd name="connsiteX82" fmla="*/ 467255 w 900424"/>
              <a:gd name="connsiteY82" fmla="*/ 71134 h 923624"/>
              <a:gd name="connsiteX83" fmla="*/ 467255 w 900424"/>
              <a:gd name="connsiteY83" fmla="*/ 32101 h 923624"/>
              <a:gd name="connsiteX84" fmla="*/ 472813 w 900424"/>
              <a:gd name="connsiteY84" fmla="*/ 26544 h 923624"/>
              <a:gd name="connsiteX85" fmla="*/ 495042 w 900424"/>
              <a:gd name="connsiteY85" fmla="*/ 26544 h 923624"/>
              <a:gd name="connsiteX86" fmla="*/ 500600 w 900424"/>
              <a:gd name="connsiteY86" fmla="*/ 32101 h 923624"/>
              <a:gd name="connsiteX87" fmla="*/ 500600 w 900424"/>
              <a:gd name="connsiteY87" fmla="*/ 71134 h 923624"/>
              <a:gd name="connsiteX88" fmla="*/ 606532 w 900424"/>
              <a:gd name="connsiteY88" fmla="*/ 71134 h 923624"/>
              <a:gd name="connsiteX89" fmla="*/ 833814 w 900424"/>
              <a:gd name="connsiteY89" fmla="*/ 298416 h 923624"/>
              <a:gd name="connsiteX90" fmla="*/ 833814 w 900424"/>
              <a:gd name="connsiteY90" fmla="*/ 868590 h 923624"/>
              <a:gd name="connsiteX91" fmla="*/ 778780 w 900424"/>
              <a:gd name="connsiteY91" fmla="*/ 923624 h 923624"/>
              <a:gd name="connsiteX92" fmla="*/ 239864 w 900424"/>
              <a:gd name="connsiteY92" fmla="*/ 923624 h 923624"/>
              <a:gd name="connsiteX93" fmla="*/ 184830 w 900424"/>
              <a:gd name="connsiteY93" fmla="*/ 868590 h 923624"/>
              <a:gd name="connsiteX94" fmla="*/ 184830 w 900424"/>
              <a:gd name="connsiteY94" fmla="*/ 480294 h 923624"/>
              <a:gd name="connsiteX95" fmla="*/ 108913 w 900424"/>
              <a:gd name="connsiteY95" fmla="*/ 397523 h 923624"/>
              <a:gd name="connsiteX96" fmla="*/ 110701 w 900424"/>
              <a:gd name="connsiteY96" fmla="*/ 356111 h 923624"/>
              <a:gd name="connsiteX97" fmla="*/ 184830 w 900424"/>
              <a:gd name="connsiteY97" fmla="*/ 288121 h 923624"/>
              <a:gd name="connsiteX98" fmla="*/ 184830 w 900424"/>
              <a:gd name="connsiteY98" fmla="*/ 255779 h 923624"/>
              <a:gd name="connsiteX99" fmla="*/ 182259 w 900424"/>
              <a:gd name="connsiteY99" fmla="*/ 258139 h 923624"/>
              <a:gd name="connsiteX100" fmla="*/ 181841 w 900424"/>
              <a:gd name="connsiteY100" fmla="*/ 251347 h 923624"/>
              <a:gd name="connsiteX101" fmla="*/ 140694 w 900424"/>
              <a:gd name="connsiteY101" fmla="*/ 206486 h 923624"/>
              <a:gd name="connsiteX102" fmla="*/ 121321 w 900424"/>
              <a:gd name="connsiteY102" fmla="*/ 203601 h 923624"/>
              <a:gd name="connsiteX103" fmla="*/ 42515 w 900424"/>
              <a:gd name="connsiteY103" fmla="*/ 275879 h 923624"/>
              <a:gd name="connsiteX104" fmla="*/ 43718 w 900424"/>
              <a:gd name="connsiteY104" fmla="*/ 295429 h 923624"/>
              <a:gd name="connsiteX105" fmla="*/ 84866 w 900424"/>
              <a:gd name="connsiteY105" fmla="*/ 340291 h 923624"/>
              <a:gd name="connsiteX106" fmla="*/ 91596 w 900424"/>
              <a:gd name="connsiteY106" fmla="*/ 341293 h 923624"/>
              <a:gd name="connsiteX107" fmla="*/ 83614 w 900424"/>
              <a:gd name="connsiteY107" fmla="*/ 348614 h 923624"/>
              <a:gd name="connsiteX108" fmla="*/ 60335 w 900424"/>
              <a:gd name="connsiteY108" fmla="*/ 347609 h 923624"/>
              <a:gd name="connsiteX109" fmla="*/ 15793 w 900424"/>
              <a:gd name="connsiteY109" fmla="*/ 299045 h 923624"/>
              <a:gd name="connsiteX110" fmla="*/ 16799 w 900424"/>
              <a:gd name="connsiteY110" fmla="*/ 275766 h 923624"/>
              <a:gd name="connsiteX111" fmla="*/ 122114 w 900424"/>
              <a:gd name="connsiteY111" fmla="*/ 179172 h 923624"/>
              <a:gd name="connsiteX112" fmla="*/ 145393 w 900424"/>
              <a:gd name="connsiteY112" fmla="*/ 180177 h 923624"/>
              <a:gd name="connsiteX113" fmla="*/ 184830 w 900424"/>
              <a:gd name="connsiteY113" fmla="*/ 223174 h 923624"/>
              <a:gd name="connsiteX114" fmla="*/ 184830 w 900424"/>
              <a:gd name="connsiteY114" fmla="*/ 126169 h 923624"/>
              <a:gd name="connsiteX115" fmla="*/ 239864 w 900424"/>
              <a:gd name="connsiteY115" fmla="*/ 71134 h 923624"/>
              <a:gd name="connsiteX116" fmla="*/ 279115 w 900424"/>
              <a:gd name="connsiteY116" fmla="*/ 71134 h 923624"/>
              <a:gd name="connsiteX117" fmla="*/ 279115 w 900424"/>
              <a:gd name="connsiteY117" fmla="*/ 32101 h 923624"/>
              <a:gd name="connsiteX118" fmla="*/ 284672 w 900424"/>
              <a:gd name="connsiteY118" fmla="*/ 26544 h 923624"/>
              <a:gd name="connsiteX119" fmla="*/ 185348 w 900424"/>
              <a:gd name="connsiteY119" fmla="*/ 0 h 923624"/>
              <a:gd name="connsiteX120" fmla="*/ 185239 w 900424"/>
              <a:gd name="connsiteY120" fmla="*/ 90 h 923624"/>
              <a:gd name="connsiteX121" fmla="*/ 177024 w 900424"/>
              <a:gd name="connsiteY121" fmla="*/ 4549 h 923624"/>
              <a:gd name="connsiteX122" fmla="*/ 69385 w 900424"/>
              <a:gd name="connsiteY122" fmla="*/ 97763 h 923624"/>
              <a:gd name="connsiteX123" fmla="*/ 0 w 900424"/>
              <a:gd name="connsiteY123" fmla="*/ 195399 h 923624"/>
              <a:gd name="connsiteX124" fmla="*/ 0 w 900424"/>
              <a:gd name="connsiteY124" fmla="*/ 195353 h 923624"/>
              <a:gd name="connsiteX125" fmla="*/ 69366 w 900424"/>
              <a:gd name="connsiteY125" fmla="*/ 97745 h 923624"/>
              <a:gd name="connsiteX126" fmla="*/ 177009 w 900424"/>
              <a:gd name="connsiteY126" fmla="*/ 4526 h 923624"/>
              <a:gd name="connsiteX0" fmla="*/ 260828 w 900424"/>
              <a:gd name="connsiteY0" fmla="*/ 764558 h 923534"/>
              <a:gd name="connsiteX1" fmla="*/ 260828 w 900424"/>
              <a:gd name="connsiteY1" fmla="*/ 794070 h 923534"/>
              <a:gd name="connsiteX2" fmla="*/ 752690 w 900424"/>
              <a:gd name="connsiteY2" fmla="*/ 794070 h 923534"/>
              <a:gd name="connsiteX3" fmla="*/ 752690 w 900424"/>
              <a:gd name="connsiteY3" fmla="*/ 764558 h 923534"/>
              <a:gd name="connsiteX4" fmla="*/ 260828 w 900424"/>
              <a:gd name="connsiteY4" fmla="*/ 764558 h 923534"/>
              <a:gd name="connsiteX5" fmla="*/ 523025 w 900424"/>
              <a:gd name="connsiteY5" fmla="*/ 689243 h 923534"/>
              <a:gd name="connsiteX6" fmla="*/ 529392 w 900424"/>
              <a:gd name="connsiteY6" fmla="*/ 718755 h 923534"/>
              <a:gd name="connsiteX7" fmla="*/ 752690 w 900424"/>
              <a:gd name="connsiteY7" fmla="*/ 718755 h 923534"/>
              <a:gd name="connsiteX8" fmla="*/ 752690 w 900424"/>
              <a:gd name="connsiteY8" fmla="*/ 689243 h 923534"/>
              <a:gd name="connsiteX9" fmla="*/ 523025 w 900424"/>
              <a:gd name="connsiteY9" fmla="*/ 689243 h 923534"/>
              <a:gd name="connsiteX10" fmla="*/ 260828 w 900424"/>
              <a:gd name="connsiteY10" fmla="*/ 689243 h 923534"/>
              <a:gd name="connsiteX11" fmla="*/ 260828 w 900424"/>
              <a:gd name="connsiteY11" fmla="*/ 718755 h 923534"/>
              <a:gd name="connsiteX12" fmla="*/ 520342 w 900424"/>
              <a:gd name="connsiteY12" fmla="*/ 718755 h 923534"/>
              <a:gd name="connsiteX13" fmla="*/ 427300 w 900424"/>
              <a:gd name="connsiteY13" fmla="*/ 689243 h 923534"/>
              <a:gd name="connsiteX14" fmla="*/ 260828 w 900424"/>
              <a:gd name="connsiteY14" fmla="*/ 689243 h 923534"/>
              <a:gd name="connsiteX15" fmla="*/ 506777 w 900424"/>
              <a:gd name="connsiteY15" fmla="*/ 613925 h 923534"/>
              <a:gd name="connsiteX16" fmla="*/ 513144 w 900424"/>
              <a:gd name="connsiteY16" fmla="*/ 643437 h 923534"/>
              <a:gd name="connsiteX17" fmla="*/ 752690 w 900424"/>
              <a:gd name="connsiteY17" fmla="*/ 643437 h 923534"/>
              <a:gd name="connsiteX18" fmla="*/ 752690 w 900424"/>
              <a:gd name="connsiteY18" fmla="*/ 613925 h 923534"/>
              <a:gd name="connsiteX19" fmla="*/ 506777 w 900424"/>
              <a:gd name="connsiteY19" fmla="*/ 613925 h 923534"/>
              <a:gd name="connsiteX20" fmla="*/ 260828 w 900424"/>
              <a:gd name="connsiteY20" fmla="*/ 613925 h 923534"/>
              <a:gd name="connsiteX21" fmla="*/ 260828 w 900424"/>
              <a:gd name="connsiteY21" fmla="*/ 643437 h 923534"/>
              <a:gd name="connsiteX22" fmla="*/ 334546 w 900424"/>
              <a:gd name="connsiteY22" fmla="*/ 643437 h 923534"/>
              <a:gd name="connsiteX23" fmla="*/ 307478 w 900424"/>
              <a:gd name="connsiteY23" fmla="*/ 613925 h 923534"/>
              <a:gd name="connsiteX24" fmla="*/ 260828 w 900424"/>
              <a:gd name="connsiteY24" fmla="*/ 613925 h 923534"/>
              <a:gd name="connsiteX25" fmla="*/ 467940 w 900424"/>
              <a:gd name="connsiteY25" fmla="*/ 571317 h 923534"/>
              <a:gd name="connsiteX26" fmla="*/ 385032 w 900424"/>
              <a:gd name="connsiteY26" fmla="*/ 646579 h 923534"/>
              <a:gd name="connsiteX27" fmla="*/ 506739 w 900424"/>
              <a:gd name="connsiteY27" fmla="*/ 697043 h 923534"/>
              <a:gd name="connsiteX28" fmla="*/ 467940 w 900424"/>
              <a:gd name="connsiteY28" fmla="*/ 571317 h 923534"/>
              <a:gd name="connsiteX29" fmla="*/ 260828 w 900424"/>
              <a:gd name="connsiteY29" fmla="*/ 563064 h 923534"/>
              <a:gd name="connsiteX30" fmla="*/ 260828 w 900424"/>
              <a:gd name="connsiteY30" fmla="*/ 568120 h 923534"/>
              <a:gd name="connsiteX31" fmla="*/ 265465 w 900424"/>
              <a:gd name="connsiteY31" fmla="*/ 568120 h 923534"/>
              <a:gd name="connsiteX32" fmla="*/ 260828 w 900424"/>
              <a:gd name="connsiteY32" fmla="*/ 563064 h 923534"/>
              <a:gd name="connsiteX33" fmla="*/ 477023 w 900424"/>
              <a:gd name="connsiteY33" fmla="*/ 538609 h 923534"/>
              <a:gd name="connsiteX34" fmla="*/ 477810 w 900424"/>
              <a:gd name="connsiteY34" fmla="*/ 539466 h 923534"/>
              <a:gd name="connsiteX35" fmla="*/ 481962 w 900424"/>
              <a:gd name="connsiteY35" fmla="*/ 568120 h 923534"/>
              <a:gd name="connsiteX36" fmla="*/ 752690 w 900424"/>
              <a:gd name="connsiteY36" fmla="*/ 568120 h 923534"/>
              <a:gd name="connsiteX37" fmla="*/ 752690 w 900424"/>
              <a:gd name="connsiteY37" fmla="*/ 538609 h 923534"/>
              <a:gd name="connsiteX38" fmla="*/ 477023 w 900424"/>
              <a:gd name="connsiteY38" fmla="*/ 538609 h 923534"/>
              <a:gd name="connsiteX39" fmla="*/ 407941 w 900424"/>
              <a:gd name="connsiteY39" fmla="*/ 463291 h 923534"/>
              <a:gd name="connsiteX40" fmla="*/ 435010 w 900424"/>
              <a:gd name="connsiteY40" fmla="*/ 492803 h 923534"/>
              <a:gd name="connsiteX41" fmla="*/ 752690 w 900424"/>
              <a:gd name="connsiteY41" fmla="*/ 492803 h 923534"/>
              <a:gd name="connsiteX42" fmla="*/ 752690 w 900424"/>
              <a:gd name="connsiteY42" fmla="*/ 463291 h 923534"/>
              <a:gd name="connsiteX43" fmla="*/ 407941 w 900424"/>
              <a:gd name="connsiteY43" fmla="*/ 463291 h 923534"/>
              <a:gd name="connsiteX44" fmla="*/ 338860 w 900424"/>
              <a:gd name="connsiteY44" fmla="*/ 387973 h 923534"/>
              <a:gd name="connsiteX45" fmla="*/ 365929 w 900424"/>
              <a:gd name="connsiteY45" fmla="*/ 417485 h 923534"/>
              <a:gd name="connsiteX46" fmla="*/ 752690 w 900424"/>
              <a:gd name="connsiteY46" fmla="*/ 417485 h 923534"/>
              <a:gd name="connsiteX47" fmla="*/ 752690 w 900424"/>
              <a:gd name="connsiteY47" fmla="*/ 387973 h 923534"/>
              <a:gd name="connsiteX48" fmla="*/ 338860 w 900424"/>
              <a:gd name="connsiteY48" fmla="*/ 387973 h 923534"/>
              <a:gd name="connsiteX49" fmla="*/ 208773 w 900424"/>
              <a:gd name="connsiteY49" fmla="*/ 287844 h 923534"/>
              <a:gd name="connsiteX50" fmla="*/ 191984 w 900424"/>
              <a:gd name="connsiteY50" fmla="*/ 292482 h 923534"/>
              <a:gd name="connsiteX51" fmla="*/ 127335 w 900424"/>
              <a:gd name="connsiteY51" fmla="*/ 351778 h 923534"/>
              <a:gd name="connsiteX52" fmla="*/ 129474 w 900424"/>
              <a:gd name="connsiteY52" fmla="*/ 386557 h 923534"/>
              <a:gd name="connsiteX53" fmla="*/ 350534 w 900424"/>
              <a:gd name="connsiteY53" fmla="*/ 627573 h 923534"/>
              <a:gd name="connsiteX54" fmla="*/ 384998 w 900424"/>
              <a:gd name="connsiteY54" fmla="*/ 632703 h 923534"/>
              <a:gd name="connsiteX55" fmla="*/ 449647 w 900424"/>
              <a:gd name="connsiteY55" fmla="*/ 573407 h 923534"/>
              <a:gd name="connsiteX56" fmla="*/ 447509 w 900424"/>
              <a:gd name="connsiteY56" fmla="*/ 538629 h 923534"/>
              <a:gd name="connsiteX57" fmla="*/ 226448 w 900424"/>
              <a:gd name="connsiteY57" fmla="*/ 297612 h 923534"/>
              <a:gd name="connsiteX58" fmla="*/ 208773 w 900424"/>
              <a:gd name="connsiteY58" fmla="*/ 287844 h 923534"/>
              <a:gd name="connsiteX59" fmla="*/ 260828 w 900424"/>
              <a:gd name="connsiteY59" fmla="*/ 270130 h 923534"/>
              <a:gd name="connsiteX60" fmla="*/ 260828 w 900424"/>
              <a:gd name="connsiteY60" fmla="*/ 302896 h 923534"/>
              <a:gd name="connsiteX61" fmla="*/ 266867 w 900424"/>
              <a:gd name="connsiteY61" fmla="*/ 309479 h 923534"/>
              <a:gd name="connsiteX62" fmla="*/ 555945 w 900424"/>
              <a:gd name="connsiteY62" fmla="*/ 309479 h 923534"/>
              <a:gd name="connsiteX63" fmla="*/ 555945 w 900424"/>
              <a:gd name="connsiteY63" fmla="*/ 270130 h 923534"/>
              <a:gd name="connsiteX64" fmla="*/ 260828 w 900424"/>
              <a:gd name="connsiteY64" fmla="*/ 270130 h 923534"/>
              <a:gd name="connsiteX65" fmla="*/ 593007 w 900424"/>
              <a:gd name="connsiteY65" fmla="*/ 118999 h 923534"/>
              <a:gd name="connsiteX66" fmla="*/ 593004 w 900424"/>
              <a:gd name="connsiteY66" fmla="*/ 272708 h 923534"/>
              <a:gd name="connsiteX67" fmla="*/ 636152 w 900424"/>
              <a:gd name="connsiteY67" fmla="*/ 321246 h 923534"/>
              <a:gd name="connsiteX68" fmla="*/ 797949 w 900424"/>
              <a:gd name="connsiteY68" fmla="*/ 323942 h 923534"/>
              <a:gd name="connsiteX69" fmla="*/ 593007 w 900424"/>
              <a:gd name="connsiteY69" fmla="*/ 118999 h 923534"/>
              <a:gd name="connsiteX70" fmla="*/ 655342 w 900424"/>
              <a:gd name="connsiteY70" fmla="*/ 99358 h 923534"/>
              <a:gd name="connsiteX71" fmla="*/ 721150 w 900424"/>
              <a:gd name="connsiteY71" fmla="*/ 99358 h 923534"/>
              <a:gd name="connsiteX72" fmla="*/ 900424 w 900424"/>
              <a:gd name="connsiteY72" fmla="*/ 280970 h 923534"/>
              <a:gd name="connsiteX73" fmla="*/ 900424 w 900424"/>
              <a:gd name="connsiteY73" fmla="*/ 853426 h 923534"/>
              <a:gd name="connsiteX74" fmla="*/ 852052 w 900424"/>
              <a:gd name="connsiteY74" fmla="*/ 905466 h 923534"/>
              <a:gd name="connsiteX75" fmla="*/ 828360 w 900424"/>
              <a:gd name="connsiteY75" fmla="*/ 905466 h 923534"/>
              <a:gd name="connsiteX76" fmla="*/ 849187 w 900424"/>
              <a:gd name="connsiteY76" fmla="*/ 863377 h 923534"/>
              <a:gd name="connsiteX77" fmla="*/ 849187 w 900424"/>
              <a:gd name="connsiteY77" fmla="*/ 293203 h 923534"/>
              <a:gd name="connsiteX78" fmla="*/ 655342 w 900424"/>
              <a:gd name="connsiteY78" fmla="*/ 99358 h 923534"/>
              <a:gd name="connsiteX79" fmla="*/ 284672 w 900424"/>
              <a:gd name="connsiteY79" fmla="*/ 26454 h 923534"/>
              <a:gd name="connsiteX80" fmla="*/ 306902 w 900424"/>
              <a:gd name="connsiteY80" fmla="*/ 26454 h 923534"/>
              <a:gd name="connsiteX81" fmla="*/ 312459 w 900424"/>
              <a:gd name="connsiteY81" fmla="*/ 32011 h 923534"/>
              <a:gd name="connsiteX82" fmla="*/ 312459 w 900424"/>
              <a:gd name="connsiteY82" fmla="*/ 71044 h 923534"/>
              <a:gd name="connsiteX83" fmla="*/ 341829 w 900424"/>
              <a:gd name="connsiteY83" fmla="*/ 71044 h 923534"/>
              <a:gd name="connsiteX84" fmla="*/ 341829 w 900424"/>
              <a:gd name="connsiteY84" fmla="*/ 32011 h 923534"/>
              <a:gd name="connsiteX85" fmla="*/ 347386 w 900424"/>
              <a:gd name="connsiteY85" fmla="*/ 26454 h 923534"/>
              <a:gd name="connsiteX86" fmla="*/ 369616 w 900424"/>
              <a:gd name="connsiteY86" fmla="*/ 26454 h 923534"/>
              <a:gd name="connsiteX87" fmla="*/ 375173 w 900424"/>
              <a:gd name="connsiteY87" fmla="*/ 32011 h 923534"/>
              <a:gd name="connsiteX88" fmla="*/ 375173 w 900424"/>
              <a:gd name="connsiteY88" fmla="*/ 71044 h 923534"/>
              <a:gd name="connsiteX89" fmla="*/ 404543 w 900424"/>
              <a:gd name="connsiteY89" fmla="*/ 71044 h 923534"/>
              <a:gd name="connsiteX90" fmla="*/ 404543 w 900424"/>
              <a:gd name="connsiteY90" fmla="*/ 32011 h 923534"/>
              <a:gd name="connsiteX91" fmla="*/ 410100 w 900424"/>
              <a:gd name="connsiteY91" fmla="*/ 26454 h 923534"/>
              <a:gd name="connsiteX92" fmla="*/ 432330 w 900424"/>
              <a:gd name="connsiteY92" fmla="*/ 26454 h 923534"/>
              <a:gd name="connsiteX93" fmla="*/ 437887 w 900424"/>
              <a:gd name="connsiteY93" fmla="*/ 32011 h 923534"/>
              <a:gd name="connsiteX94" fmla="*/ 437887 w 900424"/>
              <a:gd name="connsiteY94" fmla="*/ 71044 h 923534"/>
              <a:gd name="connsiteX95" fmla="*/ 467255 w 900424"/>
              <a:gd name="connsiteY95" fmla="*/ 71044 h 923534"/>
              <a:gd name="connsiteX96" fmla="*/ 467255 w 900424"/>
              <a:gd name="connsiteY96" fmla="*/ 32011 h 923534"/>
              <a:gd name="connsiteX97" fmla="*/ 472813 w 900424"/>
              <a:gd name="connsiteY97" fmla="*/ 26454 h 923534"/>
              <a:gd name="connsiteX98" fmla="*/ 495042 w 900424"/>
              <a:gd name="connsiteY98" fmla="*/ 26454 h 923534"/>
              <a:gd name="connsiteX99" fmla="*/ 500600 w 900424"/>
              <a:gd name="connsiteY99" fmla="*/ 32011 h 923534"/>
              <a:gd name="connsiteX100" fmla="*/ 500600 w 900424"/>
              <a:gd name="connsiteY100" fmla="*/ 71044 h 923534"/>
              <a:gd name="connsiteX101" fmla="*/ 606532 w 900424"/>
              <a:gd name="connsiteY101" fmla="*/ 71044 h 923534"/>
              <a:gd name="connsiteX102" fmla="*/ 833814 w 900424"/>
              <a:gd name="connsiteY102" fmla="*/ 298326 h 923534"/>
              <a:gd name="connsiteX103" fmla="*/ 833814 w 900424"/>
              <a:gd name="connsiteY103" fmla="*/ 868500 h 923534"/>
              <a:gd name="connsiteX104" fmla="*/ 778780 w 900424"/>
              <a:gd name="connsiteY104" fmla="*/ 923534 h 923534"/>
              <a:gd name="connsiteX105" fmla="*/ 239864 w 900424"/>
              <a:gd name="connsiteY105" fmla="*/ 923534 h 923534"/>
              <a:gd name="connsiteX106" fmla="*/ 184830 w 900424"/>
              <a:gd name="connsiteY106" fmla="*/ 868500 h 923534"/>
              <a:gd name="connsiteX107" fmla="*/ 184830 w 900424"/>
              <a:gd name="connsiteY107" fmla="*/ 480204 h 923534"/>
              <a:gd name="connsiteX108" fmla="*/ 108913 w 900424"/>
              <a:gd name="connsiteY108" fmla="*/ 397433 h 923534"/>
              <a:gd name="connsiteX109" fmla="*/ 110701 w 900424"/>
              <a:gd name="connsiteY109" fmla="*/ 356021 h 923534"/>
              <a:gd name="connsiteX110" fmla="*/ 184830 w 900424"/>
              <a:gd name="connsiteY110" fmla="*/ 288031 h 923534"/>
              <a:gd name="connsiteX111" fmla="*/ 184830 w 900424"/>
              <a:gd name="connsiteY111" fmla="*/ 255689 h 923534"/>
              <a:gd name="connsiteX112" fmla="*/ 182259 w 900424"/>
              <a:gd name="connsiteY112" fmla="*/ 258049 h 923534"/>
              <a:gd name="connsiteX113" fmla="*/ 181841 w 900424"/>
              <a:gd name="connsiteY113" fmla="*/ 251257 h 923534"/>
              <a:gd name="connsiteX114" fmla="*/ 140694 w 900424"/>
              <a:gd name="connsiteY114" fmla="*/ 206396 h 923534"/>
              <a:gd name="connsiteX115" fmla="*/ 121321 w 900424"/>
              <a:gd name="connsiteY115" fmla="*/ 203511 h 923534"/>
              <a:gd name="connsiteX116" fmla="*/ 42515 w 900424"/>
              <a:gd name="connsiteY116" fmla="*/ 275789 h 923534"/>
              <a:gd name="connsiteX117" fmla="*/ 43718 w 900424"/>
              <a:gd name="connsiteY117" fmla="*/ 295339 h 923534"/>
              <a:gd name="connsiteX118" fmla="*/ 84866 w 900424"/>
              <a:gd name="connsiteY118" fmla="*/ 340201 h 923534"/>
              <a:gd name="connsiteX119" fmla="*/ 91596 w 900424"/>
              <a:gd name="connsiteY119" fmla="*/ 341203 h 923534"/>
              <a:gd name="connsiteX120" fmla="*/ 83614 w 900424"/>
              <a:gd name="connsiteY120" fmla="*/ 348524 h 923534"/>
              <a:gd name="connsiteX121" fmla="*/ 60335 w 900424"/>
              <a:gd name="connsiteY121" fmla="*/ 347519 h 923534"/>
              <a:gd name="connsiteX122" fmla="*/ 15793 w 900424"/>
              <a:gd name="connsiteY122" fmla="*/ 298955 h 923534"/>
              <a:gd name="connsiteX123" fmla="*/ 16799 w 900424"/>
              <a:gd name="connsiteY123" fmla="*/ 275676 h 923534"/>
              <a:gd name="connsiteX124" fmla="*/ 122114 w 900424"/>
              <a:gd name="connsiteY124" fmla="*/ 179082 h 923534"/>
              <a:gd name="connsiteX125" fmla="*/ 145393 w 900424"/>
              <a:gd name="connsiteY125" fmla="*/ 180087 h 923534"/>
              <a:gd name="connsiteX126" fmla="*/ 184830 w 900424"/>
              <a:gd name="connsiteY126" fmla="*/ 223084 h 923534"/>
              <a:gd name="connsiteX127" fmla="*/ 184830 w 900424"/>
              <a:gd name="connsiteY127" fmla="*/ 126079 h 923534"/>
              <a:gd name="connsiteX128" fmla="*/ 239864 w 900424"/>
              <a:gd name="connsiteY128" fmla="*/ 71044 h 923534"/>
              <a:gd name="connsiteX129" fmla="*/ 279115 w 900424"/>
              <a:gd name="connsiteY129" fmla="*/ 71044 h 923534"/>
              <a:gd name="connsiteX130" fmla="*/ 279115 w 900424"/>
              <a:gd name="connsiteY130" fmla="*/ 32011 h 923534"/>
              <a:gd name="connsiteX131" fmla="*/ 284672 w 900424"/>
              <a:gd name="connsiteY131" fmla="*/ 26454 h 923534"/>
              <a:gd name="connsiteX132" fmla="*/ 177009 w 900424"/>
              <a:gd name="connsiteY132" fmla="*/ 4436 h 923534"/>
              <a:gd name="connsiteX133" fmla="*/ 185239 w 900424"/>
              <a:gd name="connsiteY133" fmla="*/ 0 h 923534"/>
              <a:gd name="connsiteX134" fmla="*/ 177024 w 900424"/>
              <a:gd name="connsiteY134" fmla="*/ 4459 h 923534"/>
              <a:gd name="connsiteX135" fmla="*/ 69385 w 900424"/>
              <a:gd name="connsiteY135" fmla="*/ 97673 h 923534"/>
              <a:gd name="connsiteX136" fmla="*/ 0 w 900424"/>
              <a:gd name="connsiteY136" fmla="*/ 195309 h 923534"/>
              <a:gd name="connsiteX137" fmla="*/ 0 w 900424"/>
              <a:gd name="connsiteY137" fmla="*/ 195263 h 923534"/>
              <a:gd name="connsiteX138" fmla="*/ 69366 w 900424"/>
              <a:gd name="connsiteY138" fmla="*/ 97655 h 923534"/>
              <a:gd name="connsiteX139" fmla="*/ 177009 w 900424"/>
              <a:gd name="connsiteY139" fmla="*/ 4436 h 923534"/>
              <a:gd name="connsiteX0" fmla="*/ 260828 w 900424"/>
              <a:gd name="connsiteY0" fmla="*/ 764558 h 923534"/>
              <a:gd name="connsiteX1" fmla="*/ 260828 w 900424"/>
              <a:gd name="connsiteY1" fmla="*/ 794070 h 923534"/>
              <a:gd name="connsiteX2" fmla="*/ 752690 w 900424"/>
              <a:gd name="connsiteY2" fmla="*/ 794070 h 923534"/>
              <a:gd name="connsiteX3" fmla="*/ 752690 w 900424"/>
              <a:gd name="connsiteY3" fmla="*/ 764558 h 923534"/>
              <a:gd name="connsiteX4" fmla="*/ 260828 w 900424"/>
              <a:gd name="connsiteY4" fmla="*/ 764558 h 923534"/>
              <a:gd name="connsiteX5" fmla="*/ 523025 w 900424"/>
              <a:gd name="connsiteY5" fmla="*/ 689243 h 923534"/>
              <a:gd name="connsiteX6" fmla="*/ 529392 w 900424"/>
              <a:gd name="connsiteY6" fmla="*/ 718755 h 923534"/>
              <a:gd name="connsiteX7" fmla="*/ 752690 w 900424"/>
              <a:gd name="connsiteY7" fmla="*/ 718755 h 923534"/>
              <a:gd name="connsiteX8" fmla="*/ 752690 w 900424"/>
              <a:gd name="connsiteY8" fmla="*/ 689243 h 923534"/>
              <a:gd name="connsiteX9" fmla="*/ 523025 w 900424"/>
              <a:gd name="connsiteY9" fmla="*/ 689243 h 923534"/>
              <a:gd name="connsiteX10" fmla="*/ 260828 w 900424"/>
              <a:gd name="connsiteY10" fmla="*/ 689243 h 923534"/>
              <a:gd name="connsiteX11" fmla="*/ 260828 w 900424"/>
              <a:gd name="connsiteY11" fmla="*/ 718755 h 923534"/>
              <a:gd name="connsiteX12" fmla="*/ 520342 w 900424"/>
              <a:gd name="connsiteY12" fmla="*/ 718755 h 923534"/>
              <a:gd name="connsiteX13" fmla="*/ 427300 w 900424"/>
              <a:gd name="connsiteY13" fmla="*/ 689243 h 923534"/>
              <a:gd name="connsiteX14" fmla="*/ 260828 w 900424"/>
              <a:gd name="connsiteY14" fmla="*/ 689243 h 923534"/>
              <a:gd name="connsiteX15" fmla="*/ 506777 w 900424"/>
              <a:gd name="connsiteY15" fmla="*/ 613925 h 923534"/>
              <a:gd name="connsiteX16" fmla="*/ 513144 w 900424"/>
              <a:gd name="connsiteY16" fmla="*/ 643437 h 923534"/>
              <a:gd name="connsiteX17" fmla="*/ 752690 w 900424"/>
              <a:gd name="connsiteY17" fmla="*/ 643437 h 923534"/>
              <a:gd name="connsiteX18" fmla="*/ 752690 w 900424"/>
              <a:gd name="connsiteY18" fmla="*/ 613925 h 923534"/>
              <a:gd name="connsiteX19" fmla="*/ 506777 w 900424"/>
              <a:gd name="connsiteY19" fmla="*/ 613925 h 923534"/>
              <a:gd name="connsiteX20" fmla="*/ 260828 w 900424"/>
              <a:gd name="connsiteY20" fmla="*/ 613925 h 923534"/>
              <a:gd name="connsiteX21" fmla="*/ 260828 w 900424"/>
              <a:gd name="connsiteY21" fmla="*/ 643437 h 923534"/>
              <a:gd name="connsiteX22" fmla="*/ 334546 w 900424"/>
              <a:gd name="connsiteY22" fmla="*/ 643437 h 923534"/>
              <a:gd name="connsiteX23" fmla="*/ 307478 w 900424"/>
              <a:gd name="connsiteY23" fmla="*/ 613925 h 923534"/>
              <a:gd name="connsiteX24" fmla="*/ 260828 w 900424"/>
              <a:gd name="connsiteY24" fmla="*/ 613925 h 923534"/>
              <a:gd name="connsiteX25" fmla="*/ 467940 w 900424"/>
              <a:gd name="connsiteY25" fmla="*/ 571317 h 923534"/>
              <a:gd name="connsiteX26" fmla="*/ 385032 w 900424"/>
              <a:gd name="connsiteY26" fmla="*/ 646579 h 923534"/>
              <a:gd name="connsiteX27" fmla="*/ 506739 w 900424"/>
              <a:gd name="connsiteY27" fmla="*/ 697043 h 923534"/>
              <a:gd name="connsiteX28" fmla="*/ 467940 w 900424"/>
              <a:gd name="connsiteY28" fmla="*/ 571317 h 923534"/>
              <a:gd name="connsiteX29" fmla="*/ 260828 w 900424"/>
              <a:gd name="connsiteY29" fmla="*/ 563064 h 923534"/>
              <a:gd name="connsiteX30" fmla="*/ 260828 w 900424"/>
              <a:gd name="connsiteY30" fmla="*/ 568120 h 923534"/>
              <a:gd name="connsiteX31" fmla="*/ 265465 w 900424"/>
              <a:gd name="connsiteY31" fmla="*/ 568120 h 923534"/>
              <a:gd name="connsiteX32" fmla="*/ 260828 w 900424"/>
              <a:gd name="connsiteY32" fmla="*/ 563064 h 923534"/>
              <a:gd name="connsiteX33" fmla="*/ 477023 w 900424"/>
              <a:gd name="connsiteY33" fmla="*/ 538609 h 923534"/>
              <a:gd name="connsiteX34" fmla="*/ 477810 w 900424"/>
              <a:gd name="connsiteY34" fmla="*/ 539466 h 923534"/>
              <a:gd name="connsiteX35" fmla="*/ 481962 w 900424"/>
              <a:gd name="connsiteY35" fmla="*/ 568120 h 923534"/>
              <a:gd name="connsiteX36" fmla="*/ 752690 w 900424"/>
              <a:gd name="connsiteY36" fmla="*/ 568120 h 923534"/>
              <a:gd name="connsiteX37" fmla="*/ 752690 w 900424"/>
              <a:gd name="connsiteY37" fmla="*/ 538609 h 923534"/>
              <a:gd name="connsiteX38" fmla="*/ 477023 w 900424"/>
              <a:gd name="connsiteY38" fmla="*/ 538609 h 923534"/>
              <a:gd name="connsiteX39" fmla="*/ 407941 w 900424"/>
              <a:gd name="connsiteY39" fmla="*/ 463291 h 923534"/>
              <a:gd name="connsiteX40" fmla="*/ 435010 w 900424"/>
              <a:gd name="connsiteY40" fmla="*/ 492803 h 923534"/>
              <a:gd name="connsiteX41" fmla="*/ 752690 w 900424"/>
              <a:gd name="connsiteY41" fmla="*/ 492803 h 923534"/>
              <a:gd name="connsiteX42" fmla="*/ 752690 w 900424"/>
              <a:gd name="connsiteY42" fmla="*/ 463291 h 923534"/>
              <a:gd name="connsiteX43" fmla="*/ 407941 w 900424"/>
              <a:gd name="connsiteY43" fmla="*/ 463291 h 923534"/>
              <a:gd name="connsiteX44" fmla="*/ 338860 w 900424"/>
              <a:gd name="connsiteY44" fmla="*/ 387973 h 923534"/>
              <a:gd name="connsiteX45" fmla="*/ 365929 w 900424"/>
              <a:gd name="connsiteY45" fmla="*/ 417485 h 923534"/>
              <a:gd name="connsiteX46" fmla="*/ 752690 w 900424"/>
              <a:gd name="connsiteY46" fmla="*/ 417485 h 923534"/>
              <a:gd name="connsiteX47" fmla="*/ 752690 w 900424"/>
              <a:gd name="connsiteY47" fmla="*/ 387973 h 923534"/>
              <a:gd name="connsiteX48" fmla="*/ 338860 w 900424"/>
              <a:gd name="connsiteY48" fmla="*/ 387973 h 923534"/>
              <a:gd name="connsiteX49" fmla="*/ 208773 w 900424"/>
              <a:gd name="connsiteY49" fmla="*/ 287844 h 923534"/>
              <a:gd name="connsiteX50" fmla="*/ 191984 w 900424"/>
              <a:gd name="connsiteY50" fmla="*/ 292482 h 923534"/>
              <a:gd name="connsiteX51" fmla="*/ 127335 w 900424"/>
              <a:gd name="connsiteY51" fmla="*/ 351778 h 923534"/>
              <a:gd name="connsiteX52" fmla="*/ 129474 w 900424"/>
              <a:gd name="connsiteY52" fmla="*/ 386557 h 923534"/>
              <a:gd name="connsiteX53" fmla="*/ 350534 w 900424"/>
              <a:gd name="connsiteY53" fmla="*/ 627573 h 923534"/>
              <a:gd name="connsiteX54" fmla="*/ 384998 w 900424"/>
              <a:gd name="connsiteY54" fmla="*/ 632703 h 923534"/>
              <a:gd name="connsiteX55" fmla="*/ 449647 w 900424"/>
              <a:gd name="connsiteY55" fmla="*/ 573407 h 923534"/>
              <a:gd name="connsiteX56" fmla="*/ 447509 w 900424"/>
              <a:gd name="connsiteY56" fmla="*/ 538629 h 923534"/>
              <a:gd name="connsiteX57" fmla="*/ 226448 w 900424"/>
              <a:gd name="connsiteY57" fmla="*/ 297612 h 923534"/>
              <a:gd name="connsiteX58" fmla="*/ 208773 w 900424"/>
              <a:gd name="connsiteY58" fmla="*/ 287844 h 923534"/>
              <a:gd name="connsiteX59" fmla="*/ 260828 w 900424"/>
              <a:gd name="connsiteY59" fmla="*/ 270130 h 923534"/>
              <a:gd name="connsiteX60" fmla="*/ 260828 w 900424"/>
              <a:gd name="connsiteY60" fmla="*/ 302896 h 923534"/>
              <a:gd name="connsiteX61" fmla="*/ 266867 w 900424"/>
              <a:gd name="connsiteY61" fmla="*/ 309479 h 923534"/>
              <a:gd name="connsiteX62" fmla="*/ 555945 w 900424"/>
              <a:gd name="connsiteY62" fmla="*/ 309479 h 923534"/>
              <a:gd name="connsiteX63" fmla="*/ 555945 w 900424"/>
              <a:gd name="connsiteY63" fmla="*/ 270130 h 923534"/>
              <a:gd name="connsiteX64" fmla="*/ 260828 w 900424"/>
              <a:gd name="connsiteY64" fmla="*/ 270130 h 923534"/>
              <a:gd name="connsiteX65" fmla="*/ 593007 w 900424"/>
              <a:gd name="connsiteY65" fmla="*/ 118999 h 923534"/>
              <a:gd name="connsiteX66" fmla="*/ 593004 w 900424"/>
              <a:gd name="connsiteY66" fmla="*/ 272708 h 923534"/>
              <a:gd name="connsiteX67" fmla="*/ 636152 w 900424"/>
              <a:gd name="connsiteY67" fmla="*/ 321246 h 923534"/>
              <a:gd name="connsiteX68" fmla="*/ 797949 w 900424"/>
              <a:gd name="connsiteY68" fmla="*/ 323942 h 923534"/>
              <a:gd name="connsiteX69" fmla="*/ 593007 w 900424"/>
              <a:gd name="connsiteY69" fmla="*/ 118999 h 923534"/>
              <a:gd name="connsiteX70" fmla="*/ 655342 w 900424"/>
              <a:gd name="connsiteY70" fmla="*/ 99358 h 923534"/>
              <a:gd name="connsiteX71" fmla="*/ 721150 w 900424"/>
              <a:gd name="connsiteY71" fmla="*/ 99358 h 923534"/>
              <a:gd name="connsiteX72" fmla="*/ 900424 w 900424"/>
              <a:gd name="connsiteY72" fmla="*/ 280970 h 923534"/>
              <a:gd name="connsiteX73" fmla="*/ 900424 w 900424"/>
              <a:gd name="connsiteY73" fmla="*/ 853426 h 923534"/>
              <a:gd name="connsiteX74" fmla="*/ 852052 w 900424"/>
              <a:gd name="connsiteY74" fmla="*/ 905466 h 923534"/>
              <a:gd name="connsiteX75" fmla="*/ 828360 w 900424"/>
              <a:gd name="connsiteY75" fmla="*/ 905466 h 923534"/>
              <a:gd name="connsiteX76" fmla="*/ 849187 w 900424"/>
              <a:gd name="connsiteY76" fmla="*/ 863377 h 923534"/>
              <a:gd name="connsiteX77" fmla="*/ 849187 w 900424"/>
              <a:gd name="connsiteY77" fmla="*/ 293203 h 923534"/>
              <a:gd name="connsiteX78" fmla="*/ 655342 w 900424"/>
              <a:gd name="connsiteY78" fmla="*/ 99358 h 923534"/>
              <a:gd name="connsiteX79" fmla="*/ 284672 w 900424"/>
              <a:gd name="connsiteY79" fmla="*/ 26454 h 923534"/>
              <a:gd name="connsiteX80" fmla="*/ 306902 w 900424"/>
              <a:gd name="connsiteY80" fmla="*/ 26454 h 923534"/>
              <a:gd name="connsiteX81" fmla="*/ 312459 w 900424"/>
              <a:gd name="connsiteY81" fmla="*/ 32011 h 923534"/>
              <a:gd name="connsiteX82" fmla="*/ 312459 w 900424"/>
              <a:gd name="connsiteY82" fmla="*/ 71044 h 923534"/>
              <a:gd name="connsiteX83" fmla="*/ 341829 w 900424"/>
              <a:gd name="connsiteY83" fmla="*/ 71044 h 923534"/>
              <a:gd name="connsiteX84" fmla="*/ 341829 w 900424"/>
              <a:gd name="connsiteY84" fmla="*/ 32011 h 923534"/>
              <a:gd name="connsiteX85" fmla="*/ 347386 w 900424"/>
              <a:gd name="connsiteY85" fmla="*/ 26454 h 923534"/>
              <a:gd name="connsiteX86" fmla="*/ 369616 w 900424"/>
              <a:gd name="connsiteY86" fmla="*/ 26454 h 923534"/>
              <a:gd name="connsiteX87" fmla="*/ 375173 w 900424"/>
              <a:gd name="connsiteY87" fmla="*/ 32011 h 923534"/>
              <a:gd name="connsiteX88" fmla="*/ 375173 w 900424"/>
              <a:gd name="connsiteY88" fmla="*/ 71044 h 923534"/>
              <a:gd name="connsiteX89" fmla="*/ 404543 w 900424"/>
              <a:gd name="connsiteY89" fmla="*/ 71044 h 923534"/>
              <a:gd name="connsiteX90" fmla="*/ 404543 w 900424"/>
              <a:gd name="connsiteY90" fmla="*/ 32011 h 923534"/>
              <a:gd name="connsiteX91" fmla="*/ 410100 w 900424"/>
              <a:gd name="connsiteY91" fmla="*/ 26454 h 923534"/>
              <a:gd name="connsiteX92" fmla="*/ 432330 w 900424"/>
              <a:gd name="connsiteY92" fmla="*/ 26454 h 923534"/>
              <a:gd name="connsiteX93" fmla="*/ 437887 w 900424"/>
              <a:gd name="connsiteY93" fmla="*/ 32011 h 923534"/>
              <a:gd name="connsiteX94" fmla="*/ 437887 w 900424"/>
              <a:gd name="connsiteY94" fmla="*/ 71044 h 923534"/>
              <a:gd name="connsiteX95" fmla="*/ 467255 w 900424"/>
              <a:gd name="connsiteY95" fmla="*/ 71044 h 923534"/>
              <a:gd name="connsiteX96" fmla="*/ 467255 w 900424"/>
              <a:gd name="connsiteY96" fmla="*/ 32011 h 923534"/>
              <a:gd name="connsiteX97" fmla="*/ 472813 w 900424"/>
              <a:gd name="connsiteY97" fmla="*/ 26454 h 923534"/>
              <a:gd name="connsiteX98" fmla="*/ 495042 w 900424"/>
              <a:gd name="connsiteY98" fmla="*/ 26454 h 923534"/>
              <a:gd name="connsiteX99" fmla="*/ 500600 w 900424"/>
              <a:gd name="connsiteY99" fmla="*/ 32011 h 923534"/>
              <a:gd name="connsiteX100" fmla="*/ 500600 w 900424"/>
              <a:gd name="connsiteY100" fmla="*/ 71044 h 923534"/>
              <a:gd name="connsiteX101" fmla="*/ 606532 w 900424"/>
              <a:gd name="connsiteY101" fmla="*/ 71044 h 923534"/>
              <a:gd name="connsiteX102" fmla="*/ 833814 w 900424"/>
              <a:gd name="connsiteY102" fmla="*/ 298326 h 923534"/>
              <a:gd name="connsiteX103" fmla="*/ 833814 w 900424"/>
              <a:gd name="connsiteY103" fmla="*/ 868500 h 923534"/>
              <a:gd name="connsiteX104" fmla="*/ 778780 w 900424"/>
              <a:gd name="connsiteY104" fmla="*/ 923534 h 923534"/>
              <a:gd name="connsiteX105" fmla="*/ 239864 w 900424"/>
              <a:gd name="connsiteY105" fmla="*/ 923534 h 923534"/>
              <a:gd name="connsiteX106" fmla="*/ 184830 w 900424"/>
              <a:gd name="connsiteY106" fmla="*/ 868500 h 923534"/>
              <a:gd name="connsiteX107" fmla="*/ 184830 w 900424"/>
              <a:gd name="connsiteY107" fmla="*/ 480204 h 923534"/>
              <a:gd name="connsiteX108" fmla="*/ 108913 w 900424"/>
              <a:gd name="connsiteY108" fmla="*/ 397433 h 923534"/>
              <a:gd name="connsiteX109" fmla="*/ 110701 w 900424"/>
              <a:gd name="connsiteY109" fmla="*/ 356021 h 923534"/>
              <a:gd name="connsiteX110" fmla="*/ 184830 w 900424"/>
              <a:gd name="connsiteY110" fmla="*/ 288031 h 923534"/>
              <a:gd name="connsiteX111" fmla="*/ 184830 w 900424"/>
              <a:gd name="connsiteY111" fmla="*/ 255689 h 923534"/>
              <a:gd name="connsiteX112" fmla="*/ 182259 w 900424"/>
              <a:gd name="connsiteY112" fmla="*/ 258049 h 923534"/>
              <a:gd name="connsiteX113" fmla="*/ 181841 w 900424"/>
              <a:gd name="connsiteY113" fmla="*/ 251257 h 923534"/>
              <a:gd name="connsiteX114" fmla="*/ 140694 w 900424"/>
              <a:gd name="connsiteY114" fmla="*/ 206396 h 923534"/>
              <a:gd name="connsiteX115" fmla="*/ 121321 w 900424"/>
              <a:gd name="connsiteY115" fmla="*/ 203511 h 923534"/>
              <a:gd name="connsiteX116" fmla="*/ 42515 w 900424"/>
              <a:gd name="connsiteY116" fmla="*/ 275789 h 923534"/>
              <a:gd name="connsiteX117" fmla="*/ 43718 w 900424"/>
              <a:gd name="connsiteY117" fmla="*/ 295339 h 923534"/>
              <a:gd name="connsiteX118" fmla="*/ 84866 w 900424"/>
              <a:gd name="connsiteY118" fmla="*/ 340201 h 923534"/>
              <a:gd name="connsiteX119" fmla="*/ 91596 w 900424"/>
              <a:gd name="connsiteY119" fmla="*/ 341203 h 923534"/>
              <a:gd name="connsiteX120" fmla="*/ 83614 w 900424"/>
              <a:gd name="connsiteY120" fmla="*/ 348524 h 923534"/>
              <a:gd name="connsiteX121" fmla="*/ 60335 w 900424"/>
              <a:gd name="connsiteY121" fmla="*/ 347519 h 923534"/>
              <a:gd name="connsiteX122" fmla="*/ 15793 w 900424"/>
              <a:gd name="connsiteY122" fmla="*/ 298955 h 923534"/>
              <a:gd name="connsiteX123" fmla="*/ 16799 w 900424"/>
              <a:gd name="connsiteY123" fmla="*/ 275676 h 923534"/>
              <a:gd name="connsiteX124" fmla="*/ 122114 w 900424"/>
              <a:gd name="connsiteY124" fmla="*/ 179082 h 923534"/>
              <a:gd name="connsiteX125" fmla="*/ 145393 w 900424"/>
              <a:gd name="connsiteY125" fmla="*/ 180087 h 923534"/>
              <a:gd name="connsiteX126" fmla="*/ 184830 w 900424"/>
              <a:gd name="connsiteY126" fmla="*/ 223084 h 923534"/>
              <a:gd name="connsiteX127" fmla="*/ 184830 w 900424"/>
              <a:gd name="connsiteY127" fmla="*/ 126079 h 923534"/>
              <a:gd name="connsiteX128" fmla="*/ 239864 w 900424"/>
              <a:gd name="connsiteY128" fmla="*/ 71044 h 923534"/>
              <a:gd name="connsiteX129" fmla="*/ 279115 w 900424"/>
              <a:gd name="connsiteY129" fmla="*/ 71044 h 923534"/>
              <a:gd name="connsiteX130" fmla="*/ 279115 w 900424"/>
              <a:gd name="connsiteY130" fmla="*/ 32011 h 923534"/>
              <a:gd name="connsiteX131" fmla="*/ 284672 w 900424"/>
              <a:gd name="connsiteY131" fmla="*/ 26454 h 923534"/>
              <a:gd name="connsiteX132" fmla="*/ 69366 w 900424"/>
              <a:gd name="connsiteY132" fmla="*/ 97655 h 923534"/>
              <a:gd name="connsiteX133" fmla="*/ 185239 w 900424"/>
              <a:gd name="connsiteY133" fmla="*/ 0 h 923534"/>
              <a:gd name="connsiteX134" fmla="*/ 177024 w 900424"/>
              <a:gd name="connsiteY134" fmla="*/ 4459 h 923534"/>
              <a:gd name="connsiteX135" fmla="*/ 69385 w 900424"/>
              <a:gd name="connsiteY135" fmla="*/ 97673 h 923534"/>
              <a:gd name="connsiteX136" fmla="*/ 0 w 900424"/>
              <a:gd name="connsiteY136" fmla="*/ 195309 h 923534"/>
              <a:gd name="connsiteX137" fmla="*/ 0 w 900424"/>
              <a:gd name="connsiteY137" fmla="*/ 195263 h 923534"/>
              <a:gd name="connsiteX138" fmla="*/ 69366 w 900424"/>
              <a:gd name="connsiteY138" fmla="*/ 97655 h 923534"/>
              <a:gd name="connsiteX0" fmla="*/ 260828 w 900424"/>
              <a:gd name="connsiteY0" fmla="*/ 764558 h 923534"/>
              <a:gd name="connsiteX1" fmla="*/ 260828 w 900424"/>
              <a:gd name="connsiteY1" fmla="*/ 794070 h 923534"/>
              <a:gd name="connsiteX2" fmla="*/ 752690 w 900424"/>
              <a:gd name="connsiteY2" fmla="*/ 794070 h 923534"/>
              <a:gd name="connsiteX3" fmla="*/ 752690 w 900424"/>
              <a:gd name="connsiteY3" fmla="*/ 764558 h 923534"/>
              <a:gd name="connsiteX4" fmla="*/ 260828 w 900424"/>
              <a:gd name="connsiteY4" fmla="*/ 764558 h 923534"/>
              <a:gd name="connsiteX5" fmla="*/ 523025 w 900424"/>
              <a:gd name="connsiteY5" fmla="*/ 689243 h 923534"/>
              <a:gd name="connsiteX6" fmla="*/ 529392 w 900424"/>
              <a:gd name="connsiteY6" fmla="*/ 718755 h 923534"/>
              <a:gd name="connsiteX7" fmla="*/ 752690 w 900424"/>
              <a:gd name="connsiteY7" fmla="*/ 718755 h 923534"/>
              <a:gd name="connsiteX8" fmla="*/ 752690 w 900424"/>
              <a:gd name="connsiteY8" fmla="*/ 689243 h 923534"/>
              <a:gd name="connsiteX9" fmla="*/ 523025 w 900424"/>
              <a:gd name="connsiteY9" fmla="*/ 689243 h 923534"/>
              <a:gd name="connsiteX10" fmla="*/ 260828 w 900424"/>
              <a:gd name="connsiteY10" fmla="*/ 689243 h 923534"/>
              <a:gd name="connsiteX11" fmla="*/ 260828 w 900424"/>
              <a:gd name="connsiteY11" fmla="*/ 718755 h 923534"/>
              <a:gd name="connsiteX12" fmla="*/ 520342 w 900424"/>
              <a:gd name="connsiteY12" fmla="*/ 718755 h 923534"/>
              <a:gd name="connsiteX13" fmla="*/ 427300 w 900424"/>
              <a:gd name="connsiteY13" fmla="*/ 689243 h 923534"/>
              <a:gd name="connsiteX14" fmla="*/ 260828 w 900424"/>
              <a:gd name="connsiteY14" fmla="*/ 689243 h 923534"/>
              <a:gd name="connsiteX15" fmla="*/ 506777 w 900424"/>
              <a:gd name="connsiteY15" fmla="*/ 613925 h 923534"/>
              <a:gd name="connsiteX16" fmla="*/ 513144 w 900424"/>
              <a:gd name="connsiteY16" fmla="*/ 643437 h 923534"/>
              <a:gd name="connsiteX17" fmla="*/ 752690 w 900424"/>
              <a:gd name="connsiteY17" fmla="*/ 643437 h 923534"/>
              <a:gd name="connsiteX18" fmla="*/ 752690 w 900424"/>
              <a:gd name="connsiteY18" fmla="*/ 613925 h 923534"/>
              <a:gd name="connsiteX19" fmla="*/ 506777 w 900424"/>
              <a:gd name="connsiteY19" fmla="*/ 613925 h 923534"/>
              <a:gd name="connsiteX20" fmla="*/ 260828 w 900424"/>
              <a:gd name="connsiteY20" fmla="*/ 613925 h 923534"/>
              <a:gd name="connsiteX21" fmla="*/ 260828 w 900424"/>
              <a:gd name="connsiteY21" fmla="*/ 643437 h 923534"/>
              <a:gd name="connsiteX22" fmla="*/ 334546 w 900424"/>
              <a:gd name="connsiteY22" fmla="*/ 643437 h 923534"/>
              <a:gd name="connsiteX23" fmla="*/ 307478 w 900424"/>
              <a:gd name="connsiteY23" fmla="*/ 613925 h 923534"/>
              <a:gd name="connsiteX24" fmla="*/ 260828 w 900424"/>
              <a:gd name="connsiteY24" fmla="*/ 613925 h 923534"/>
              <a:gd name="connsiteX25" fmla="*/ 467940 w 900424"/>
              <a:gd name="connsiteY25" fmla="*/ 571317 h 923534"/>
              <a:gd name="connsiteX26" fmla="*/ 385032 w 900424"/>
              <a:gd name="connsiteY26" fmla="*/ 646579 h 923534"/>
              <a:gd name="connsiteX27" fmla="*/ 506739 w 900424"/>
              <a:gd name="connsiteY27" fmla="*/ 697043 h 923534"/>
              <a:gd name="connsiteX28" fmla="*/ 467940 w 900424"/>
              <a:gd name="connsiteY28" fmla="*/ 571317 h 923534"/>
              <a:gd name="connsiteX29" fmla="*/ 260828 w 900424"/>
              <a:gd name="connsiteY29" fmla="*/ 563064 h 923534"/>
              <a:gd name="connsiteX30" fmla="*/ 260828 w 900424"/>
              <a:gd name="connsiteY30" fmla="*/ 568120 h 923534"/>
              <a:gd name="connsiteX31" fmla="*/ 265465 w 900424"/>
              <a:gd name="connsiteY31" fmla="*/ 568120 h 923534"/>
              <a:gd name="connsiteX32" fmla="*/ 260828 w 900424"/>
              <a:gd name="connsiteY32" fmla="*/ 563064 h 923534"/>
              <a:gd name="connsiteX33" fmla="*/ 477023 w 900424"/>
              <a:gd name="connsiteY33" fmla="*/ 538609 h 923534"/>
              <a:gd name="connsiteX34" fmla="*/ 477810 w 900424"/>
              <a:gd name="connsiteY34" fmla="*/ 539466 h 923534"/>
              <a:gd name="connsiteX35" fmla="*/ 481962 w 900424"/>
              <a:gd name="connsiteY35" fmla="*/ 568120 h 923534"/>
              <a:gd name="connsiteX36" fmla="*/ 752690 w 900424"/>
              <a:gd name="connsiteY36" fmla="*/ 568120 h 923534"/>
              <a:gd name="connsiteX37" fmla="*/ 752690 w 900424"/>
              <a:gd name="connsiteY37" fmla="*/ 538609 h 923534"/>
              <a:gd name="connsiteX38" fmla="*/ 477023 w 900424"/>
              <a:gd name="connsiteY38" fmla="*/ 538609 h 923534"/>
              <a:gd name="connsiteX39" fmla="*/ 407941 w 900424"/>
              <a:gd name="connsiteY39" fmla="*/ 463291 h 923534"/>
              <a:gd name="connsiteX40" fmla="*/ 435010 w 900424"/>
              <a:gd name="connsiteY40" fmla="*/ 492803 h 923534"/>
              <a:gd name="connsiteX41" fmla="*/ 752690 w 900424"/>
              <a:gd name="connsiteY41" fmla="*/ 492803 h 923534"/>
              <a:gd name="connsiteX42" fmla="*/ 752690 w 900424"/>
              <a:gd name="connsiteY42" fmla="*/ 463291 h 923534"/>
              <a:gd name="connsiteX43" fmla="*/ 407941 w 900424"/>
              <a:gd name="connsiteY43" fmla="*/ 463291 h 923534"/>
              <a:gd name="connsiteX44" fmla="*/ 338860 w 900424"/>
              <a:gd name="connsiteY44" fmla="*/ 387973 h 923534"/>
              <a:gd name="connsiteX45" fmla="*/ 365929 w 900424"/>
              <a:gd name="connsiteY45" fmla="*/ 417485 h 923534"/>
              <a:gd name="connsiteX46" fmla="*/ 752690 w 900424"/>
              <a:gd name="connsiteY46" fmla="*/ 417485 h 923534"/>
              <a:gd name="connsiteX47" fmla="*/ 752690 w 900424"/>
              <a:gd name="connsiteY47" fmla="*/ 387973 h 923534"/>
              <a:gd name="connsiteX48" fmla="*/ 338860 w 900424"/>
              <a:gd name="connsiteY48" fmla="*/ 387973 h 923534"/>
              <a:gd name="connsiteX49" fmla="*/ 208773 w 900424"/>
              <a:gd name="connsiteY49" fmla="*/ 287844 h 923534"/>
              <a:gd name="connsiteX50" fmla="*/ 191984 w 900424"/>
              <a:gd name="connsiteY50" fmla="*/ 292482 h 923534"/>
              <a:gd name="connsiteX51" fmla="*/ 127335 w 900424"/>
              <a:gd name="connsiteY51" fmla="*/ 351778 h 923534"/>
              <a:gd name="connsiteX52" fmla="*/ 129474 w 900424"/>
              <a:gd name="connsiteY52" fmla="*/ 386557 h 923534"/>
              <a:gd name="connsiteX53" fmla="*/ 350534 w 900424"/>
              <a:gd name="connsiteY53" fmla="*/ 627573 h 923534"/>
              <a:gd name="connsiteX54" fmla="*/ 384998 w 900424"/>
              <a:gd name="connsiteY54" fmla="*/ 632703 h 923534"/>
              <a:gd name="connsiteX55" fmla="*/ 449647 w 900424"/>
              <a:gd name="connsiteY55" fmla="*/ 573407 h 923534"/>
              <a:gd name="connsiteX56" fmla="*/ 447509 w 900424"/>
              <a:gd name="connsiteY56" fmla="*/ 538629 h 923534"/>
              <a:gd name="connsiteX57" fmla="*/ 226448 w 900424"/>
              <a:gd name="connsiteY57" fmla="*/ 297612 h 923534"/>
              <a:gd name="connsiteX58" fmla="*/ 208773 w 900424"/>
              <a:gd name="connsiteY58" fmla="*/ 287844 h 923534"/>
              <a:gd name="connsiteX59" fmla="*/ 260828 w 900424"/>
              <a:gd name="connsiteY59" fmla="*/ 270130 h 923534"/>
              <a:gd name="connsiteX60" fmla="*/ 260828 w 900424"/>
              <a:gd name="connsiteY60" fmla="*/ 302896 h 923534"/>
              <a:gd name="connsiteX61" fmla="*/ 266867 w 900424"/>
              <a:gd name="connsiteY61" fmla="*/ 309479 h 923534"/>
              <a:gd name="connsiteX62" fmla="*/ 555945 w 900424"/>
              <a:gd name="connsiteY62" fmla="*/ 309479 h 923534"/>
              <a:gd name="connsiteX63" fmla="*/ 555945 w 900424"/>
              <a:gd name="connsiteY63" fmla="*/ 270130 h 923534"/>
              <a:gd name="connsiteX64" fmla="*/ 260828 w 900424"/>
              <a:gd name="connsiteY64" fmla="*/ 270130 h 923534"/>
              <a:gd name="connsiteX65" fmla="*/ 593007 w 900424"/>
              <a:gd name="connsiteY65" fmla="*/ 118999 h 923534"/>
              <a:gd name="connsiteX66" fmla="*/ 593004 w 900424"/>
              <a:gd name="connsiteY66" fmla="*/ 272708 h 923534"/>
              <a:gd name="connsiteX67" fmla="*/ 636152 w 900424"/>
              <a:gd name="connsiteY67" fmla="*/ 321246 h 923534"/>
              <a:gd name="connsiteX68" fmla="*/ 797949 w 900424"/>
              <a:gd name="connsiteY68" fmla="*/ 323942 h 923534"/>
              <a:gd name="connsiteX69" fmla="*/ 593007 w 900424"/>
              <a:gd name="connsiteY69" fmla="*/ 118999 h 923534"/>
              <a:gd name="connsiteX70" fmla="*/ 655342 w 900424"/>
              <a:gd name="connsiteY70" fmla="*/ 99358 h 923534"/>
              <a:gd name="connsiteX71" fmla="*/ 721150 w 900424"/>
              <a:gd name="connsiteY71" fmla="*/ 99358 h 923534"/>
              <a:gd name="connsiteX72" fmla="*/ 900424 w 900424"/>
              <a:gd name="connsiteY72" fmla="*/ 280970 h 923534"/>
              <a:gd name="connsiteX73" fmla="*/ 900424 w 900424"/>
              <a:gd name="connsiteY73" fmla="*/ 853426 h 923534"/>
              <a:gd name="connsiteX74" fmla="*/ 852052 w 900424"/>
              <a:gd name="connsiteY74" fmla="*/ 905466 h 923534"/>
              <a:gd name="connsiteX75" fmla="*/ 828360 w 900424"/>
              <a:gd name="connsiteY75" fmla="*/ 905466 h 923534"/>
              <a:gd name="connsiteX76" fmla="*/ 849187 w 900424"/>
              <a:gd name="connsiteY76" fmla="*/ 863377 h 923534"/>
              <a:gd name="connsiteX77" fmla="*/ 849187 w 900424"/>
              <a:gd name="connsiteY77" fmla="*/ 293203 h 923534"/>
              <a:gd name="connsiteX78" fmla="*/ 655342 w 900424"/>
              <a:gd name="connsiteY78" fmla="*/ 99358 h 923534"/>
              <a:gd name="connsiteX79" fmla="*/ 284672 w 900424"/>
              <a:gd name="connsiteY79" fmla="*/ 26454 h 923534"/>
              <a:gd name="connsiteX80" fmla="*/ 306902 w 900424"/>
              <a:gd name="connsiteY80" fmla="*/ 26454 h 923534"/>
              <a:gd name="connsiteX81" fmla="*/ 312459 w 900424"/>
              <a:gd name="connsiteY81" fmla="*/ 32011 h 923534"/>
              <a:gd name="connsiteX82" fmla="*/ 312459 w 900424"/>
              <a:gd name="connsiteY82" fmla="*/ 71044 h 923534"/>
              <a:gd name="connsiteX83" fmla="*/ 341829 w 900424"/>
              <a:gd name="connsiteY83" fmla="*/ 71044 h 923534"/>
              <a:gd name="connsiteX84" fmla="*/ 341829 w 900424"/>
              <a:gd name="connsiteY84" fmla="*/ 32011 h 923534"/>
              <a:gd name="connsiteX85" fmla="*/ 347386 w 900424"/>
              <a:gd name="connsiteY85" fmla="*/ 26454 h 923534"/>
              <a:gd name="connsiteX86" fmla="*/ 369616 w 900424"/>
              <a:gd name="connsiteY86" fmla="*/ 26454 h 923534"/>
              <a:gd name="connsiteX87" fmla="*/ 375173 w 900424"/>
              <a:gd name="connsiteY87" fmla="*/ 32011 h 923534"/>
              <a:gd name="connsiteX88" fmla="*/ 375173 w 900424"/>
              <a:gd name="connsiteY88" fmla="*/ 71044 h 923534"/>
              <a:gd name="connsiteX89" fmla="*/ 404543 w 900424"/>
              <a:gd name="connsiteY89" fmla="*/ 71044 h 923534"/>
              <a:gd name="connsiteX90" fmla="*/ 404543 w 900424"/>
              <a:gd name="connsiteY90" fmla="*/ 32011 h 923534"/>
              <a:gd name="connsiteX91" fmla="*/ 410100 w 900424"/>
              <a:gd name="connsiteY91" fmla="*/ 26454 h 923534"/>
              <a:gd name="connsiteX92" fmla="*/ 432330 w 900424"/>
              <a:gd name="connsiteY92" fmla="*/ 26454 h 923534"/>
              <a:gd name="connsiteX93" fmla="*/ 437887 w 900424"/>
              <a:gd name="connsiteY93" fmla="*/ 32011 h 923534"/>
              <a:gd name="connsiteX94" fmla="*/ 437887 w 900424"/>
              <a:gd name="connsiteY94" fmla="*/ 71044 h 923534"/>
              <a:gd name="connsiteX95" fmla="*/ 467255 w 900424"/>
              <a:gd name="connsiteY95" fmla="*/ 71044 h 923534"/>
              <a:gd name="connsiteX96" fmla="*/ 467255 w 900424"/>
              <a:gd name="connsiteY96" fmla="*/ 32011 h 923534"/>
              <a:gd name="connsiteX97" fmla="*/ 472813 w 900424"/>
              <a:gd name="connsiteY97" fmla="*/ 26454 h 923534"/>
              <a:gd name="connsiteX98" fmla="*/ 495042 w 900424"/>
              <a:gd name="connsiteY98" fmla="*/ 26454 h 923534"/>
              <a:gd name="connsiteX99" fmla="*/ 500600 w 900424"/>
              <a:gd name="connsiteY99" fmla="*/ 32011 h 923534"/>
              <a:gd name="connsiteX100" fmla="*/ 500600 w 900424"/>
              <a:gd name="connsiteY100" fmla="*/ 71044 h 923534"/>
              <a:gd name="connsiteX101" fmla="*/ 606532 w 900424"/>
              <a:gd name="connsiteY101" fmla="*/ 71044 h 923534"/>
              <a:gd name="connsiteX102" fmla="*/ 833814 w 900424"/>
              <a:gd name="connsiteY102" fmla="*/ 298326 h 923534"/>
              <a:gd name="connsiteX103" fmla="*/ 833814 w 900424"/>
              <a:gd name="connsiteY103" fmla="*/ 868500 h 923534"/>
              <a:gd name="connsiteX104" fmla="*/ 778780 w 900424"/>
              <a:gd name="connsiteY104" fmla="*/ 923534 h 923534"/>
              <a:gd name="connsiteX105" fmla="*/ 239864 w 900424"/>
              <a:gd name="connsiteY105" fmla="*/ 923534 h 923534"/>
              <a:gd name="connsiteX106" fmla="*/ 184830 w 900424"/>
              <a:gd name="connsiteY106" fmla="*/ 868500 h 923534"/>
              <a:gd name="connsiteX107" fmla="*/ 184830 w 900424"/>
              <a:gd name="connsiteY107" fmla="*/ 480204 h 923534"/>
              <a:gd name="connsiteX108" fmla="*/ 108913 w 900424"/>
              <a:gd name="connsiteY108" fmla="*/ 397433 h 923534"/>
              <a:gd name="connsiteX109" fmla="*/ 110701 w 900424"/>
              <a:gd name="connsiteY109" fmla="*/ 356021 h 923534"/>
              <a:gd name="connsiteX110" fmla="*/ 184830 w 900424"/>
              <a:gd name="connsiteY110" fmla="*/ 288031 h 923534"/>
              <a:gd name="connsiteX111" fmla="*/ 184830 w 900424"/>
              <a:gd name="connsiteY111" fmla="*/ 255689 h 923534"/>
              <a:gd name="connsiteX112" fmla="*/ 182259 w 900424"/>
              <a:gd name="connsiteY112" fmla="*/ 258049 h 923534"/>
              <a:gd name="connsiteX113" fmla="*/ 181841 w 900424"/>
              <a:gd name="connsiteY113" fmla="*/ 251257 h 923534"/>
              <a:gd name="connsiteX114" fmla="*/ 140694 w 900424"/>
              <a:gd name="connsiteY114" fmla="*/ 206396 h 923534"/>
              <a:gd name="connsiteX115" fmla="*/ 121321 w 900424"/>
              <a:gd name="connsiteY115" fmla="*/ 203511 h 923534"/>
              <a:gd name="connsiteX116" fmla="*/ 42515 w 900424"/>
              <a:gd name="connsiteY116" fmla="*/ 275789 h 923534"/>
              <a:gd name="connsiteX117" fmla="*/ 43718 w 900424"/>
              <a:gd name="connsiteY117" fmla="*/ 295339 h 923534"/>
              <a:gd name="connsiteX118" fmla="*/ 84866 w 900424"/>
              <a:gd name="connsiteY118" fmla="*/ 340201 h 923534"/>
              <a:gd name="connsiteX119" fmla="*/ 91596 w 900424"/>
              <a:gd name="connsiteY119" fmla="*/ 341203 h 923534"/>
              <a:gd name="connsiteX120" fmla="*/ 83614 w 900424"/>
              <a:gd name="connsiteY120" fmla="*/ 348524 h 923534"/>
              <a:gd name="connsiteX121" fmla="*/ 60335 w 900424"/>
              <a:gd name="connsiteY121" fmla="*/ 347519 h 923534"/>
              <a:gd name="connsiteX122" fmla="*/ 15793 w 900424"/>
              <a:gd name="connsiteY122" fmla="*/ 298955 h 923534"/>
              <a:gd name="connsiteX123" fmla="*/ 16799 w 900424"/>
              <a:gd name="connsiteY123" fmla="*/ 275676 h 923534"/>
              <a:gd name="connsiteX124" fmla="*/ 122114 w 900424"/>
              <a:gd name="connsiteY124" fmla="*/ 179082 h 923534"/>
              <a:gd name="connsiteX125" fmla="*/ 145393 w 900424"/>
              <a:gd name="connsiteY125" fmla="*/ 180087 h 923534"/>
              <a:gd name="connsiteX126" fmla="*/ 184830 w 900424"/>
              <a:gd name="connsiteY126" fmla="*/ 223084 h 923534"/>
              <a:gd name="connsiteX127" fmla="*/ 184830 w 900424"/>
              <a:gd name="connsiteY127" fmla="*/ 126079 h 923534"/>
              <a:gd name="connsiteX128" fmla="*/ 239864 w 900424"/>
              <a:gd name="connsiteY128" fmla="*/ 71044 h 923534"/>
              <a:gd name="connsiteX129" fmla="*/ 279115 w 900424"/>
              <a:gd name="connsiteY129" fmla="*/ 71044 h 923534"/>
              <a:gd name="connsiteX130" fmla="*/ 279115 w 900424"/>
              <a:gd name="connsiteY130" fmla="*/ 32011 h 923534"/>
              <a:gd name="connsiteX131" fmla="*/ 284672 w 900424"/>
              <a:gd name="connsiteY131" fmla="*/ 26454 h 923534"/>
              <a:gd name="connsiteX132" fmla="*/ 69366 w 900424"/>
              <a:gd name="connsiteY132" fmla="*/ 97655 h 923534"/>
              <a:gd name="connsiteX133" fmla="*/ 185239 w 900424"/>
              <a:gd name="connsiteY133" fmla="*/ 0 h 923534"/>
              <a:gd name="connsiteX134" fmla="*/ 69385 w 900424"/>
              <a:gd name="connsiteY134" fmla="*/ 97673 h 923534"/>
              <a:gd name="connsiteX135" fmla="*/ 0 w 900424"/>
              <a:gd name="connsiteY135" fmla="*/ 195309 h 923534"/>
              <a:gd name="connsiteX136" fmla="*/ 0 w 900424"/>
              <a:gd name="connsiteY136" fmla="*/ 195263 h 923534"/>
              <a:gd name="connsiteX137" fmla="*/ 69366 w 900424"/>
              <a:gd name="connsiteY137" fmla="*/ 97655 h 923534"/>
              <a:gd name="connsiteX0" fmla="*/ 260828 w 900424"/>
              <a:gd name="connsiteY0" fmla="*/ 738104 h 897080"/>
              <a:gd name="connsiteX1" fmla="*/ 260828 w 900424"/>
              <a:gd name="connsiteY1" fmla="*/ 767616 h 897080"/>
              <a:gd name="connsiteX2" fmla="*/ 752690 w 900424"/>
              <a:gd name="connsiteY2" fmla="*/ 767616 h 897080"/>
              <a:gd name="connsiteX3" fmla="*/ 752690 w 900424"/>
              <a:gd name="connsiteY3" fmla="*/ 738104 h 897080"/>
              <a:gd name="connsiteX4" fmla="*/ 260828 w 900424"/>
              <a:gd name="connsiteY4" fmla="*/ 738104 h 897080"/>
              <a:gd name="connsiteX5" fmla="*/ 523025 w 900424"/>
              <a:gd name="connsiteY5" fmla="*/ 662789 h 897080"/>
              <a:gd name="connsiteX6" fmla="*/ 529392 w 900424"/>
              <a:gd name="connsiteY6" fmla="*/ 692301 h 897080"/>
              <a:gd name="connsiteX7" fmla="*/ 752690 w 900424"/>
              <a:gd name="connsiteY7" fmla="*/ 692301 h 897080"/>
              <a:gd name="connsiteX8" fmla="*/ 752690 w 900424"/>
              <a:gd name="connsiteY8" fmla="*/ 662789 h 897080"/>
              <a:gd name="connsiteX9" fmla="*/ 523025 w 900424"/>
              <a:gd name="connsiteY9" fmla="*/ 662789 h 897080"/>
              <a:gd name="connsiteX10" fmla="*/ 260828 w 900424"/>
              <a:gd name="connsiteY10" fmla="*/ 662789 h 897080"/>
              <a:gd name="connsiteX11" fmla="*/ 260828 w 900424"/>
              <a:gd name="connsiteY11" fmla="*/ 692301 h 897080"/>
              <a:gd name="connsiteX12" fmla="*/ 520342 w 900424"/>
              <a:gd name="connsiteY12" fmla="*/ 692301 h 897080"/>
              <a:gd name="connsiteX13" fmla="*/ 427300 w 900424"/>
              <a:gd name="connsiteY13" fmla="*/ 662789 h 897080"/>
              <a:gd name="connsiteX14" fmla="*/ 260828 w 900424"/>
              <a:gd name="connsiteY14" fmla="*/ 662789 h 897080"/>
              <a:gd name="connsiteX15" fmla="*/ 506777 w 900424"/>
              <a:gd name="connsiteY15" fmla="*/ 587471 h 897080"/>
              <a:gd name="connsiteX16" fmla="*/ 513144 w 900424"/>
              <a:gd name="connsiteY16" fmla="*/ 616983 h 897080"/>
              <a:gd name="connsiteX17" fmla="*/ 752690 w 900424"/>
              <a:gd name="connsiteY17" fmla="*/ 616983 h 897080"/>
              <a:gd name="connsiteX18" fmla="*/ 752690 w 900424"/>
              <a:gd name="connsiteY18" fmla="*/ 587471 h 897080"/>
              <a:gd name="connsiteX19" fmla="*/ 506777 w 900424"/>
              <a:gd name="connsiteY19" fmla="*/ 587471 h 897080"/>
              <a:gd name="connsiteX20" fmla="*/ 260828 w 900424"/>
              <a:gd name="connsiteY20" fmla="*/ 587471 h 897080"/>
              <a:gd name="connsiteX21" fmla="*/ 260828 w 900424"/>
              <a:gd name="connsiteY21" fmla="*/ 616983 h 897080"/>
              <a:gd name="connsiteX22" fmla="*/ 334546 w 900424"/>
              <a:gd name="connsiteY22" fmla="*/ 616983 h 897080"/>
              <a:gd name="connsiteX23" fmla="*/ 307478 w 900424"/>
              <a:gd name="connsiteY23" fmla="*/ 587471 h 897080"/>
              <a:gd name="connsiteX24" fmla="*/ 260828 w 900424"/>
              <a:gd name="connsiteY24" fmla="*/ 587471 h 897080"/>
              <a:gd name="connsiteX25" fmla="*/ 467940 w 900424"/>
              <a:gd name="connsiteY25" fmla="*/ 544863 h 897080"/>
              <a:gd name="connsiteX26" fmla="*/ 385032 w 900424"/>
              <a:gd name="connsiteY26" fmla="*/ 620125 h 897080"/>
              <a:gd name="connsiteX27" fmla="*/ 506739 w 900424"/>
              <a:gd name="connsiteY27" fmla="*/ 670589 h 897080"/>
              <a:gd name="connsiteX28" fmla="*/ 467940 w 900424"/>
              <a:gd name="connsiteY28" fmla="*/ 544863 h 897080"/>
              <a:gd name="connsiteX29" fmla="*/ 260828 w 900424"/>
              <a:gd name="connsiteY29" fmla="*/ 536610 h 897080"/>
              <a:gd name="connsiteX30" fmla="*/ 260828 w 900424"/>
              <a:gd name="connsiteY30" fmla="*/ 541666 h 897080"/>
              <a:gd name="connsiteX31" fmla="*/ 265465 w 900424"/>
              <a:gd name="connsiteY31" fmla="*/ 541666 h 897080"/>
              <a:gd name="connsiteX32" fmla="*/ 260828 w 900424"/>
              <a:gd name="connsiteY32" fmla="*/ 536610 h 897080"/>
              <a:gd name="connsiteX33" fmla="*/ 477023 w 900424"/>
              <a:gd name="connsiteY33" fmla="*/ 512155 h 897080"/>
              <a:gd name="connsiteX34" fmla="*/ 477810 w 900424"/>
              <a:gd name="connsiteY34" fmla="*/ 513012 h 897080"/>
              <a:gd name="connsiteX35" fmla="*/ 481962 w 900424"/>
              <a:gd name="connsiteY35" fmla="*/ 541666 h 897080"/>
              <a:gd name="connsiteX36" fmla="*/ 752690 w 900424"/>
              <a:gd name="connsiteY36" fmla="*/ 541666 h 897080"/>
              <a:gd name="connsiteX37" fmla="*/ 752690 w 900424"/>
              <a:gd name="connsiteY37" fmla="*/ 512155 h 897080"/>
              <a:gd name="connsiteX38" fmla="*/ 477023 w 900424"/>
              <a:gd name="connsiteY38" fmla="*/ 512155 h 897080"/>
              <a:gd name="connsiteX39" fmla="*/ 407941 w 900424"/>
              <a:gd name="connsiteY39" fmla="*/ 436837 h 897080"/>
              <a:gd name="connsiteX40" fmla="*/ 435010 w 900424"/>
              <a:gd name="connsiteY40" fmla="*/ 466349 h 897080"/>
              <a:gd name="connsiteX41" fmla="*/ 752690 w 900424"/>
              <a:gd name="connsiteY41" fmla="*/ 466349 h 897080"/>
              <a:gd name="connsiteX42" fmla="*/ 752690 w 900424"/>
              <a:gd name="connsiteY42" fmla="*/ 436837 h 897080"/>
              <a:gd name="connsiteX43" fmla="*/ 407941 w 900424"/>
              <a:gd name="connsiteY43" fmla="*/ 436837 h 897080"/>
              <a:gd name="connsiteX44" fmla="*/ 338860 w 900424"/>
              <a:gd name="connsiteY44" fmla="*/ 361519 h 897080"/>
              <a:gd name="connsiteX45" fmla="*/ 365929 w 900424"/>
              <a:gd name="connsiteY45" fmla="*/ 391031 h 897080"/>
              <a:gd name="connsiteX46" fmla="*/ 752690 w 900424"/>
              <a:gd name="connsiteY46" fmla="*/ 391031 h 897080"/>
              <a:gd name="connsiteX47" fmla="*/ 752690 w 900424"/>
              <a:gd name="connsiteY47" fmla="*/ 361519 h 897080"/>
              <a:gd name="connsiteX48" fmla="*/ 338860 w 900424"/>
              <a:gd name="connsiteY48" fmla="*/ 361519 h 897080"/>
              <a:gd name="connsiteX49" fmla="*/ 208773 w 900424"/>
              <a:gd name="connsiteY49" fmla="*/ 261390 h 897080"/>
              <a:gd name="connsiteX50" fmla="*/ 191984 w 900424"/>
              <a:gd name="connsiteY50" fmla="*/ 266028 h 897080"/>
              <a:gd name="connsiteX51" fmla="*/ 127335 w 900424"/>
              <a:gd name="connsiteY51" fmla="*/ 325324 h 897080"/>
              <a:gd name="connsiteX52" fmla="*/ 129474 w 900424"/>
              <a:gd name="connsiteY52" fmla="*/ 360103 h 897080"/>
              <a:gd name="connsiteX53" fmla="*/ 350534 w 900424"/>
              <a:gd name="connsiteY53" fmla="*/ 601119 h 897080"/>
              <a:gd name="connsiteX54" fmla="*/ 384998 w 900424"/>
              <a:gd name="connsiteY54" fmla="*/ 606249 h 897080"/>
              <a:gd name="connsiteX55" fmla="*/ 449647 w 900424"/>
              <a:gd name="connsiteY55" fmla="*/ 546953 h 897080"/>
              <a:gd name="connsiteX56" fmla="*/ 447509 w 900424"/>
              <a:gd name="connsiteY56" fmla="*/ 512175 h 897080"/>
              <a:gd name="connsiteX57" fmla="*/ 226448 w 900424"/>
              <a:gd name="connsiteY57" fmla="*/ 271158 h 897080"/>
              <a:gd name="connsiteX58" fmla="*/ 208773 w 900424"/>
              <a:gd name="connsiteY58" fmla="*/ 261390 h 897080"/>
              <a:gd name="connsiteX59" fmla="*/ 260828 w 900424"/>
              <a:gd name="connsiteY59" fmla="*/ 243676 h 897080"/>
              <a:gd name="connsiteX60" fmla="*/ 260828 w 900424"/>
              <a:gd name="connsiteY60" fmla="*/ 276442 h 897080"/>
              <a:gd name="connsiteX61" fmla="*/ 266867 w 900424"/>
              <a:gd name="connsiteY61" fmla="*/ 283025 h 897080"/>
              <a:gd name="connsiteX62" fmla="*/ 555945 w 900424"/>
              <a:gd name="connsiteY62" fmla="*/ 283025 h 897080"/>
              <a:gd name="connsiteX63" fmla="*/ 555945 w 900424"/>
              <a:gd name="connsiteY63" fmla="*/ 243676 h 897080"/>
              <a:gd name="connsiteX64" fmla="*/ 260828 w 900424"/>
              <a:gd name="connsiteY64" fmla="*/ 243676 h 897080"/>
              <a:gd name="connsiteX65" fmla="*/ 593007 w 900424"/>
              <a:gd name="connsiteY65" fmla="*/ 92545 h 897080"/>
              <a:gd name="connsiteX66" fmla="*/ 593004 w 900424"/>
              <a:gd name="connsiteY66" fmla="*/ 246254 h 897080"/>
              <a:gd name="connsiteX67" fmla="*/ 636152 w 900424"/>
              <a:gd name="connsiteY67" fmla="*/ 294792 h 897080"/>
              <a:gd name="connsiteX68" fmla="*/ 797949 w 900424"/>
              <a:gd name="connsiteY68" fmla="*/ 297488 h 897080"/>
              <a:gd name="connsiteX69" fmla="*/ 593007 w 900424"/>
              <a:gd name="connsiteY69" fmla="*/ 92545 h 897080"/>
              <a:gd name="connsiteX70" fmla="*/ 655342 w 900424"/>
              <a:gd name="connsiteY70" fmla="*/ 72904 h 897080"/>
              <a:gd name="connsiteX71" fmla="*/ 721150 w 900424"/>
              <a:gd name="connsiteY71" fmla="*/ 72904 h 897080"/>
              <a:gd name="connsiteX72" fmla="*/ 900424 w 900424"/>
              <a:gd name="connsiteY72" fmla="*/ 254516 h 897080"/>
              <a:gd name="connsiteX73" fmla="*/ 900424 w 900424"/>
              <a:gd name="connsiteY73" fmla="*/ 826972 h 897080"/>
              <a:gd name="connsiteX74" fmla="*/ 852052 w 900424"/>
              <a:gd name="connsiteY74" fmla="*/ 879012 h 897080"/>
              <a:gd name="connsiteX75" fmla="*/ 828360 w 900424"/>
              <a:gd name="connsiteY75" fmla="*/ 879012 h 897080"/>
              <a:gd name="connsiteX76" fmla="*/ 849187 w 900424"/>
              <a:gd name="connsiteY76" fmla="*/ 836923 h 897080"/>
              <a:gd name="connsiteX77" fmla="*/ 849187 w 900424"/>
              <a:gd name="connsiteY77" fmla="*/ 266749 h 897080"/>
              <a:gd name="connsiteX78" fmla="*/ 655342 w 900424"/>
              <a:gd name="connsiteY78" fmla="*/ 72904 h 897080"/>
              <a:gd name="connsiteX79" fmla="*/ 284672 w 900424"/>
              <a:gd name="connsiteY79" fmla="*/ 0 h 897080"/>
              <a:gd name="connsiteX80" fmla="*/ 306902 w 900424"/>
              <a:gd name="connsiteY80" fmla="*/ 0 h 897080"/>
              <a:gd name="connsiteX81" fmla="*/ 312459 w 900424"/>
              <a:gd name="connsiteY81" fmla="*/ 5557 h 897080"/>
              <a:gd name="connsiteX82" fmla="*/ 312459 w 900424"/>
              <a:gd name="connsiteY82" fmla="*/ 44590 h 897080"/>
              <a:gd name="connsiteX83" fmla="*/ 341829 w 900424"/>
              <a:gd name="connsiteY83" fmla="*/ 44590 h 897080"/>
              <a:gd name="connsiteX84" fmla="*/ 341829 w 900424"/>
              <a:gd name="connsiteY84" fmla="*/ 5557 h 897080"/>
              <a:gd name="connsiteX85" fmla="*/ 347386 w 900424"/>
              <a:gd name="connsiteY85" fmla="*/ 0 h 897080"/>
              <a:gd name="connsiteX86" fmla="*/ 369616 w 900424"/>
              <a:gd name="connsiteY86" fmla="*/ 0 h 897080"/>
              <a:gd name="connsiteX87" fmla="*/ 375173 w 900424"/>
              <a:gd name="connsiteY87" fmla="*/ 5557 h 897080"/>
              <a:gd name="connsiteX88" fmla="*/ 375173 w 900424"/>
              <a:gd name="connsiteY88" fmla="*/ 44590 h 897080"/>
              <a:gd name="connsiteX89" fmla="*/ 404543 w 900424"/>
              <a:gd name="connsiteY89" fmla="*/ 44590 h 897080"/>
              <a:gd name="connsiteX90" fmla="*/ 404543 w 900424"/>
              <a:gd name="connsiteY90" fmla="*/ 5557 h 897080"/>
              <a:gd name="connsiteX91" fmla="*/ 410100 w 900424"/>
              <a:gd name="connsiteY91" fmla="*/ 0 h 897080"/>
              <a:gd name="connsiteX92" fmla="*/ 432330 w 900424"/>
              <a:gd name="connsiteY92" fmla="*/ 0 h 897080"/>
              <a:gd name="connsiteX93" fmla="*/ 437887 w 900424"/>
              <a:gd name="connsiteY93" fmla="*/ 5557 h 897080"/>
              <a:gd name="connsiteX94" fmla="*/ 437887 w 900424"/>
              <a:gd name="connsiteY94" fmla="*/ 44590 h 897080"/>
              <a:gd name="connsiteX95" fmla="*/ 467255 w 900424"/>
              <a:gd name="connsiteY95" fmla="*/ 44590 h 897080"/>
              <a:gd name="connsiteX96" fmla="*/ 467255 w 900424"/>
              <a:gd name="connsiteY96" fmla="*/ 5557 h 897080"/>
              <a:gd name="connsiteX97" fmla="*/ 472813 w 900424"/>
              <a:gd name="connsiteY97" fmla="*/ 0 h 897080"/>
              <a:gd name="connsiteX98" fmla="*/ 495042 w 900424"/>
              <a:gd name="connsiteY98" fmla="*/ 0 h 897080"/>
              <a:gd name="connsiteX99" fmla="*/ 500600 w 900424"/>
              <a:gd name="connsiteY99" fmla="*/ 5557 h 897080"/>
              <a:gd name="connsiteX100" fmla="*/ 500600 w 900424"/>
              <a:gd name="connsiteY100" fmla="*/ 44590 h 897080"/>
              <a:gd name="connsiteX101" fmla="*/ 606532 w 900424"/>
              <a:gd name="connsiteY101" fmla="*/ 44590 h 897080"/>
              <a:gd name="connsiteX102" fmla="*/ 833814 w 900424"/>
              <a:gd name="connsiteY102" fmla="*/ 271872 h 897080"/>
              <a:gd name="connsiteX103" fmla="*/ 833814 w 900424"/>
              <a:gd name="connsiteY103" fmla="*/ 842046 h 897080"/>
              <a:gd name="connsiteX104" fmla="*/ 778780 w 900424"/>
              <a:gd name="connsiteY104" fmla="*/ 897080 h 897080"/>
              <a:gd name="connsiteX105" fmla="*/ 239864 w 900424"/>
              <a:gd name="connsiteY105" fmla="*/ 897080 h 897080"/>
              <a:gd name="connsiteX106" fmla="*/ 184830 w 900424"/>
              <a:gd name="connsiteY106" fmla="*/ 842046 h 897080"/>
              <a:gd name="connsiteX107" fmla="*/ 184830 w 900424"/>
              <a:gd name="connsiteY107" fmla="*/ 453750 h 897080"/>
              <a:gd name="connsiteX108" fmla="*/ 108913 w 900424"/>
              <a:gd name="connsiteY108" fmla="*/ 370979 h 897080"/>
              <a:gd name="connsiteX109" fmla="*/ 110701 w 900424"/>
              <a:gd name="connsiteY109" fmla="*/ 329567 h 897080"/>
              <a:gd name="connsiteX110" fmla="*/ 184830 w 900424"/>
              <a:gd name="connsiteY110" fmla="*/ 261577 h 897080"/>
              <a:gd name="connsiteX111" fmla="*/ 184830 w 900424"/>
              <a:gd name="connsiteY111" fmla="*/ 229235 h 897080"/>
              <a:gd name="connsiteX112" fmla="*/ 182259 w 900424"/>
              <a:gd name="connsiteY112" fmla="*/ 231595 h 897080"/>
              <a:gd name="connsiteX113" fmla="*/ 181841 w 900424"/>
              <a:gd name="connsiteY113" fmla="*/ 224803 h 897080"/>
              <a:gd name="connsiteX114" fmla="*/ 140694 w 900424"/>
              <a:gd name="connsiteY114" fmla="*/ 179942 h 897080"/>
              <a:gd name="connsiteX115" fmla="*/ 121321 w 900424"/>
              <a:gd name="connsiteY115" fmla="*/ 177057 h 897080"/>
              <a:gd name="connsiteX116" fmla="*/ 42515 w 900424"/>
              <a:gd name="connsiteY116" fmla="*/ 249335 h 897080"/>
              <a:gd name="connsiteX117" fmla="*/ 43718 w 900424"/>
              <a:gd name="connsiteY117" fmla="*/ 268885 h 897080"/>
              <a:gd name="connsiteX118" fmla="*/ 84866 w 900424"/>
              <a:gd name="connsiteY118" fmla="*/ 313747 h 897080"/>
              <a:gd name="connsiteX119" fmla="*/ 91596 w 900424"/>
              <a:gd name="connsiteY119" fmla="*/ 314749 h 897080"/>
              <a:gd name="connsiteX120" fmla="*/ 83614 w 900424"/>
              <a:gd name="connsiteY120" fmla="*/ 322070 h 897080"/>
              <a:gd name="connsiteX121" fmla="*/ 60335 w 900424"/>
              <a:gd name="connsiteY121" fmla="*/ 321065 h 897080"/>
              <a:gd name="connsiteX122" fmla="*/ 15793 w 900424"/>
              <a:gd name="connsiteY122" fmla="*/ 272501 h 897080"/>
              <a:gd name="connsiteX123" fmla="*/ 16799 w 900424"/>
              <a:gd name="connsiteY123" fmla="*/ 249222 h 897080"/>
              <a:gd name="connsiteX124" fmla="*/ 122114 w 900424"/>
              <a:gd name="connsiteY124" fmla="*/ 152628 h 897080"/>
              <a:gd name="connsiteX125" fmla="*/ 145393 w 900424"/>
              <a:gd name="connsiteY125" fmla="*/ 153633 h 897080"/>
              <a:gd name="connsiteX126" fmla="*/ 184830 w 900424"/>
              <a:gd name="connsiteY126" fmla="*/ 196630 h 897080"/>
              <a:gd name="connsiteX127" fmla="*/ 184830 w 900424"/>
              <a:gd name="connsiteY127" fmla="*/ 99625 h 897080"/>
              <a:gd name="connsiteX128" fmla="*/ 239864 w 900424"/>
              <a:gd name="connsiteY128" fmla="*/ 44590 h 897080"/>
              <a:gd name="connsiteX129" fmla="*/ 279115 w 900424"/>
              <a:gd name="connsiteY129" fmla="*/ 44590 h 897080"/>
              <a:gd name="connsiteX130" fmla="*/ 279115 w 900424"/>
              <a:gd name="connsiteY130" fmla="*/ 5557 h 897080"/>
              <a:gd name="connsiteX131" fmla="*/ 284672 w 900424"/>
              <a:gd name="connsiteY131" fmla="*/ 0 h 897080"/>
              <a:gd name="connsiteX132" fmla="*/ 69366 w 900424"/>
              <a:gd name="connsiteY132" fmla="*/ 71201 h 897080"/>
              <a:gd name="connsiteX133" fmla="*/ 69385 w 900424"/>
              <a:gd name="connsiteY133" fmla="*/ 71219 h 897080"/>
              <a:gd name="connsiteX134" fmla="*/ 0 w 900424"/>
              <a:gd name="connsiteY134" fmla="*/ 168855 h 897080"/>
              <a:gd name="connsiteX135" fmla="*/ 0 w 900424"/>
              <a:gd name="connsiteY135" fmla="*/ 168809 h 897080"/>
              <a:gd name="connsiteX136" fmla="*/ 69366 w 900424"/>
              <a:gd name="connsiteY136" fmla="*/ 71201 h 897080"/>
              <a:gd name="connsiteX0" fmla="*/ 260828 w 900424"/>
              <a:gd name="connsiteY0" fmla="*/ 738104 h 897080"/>
              <a:gd name="connsiteX1" fmla="*/ 260828 w 900424"/>
              <a:gd name="connsiteY1" fmla="*/ 767616 h 897080"/>
              <a:gd name="connsiteX2" fmla="*/ 752690 w 900424"/>
              <a:gd name="connsiteY2" fmla="*/ 767616 h 897080"/>
              <a:gd name="connsiteX3" fmla="*/ 752690 w 900424"/>
              <a:gd name="connsiteY3" fmla="*/ 738104 h 897080"/>
              <a:gd name="connsiteX4" fmla="*/ 260828 w 900424"/>
              <a:gd name="connsiteY4" fmla="*/ 738104 h 897080"/>
              <a:gd name="connsiteX5" fmla="*/ 523025 w 900424"/>
              <a:gd name="connsiteY5" fmla="*/ 662789 h 897080"/>
              <a:gd name="connsiteX6" fmla="*/ 529392 w 900424"/>
              <a:gd name="connsiteY6" fmla="*/ 692301 h 897080"/>
              <a:gd name="connsiteX7" fmla="*/ 752690 w 900424"/>
              <a:gd name="connsiteY7" fmla="*/ 692301 h 897080"/>
              <a:gd name="connsiteX8" fmla="*/ 752690 w 900424"/>
              <a:gd name="connsiteY8" fmla="*/ 662789 h 897080"/>
              <a:gd name="connsiteX9" fmla="*/ 523025 w 900424"/>
              <a:gd name="connsiteY9" fmla="*/ 662789 h 897080"/>
              <a:gd name="connsiteX10" fmla="*/ 260828 w 900424"/>
              <a:gd name="connsiteY10" fmla="*/ 662789 h 897080"/>
              <a:gd name="connsiteX11" fmla="*/ 260828 w 900424"/>
              <a:gd name="connsiteY11" fmla="*/ 692301 h 897080"/>
              <a:gd name="connsiteX12" fmla="*/ 520342 w 900424"/>
              <a:gd name="connsiteY12" fmla="*/ 692301 h 897080"/>
              <a:gd name="connsiteX13" fmla="*/ 427300 w 900424"/>
              <a:gd name="connsiteY13" fmla="*/ 662789 h 897080"/>
              <a:gd name="connsiteX14" fmla="*/ 260828 w 900424"/>
              <a:gd name="connsiteY14" fmla="*/ 662789 h 897080"/>
              <a:gd name="connsiteX15" fmla="*/ 506777 w 900424"/>
              <a:gd name="connsiteY15" fmla="*/ 587471 h 897080"/>
              <a:gd name="connsiteX16" fmla="*/ 513144 w 900424"/>
              <a:gd name="connsiteY16" fmla="*/ 616983 h 897080"/>
              <a:gd name="connsiteX17" fmla="*/ 752690 w 900424"/>
              <a:gd name="connsiteY17" fmla="*/ 616983 h 897080"/>
              <a:gd name="connsiteX18" fmla="*/ 752690 w 900424"/>
              <a:gd name="connsiteY18" fmla="*/ 587471 h 897080"/>
              <a:gd name="connsiteX19" fmla="*/ 506777 w 900424"/>
              <a:gd name="connsiteY19" fmla="*/ 587471 h 897080"/>
              <a:gd name="connsiteX20" fmla="*/ 260828 w 900424"/>
              <a:gd name="connsiteY20" fmla="*/ 587471 h 897080"/>
              <a:gd name="connsiteX21" fmla="*/ 260828 w 900424"/>
              <a:gd name="connsiteY21" fmla="*/ 616983 h 897080"/>
              <a:gd name="connsiteX22" fmla="*/ 334546 w 900424"/>
              <a:gd name="connsiteY22" fmla="*/ 616983 h 897080"/>
              <a:gd name="connsiteX23" fmla="*/ 307478 w 900424"/>
              <a:gd name="connsiteY23" fmla="*/ 587471 h 897080"/>
              <a:gd name="connsiteX24" fmla="*/ 260828 w 900424"/>
              <a:gd name="connsiteY24" fmla="*/ 587471 h 897080"/>
              <a:gd name="connsiteX25" fmla="*/ 467940 w 900424"/>
              <a:gd name="connsiteY25" fmla="*/ 544863 h 897080"/>
              <a:gd name="connsiteX26" fmla="*/ 385032 w 900424"/>
              <a:gd name="connsiteY26" fmla="*/ 620125 h 897080"/>
              <a:gd name="connsiteX27" fmla="*/ 506739 w 900424"/>
              <a:gd name="connsiteY27" fmla="*/ 670589 h 897080"/>
              <a:gd name="connsiteX28" fmla="*/ 467940 w 900424"/>
              <a:gd name="connsiteY28" fmla="*/ 544863 h 897080"/>
              <a:gd name="connsiteX29" fmla="*/ 260828 w 900424"/>
              <a:gd name="connsiteY29" fmla="*/ 536610 h 897080"/>
              <a:gd name="connsiteX30" fmla="*/ 260828 w 900424"/>
              <a:gd name="connsiteY30" fmla="*/ 541666 h 897080"/>
              <a:gd name="connsiteX31" fmla="*/ 265465 w 900424"/>
              <a:gd name="connsiteY31" fmla="*/ 541666 h 897080"/>
              <a:gd name="connsiteX32" fmla="*/ 260828 w 900424"/>
              <a:gd name="connsiteY32" fmla="*/ 536610 h 897080"/>
              <a:gd name="connsiteX33" fmla="*/ 477023 w 900424"/>
              <a:gd name="connsiteY33" fmla="*/ 512155 h 897080"/>
              <a:gd name="connsiteX34" fmla="*/ 477810 w 900424"/>
              <a:gd name="connsiteY34" fmla="*/ 513012 h 897080"/>
              <a:gd name="connsiteX35" fmla="*/ 481962 w 900424"/>
              <a:gd name="connsiteY35" fmla="*/ 541666 h 897080"/>
              <a:gd name="connsiteX36" fmla="*/ 752690 w 900424"/>
              <a:gd name="connsiteY36" fmla="*/ 541666 h 897080"/>
              <a:gd name="connsiteX37" fmla="*/ 752690 w 900424"/>
              <a:gd name="connsiteY37" fmla="*/ 512155 h 897080"/>
              <a:gd name="connsiteX38" fmla="*/ 477023 w 900424"/>
              <a:gd name="connsiteY38" fmla="*/ 512155 h 897080"/>
              <a:gd name="connsiteX39" fmla="*/ 407941 w 900424"/>
              <a:gd name="connsiteY39" fmla="*/ 436837 h 897080"/>
              <a:gd name="connsiteX40" fmla="*/ 435010 w 900424"/>
              <a:gd name="connsiteY40" fmla="*/ 466349 h 897080"/>
              <a:gd name="connsiteX41" fmla="*/ 752690 w 900424"/>
              <a:gd name="connsiteY41" fmla="*/ 466349 h 897080"/>
              <a:gd name="connsiteX42" fmla="*/ 752690 w 900424"/>
              <a:gd name="connsiteY42" fmla="*/ 436837 h 897080"/>
              <a:gd name="connsiteX43" fmla="*/ 407941 w 900424"/>
              <a:gd name="connsiteY43" fmla="*/ 436837 h 897080"/>
              <a:gd name="connsiteX44" fmla="*/ 338860 w 900424"/>
              <a:gd name="connsiteY44" fmla="*/ 361519 h 897080"/>
              <a:gd name="connsiteX45" fmla="*/ 365929 w 900424"/>
              <a:gd name="connsiteY45" fmla="*/ 391031 h 897080"/>
              <a:gd name="connsiteX46" fmla="*/ 752690 w 900424"/>
              <a:gd name="connsiteY46" fmla="*/ 391031 h 897080"/>
              <a:gd name="connsiteX47" fmla="*/ 752690 w 900424"/>
              <a:gd name="connsiteY47" fmla="*/ 361519 h 897080"/>
              <a:gd name="connsiteX48" fmla="*/ 338860 w 900424"/>
              <a:gd name="connsiteY48" fmla="*/ 361519 h 897080"/>
              <a:gd name="connsiteX49" fmla="*/ 208773 w 900424"/>
              <a:gd name="connsiteY49" fmla="*/ 261390 h 897080"/>
              <a:gd name="connsiteX50" fmla="*/ 191984 w 900424"/>
              <a:gd name="connsiteY50" fmla="*/ 266028 h 897080"/>
              <a:gd name="connsiteX51" fmla="*/ 127335 w 900424"/>
              <a:gd name="connsiteY51" fmla="*/ 325324 h 897080"/>
              <a:gd name="connsiteX52" fmla="*/ 129474 w 900424"/>
              <a:gd name="connsiteY52" fmla="*/ 360103 h 897080"/>
              <a:gd name="connsiteX53" fmla="*/ 350534 w 900424"/>
              <a:gd name="connsiteY53" fmla="*/ 601119 h 897080"/>
              <a:gd name="connsiteX54" fmla="*/ 384998 w 900424"/>
              <a:gd name="connsiteY54" fmla="*/ 606249 h 897080"/>
              <a:gd name="connsiteX55" fmla="*/ 449647 w 900424"/>
              <a:gd name="connsiteY55" fmla="*/ 546953 h 897080"/>
              <a:gd name="connsiteX56" fmla="*/ 447509 w 900424"/>
              <a:gd name="connsiteY56" fmla="*/ 512175 h 897080"/>
              <a:gd name="connsiteX57" fmla="*/ 226448 w 900424"/>
              <a:gd name="connsiteY57" fmla="*/ 271158 h 897080"/>
              <a:gd name="connsiteX58" fmla="*/ 208773 w 900424"/>
              <a:gd name="connsiteY58" fmla="*/ 261390 h 897080"/>
              <a:gd name="connsiteX59" fmla="*/ 260828 w 900424"/>
              <a:gd name="connsiteY59" fmla="*/ 243676 h 897080"/>
              <a:gd name="connsiteX60" fmla="*/ 260828 w 900424"/>
              <a:gd name="connsiteY60" fmla="*/ 276442 h 897080"/>
              <a:gd name="connsiteX61" fmla="*/ 266867 w 900424"/>
              <a:gd name="connsiteY61" fmla="*/ 283025 h 897080"/>
              <a:gd name="connsiteX62" fmla="*/ 555945 w 900424"/>
              <a:gd name="connsiteY62" fmla="*/ 283025 h 897080"/>
              <a:gd name="connsiteX63" fmla="*/ 555945 w 900424"/>
              <a:gd name="connsiteY63" fmla="*/ 243676 h 897080"/>
              <a:gd name="connsiteX64" fmla="*/ 260828 w 900424"/>
              <a:gd name="connsiteY64" fmla="*/ 243676 h 897080"/>
              <a:gd name="connsiteX65" fmla="*/ 593007 w 900424"/>
              <a:gd name="connsiteY65" fmla="*/ 92545 h 897080"/>
              <a:gd name="connsiteX66" fmla="*/ 593004 w 900424"/>
              <a:gd name="connsiteY66" fmla="*/ 246254 h 897080"/>
              <a:gd name="connsiteX67" fmla="*/ 636152 w 900424"/>
              <a:gd name="connsiteY67" fmla="*/ 294792 h 897080"/>
              <a:gd name="connsiteX68" fmla="*/ 797949 w 900424"/>
              <a:gd name="connsiteY68" fmla="*/ 297488 h 897080"/>
              <a:gd name="connsiteX69" fmla="*/ 593007 w 900424"/>
              <a:gd name="connsiteY69" fmla="*/ 92545 h 897080"/>
              <a:gd name="connsiteX70" fmla="*/ 655342 w 900424"/>
              <a:gd name="connsiteY70" fmla="*/ 72904 h 897080"/>
              <a:gd name="connsiteX71" fmla="*/ 721150 w 900424"/>
              <a:gd name="connsiteY71" fmla="*/ 72904 h 897080"/>
              <a:gd name="connsiteX72" fmla="*/ 900424 w 900424"/>
              <a:gd name="connsiteY72" fmla="*/ 254516 h 897080"/>
              <a:gd name="connsiteX73" fmla="*/ 900424 w 900424"/>
              <a:gd name="connsiteY73" fmla="*/ 826972 h 897080"/>
              <a:gd name="connsiteX74" fmla="*/ 852052 w 900424"/>
              <a:gd name="connsiteY74" fmla="*/ 879012 h 897080"/>
              <a:gd name="connsiteX75" fmla="*/ 828360 w 900424"/>
              <a:gd name="connsiteY75" fmla="*/ 879012 h 897080"/>
              <a:gd name="connsiteX76" fmla="*/ 849187 w 900424"/>
              <a:gd name="connsiteY76" fmla="*/ 836923 h 897080"/>
              <a:gd name="connsiteX77" fmla="*/ 849187 w 900424"/>
              <a:gd name="connsiteY77" fmla="*/ 266749 h 897080"/>
              <a:gd name="connsiteX78" fmla="*/ 655342 w 900424"/>
              <a:gd name="connsiteY78" fmla="*/ 72904 h 897080"/>
              <a:gd name="connsiteX79" fmla="*/ 284672 w 900424"/>
              <a:gd name="connsiteY79" fmla="*/ 0 h 897080"/>
              <a:gd name="connsiteX80" fmla="*/ 306902 w 900424"/>
              <a:gd name="connsiteY80" fmla="*/ 0 h 897080"/>
              <a:gd name="connsiteX81" fmla="*/ 312459 w 900424"/>
              <a:gd name="connsiteY81" fmla="*/ 5557 h 897080"/>
              <a:gd name="connsiteX82" fmla="*/ 312459 w 900424"/>
              <a:gd name="connsiteY82" fmla="*/ 44590 h 897080"/>
              <a:gd name="connsiteX83" fmla="*/ 341829 w 900424"/>
              <a:gd name="connsiteY83" fmla="*/ 44590 h 897080"/>
              <a:gd name="connsiteX84" fmla="*/ 341829 w 900424"/>
              <a:gd name="connsiteY84" fmla="*/ 5557 h 897080"/>
              <a:gd name="connsiteX85" fmla="*/ 347386 w 900424"/>
              <a:gd name="connsiteY85" fmla="*/ 0 h 897080"/>
              <a:gd name="connsiteX86" fmla="*/ 369616 w 900424"/>
              <a:gd name="connsiteY86" fmla="*/ 0 h 897080"/>
              <a:gd name="connsiteX87" fmla="*/ 375173 w 900424"/>
              <a:gd name="connsiteY87" fmla="*/ 5557 h 897080"/>
              <a:gd name="connsiteX88" fmla="*/ 375173 w 900424"/>
              <a:gd name="connsiteY88" fmla="*/ 44590 h 897080"/>
              <a:gd name="connsiteX89" fmla="*/ 404543 w 900424"/>
              <a:gd name="connsiteY89" fmla="*/ 44590 h 897080"/>
              <a:gd name="connsiteX90" fmla="*/ 404543 w 900424"/>
              <a:gd name="connsiteY90" fmla="*/ 5557 h 897080"/>
              <a:gd name="connsiteX91" fmla="*/ 410100 w 900424"/>
              <a:gd name="connsiteY91" fmla="*/ 0 h 897080"/>
              <a:gd name="connsiteX92" fmla="*/ 432330 w 900424"/>
              <a:gd name="connsiteY92" fmla="*/ 0 h 897080"/>
              <a:gd name="connsiteX93" fmla="*/ 437887 w 900424"/>
              <a:gd name="connsiteY93" fmla="*/ 5557 h 897080"/>
              <a:gd name="connsiteX94" fmla="*/ 437887 w 900424"/>
              <a:gd name="connsiteY94" fmla="*/ 44590 h 897080"/>
              <a:gd name="connsiteX95" fmla="*/ 467255 w 900424"/>
              <a:gd name="connsiteY95" fmla="*/ 44590 h 897080"/>
              <a:gd name="connsiteX96" fmla="*/ 467255 w 900424"/>
              <a:gd name="connsiteY96" fmla="*/ 5557 h 897080"/>
              <a:gd name="connsiteX97" fmla="*/ 472813 w 900424"/>
              <a:gd name="connsiteY97" fmla="*/ 0 h 897080"/>
              <a:gd name="connsiteX98" fmla="*/ 495042 w 900424"/>
              <a:gd name="connsiteY98" fmla="*/ 0 h 897080"/>
              <a:gd name="connsiteX99" fmla="*/ 500600 w 900424"/>
              <a:gd name="connsiteY99" fmla="*/ 5557 h 897080"/>
              <a:gd name="connsiteX100" fmla="*/ 500600 w 900424"/>
              <a:gd name="connsiteY100" fmla="*/ 44590 h 897080"/>
              <a:gd name="connsiteX101" fmla="*/ 606532 w 900424"/>
              <a:gd name="connsiteY101" fmla="*/ 44590 h 897080"/>
              <a:gd name="connsiteX102" fmla="*/ 833814 w 900424"/>
              <a:gd name="connsiteY102" fmla="*/ 271872 h 897080"/>
              <a:gd name="connsiteX103" fmla="*/ 833814 w 900424"/>
              <a:gd name="connsiteY103" fmla="*/ 842046 h 897080"/>
              <a:gd name="connsiteX104" fmla="*/ 778780 w 900424"/>
              <a:gd name="connsiteY104" fmla="*/ 897080 h 897080"/>
              <a:gd name="connsiteX105" fmla="*/ 239864 w 900424"/>
              <a:gd name="connsiteY105" fmla="*/ 897080 h 897080"/>
              <a:gd name="connsiteX106" fmla="*/ 184830 w 900424"/>
              <a:gd name="connsiteY106" fmla="*/ 842046 h 897080"/>
              <a:gd name="connsiteX107" fmla="*/ 184830 w 900424"/>
              <a:gd name="connsiteY107" fmla="*/ 453750 h 897080"/>
              <a:gd name="connsiteX108" fmla="*/ 108913 w 900424"/>
              <a:gd name="connsiteY108" fmla="*/ 370979 h 897080"/>
              <a:gd name="connsiteX109" fmla="*/ 110701 w 900424"/>
              <a:gd name="connsiteY109" fmla="*/ 329567 h 897080"/>
              <a:gd name="connsiteX110" fmla="*/ 184830 w 900424"/>
              <a:gd name="connsiteY110" fmla="*/ 261577 h 897080"/>
              <a:gd name="connsiteX111" fmla="*/ 184830 w 900424"/>
              <a:gd name="connsiteY111" fmla="*/ 229235 h 897080"/>
              <a:gd name="connsiteX112" fmla="*/ 182259 w 900424"/>
              <a:gd name="connsiteY112" fmla="*/ 231595 h 897080"/>
              <a:gd name="connsiteX113" fmla="*/ 181841 w 900424"/>
              <a:gd name="connsiteY113" fmla="*/ 224803 h 897080"/>
              <a:gd name="connsiteX114" fmla="*/ 140694 w 900424"/>
              <a:gd name="connsiteY114" fmla="*/ 179942 h 897080"/>
              <a:gd name="connsiteX115" fmla="*/ 121321 w 900424"/>
              <a:gd name="connsiteY115" fmla="*/ 177057 h 897080"/>
              <a:gd name="connsiteX116" fmla="*/ 42515 w 900424"/>
              <a:gd name="connsiteY116" fmla="*/ 249335 h 897080"/>
              <a:gd name="connsiteX117" fmla="*/ 43718 w 900424"/>
              <a:gd name="connsiteY117" fmla="*/ 268885 h 897080"/>
              <a:gd name="connsiteX118" fmla="*/ 84866 w 900424"/>
              <a:gd name="connsiteY118" fmla="*/ 313747 h 897080"/>
              <a:gd name="connsiteX119" fmla="*/ 91596 w 900424"/>
              <a:gd name="connsiteY119" fmla="*/ 314749 h 897080"/>
              <a:gd name="connsiteX120" fmla="*/ 83614 w 900424"/>
              <a:gd name="connsiteY120" fmla="*/ 322070 h 897080"/>
              <a:gd name="connsiteX121" fmla="*/ 60335 w 900424"/>
              <a:gd name="connsiteY121" fmla="*/ 321065 h 897080"/>
              <a:gd name="connsiteX122" fmla="*/ 15793 w 900424"/>
              <a:gd name="connsiteY122" fmla="*/ 272501 h 897080"/>
              <a:gd name="connsiteX123" fmla="*/ 16799 w 900424"/>
              <a:gd name="connsiteY123" fmla="*/ 249222 h 897080"/>
              <a:gd name="connsiteX124" fmla="*/ 122114 w 900424"/>
              <a:gd name="connsiteY124" fmla="*/ 152628 h 897080"/>
              <a:gd name="connsiteX125" fmla="*/ 145393 w 900424"/>
              <a:gd name="connsiteY125" fmla="*/ 153633 h 897080"/>
              <a:gd name="connsiteX126" fmla="*/ 184830 w 900424"/>
              <a:gd name="connsiteY126" fmla="*/ 196630 h 897080"/>
              <a:gd name="connsiteX127" fmla="*/ 184830 w 900424"/>
              <a:gd name="connsiteY127" fmla="*/ 99625 h 897080"/>
              <a:gd name="connsiteX128" fmla="*/ 239864 w 900424"/>
              <a:gd name="connsiteY128" fmla="*/ 44590 h 897080"/>
              <a:gd name="connsiteX129" fmla="*/ 279115 w 900424"/>
              <a:gd name="connsiteY129" fmla="*/ 44590 h 897080"/>
              <a:gd name="connsiteX130" fmla="*/ 279115 w 900424"/>
              <a:gd name="connsiteY130" fmla="*/ 5557 h 897080"/>
              <a:gd name="connsiteX131" fmla="*/ 284672 w 900424"/>
              <a:gd name="connsiteY131" fmla="*/ 0 h 897080"/>
              <a:gd name="connsiteX132" fmla="*/ 0 w 900424"/>
              <a:gd name="connsiteY132" fmla="*/ 168809 h 897080"/>
              <a:gd name="connsiteX133" fmla="*/ 69385 w 900424"/>
              <a:gd name="connsiteY133" fmla="*/ 71219 h 897080"/>
              <a:gd name="connsiteX134" fmla="*/ 0 w 900424"/>
              <a:gd name="connsiteY134" fmla="*/ 168855 h 897080"/>
              <a:gd name="connsiteX135" fmla="*/ 0 w 900424"/>
              <a:gd name="connsiteY135" fmla="*/ 168809 h 897080"/>
              <a:gd name="connsiteX0" fmla="*/ 260828 w 900424"/>
              <a:gd name="connsiteY0" fmla="*/ 738104 h 897080"/>
              <a:gd name="connsiteX1" fmla="*/ 260828 w 900424"/>
              <a:gd name="connsiteY1" fmla="*/ 767616 h 897080"/>
              <a:gd name="connsiteX2" fmla="*/ 752690 w 900424"/>
              <a:gd name="connsiteY2" fmla="*/ 767616 h 897080"/>
              <a:gd name="connsiteX3" fmla="*/ 752690 w 900424"/>
              <a:gd name="connsiteY3" fmla="*/ 738104 h 897080"/>
              <a:gd name="connsiteX4" fmla="*/ 260828 w 900424"/>
              <a:gd name="connsiteY4" fmla="*/ 738104 h 897080"/>
              <a:gd name="connsiteX5" fmla="*/ 523025 w 900424"/>
              <a:gd name="connsiteY5" fmla="*/ 662789 h 897080"/>
              <a:gd name="connsiteX6" fmla="*/ 529392 w 900424"/>
              <a:gd name="connsiteY6" fmla="*/ 692301 h 897080"/>
              <a:gd name="connsiteX7" fmla="*/ 752690 w 900424"/>
              <a:gd name="connsiteY7" fmla="*/ 692301 h 897080"/>
              <a:gd name="connsiteX8" fmla="*/ 752690 w 900424"/>
              <a:gd name="connsiteY8" fmla="*/ 662789 h 897080"/>
              <a:gd name="connsiteX9" fmla="*/ 523025 w 900424"/>
              <a:gd name="connsiteY9" fmla="*/ 662789 h 897080"/>
              <a:gd name="connsiteX10" fmla="*/ 260828 w 900424"/>
              <a:gd name="connsiteY10" fmla="*/ 662789 h 897080"/>
              <a:gd name="connsiteX11" fmla="*/ 260828 w 900424"/>
              <a:gd name="connsiteY11" fmla="*/ 692301 h 897080"/>
              <a:gd name="connsiteX12" fmla="*/ 520342 w 900424"/>
              <a:gd name="connsiteY12" fmla="*/ 692301 h 897080"/>
              <a:gd name="connsiteX13" fmla="*/ 427300 w 900424"/>
              <a:gd name="connsiteY13" fmla="*/ 662789 h 897080"/>
              <a:gd name="connsiteX14" fmla="*/ 260828 w 900424"/>
              <a:gd name="connsiteY14" fmla="*/ 662789 h 897080"/>
              <a:gd name="connsiteX15" fmla="*/ 506777 w 900424"/>
              <a:gd name="connsiteY15" fmla="*/ 587471 h 897080"/>
              <a:gd name="connsiteX16" fmla="*/ 513144 w 900424"/>
              <a:gd name="connsiteY16" fmla="*/ 616983 h 897080"/>
              <a:gd name="connsiteX17" fmla="*/ 752690 w 900424"/>
              <a:gd name="connsiteY17" fmla="*/ 616983 h 897080"/>
              <a:gd name="connsiteX18" fmla="*/ 752690 w 900424"/>
              <a:gd name="connsiteY18" fmla="*/ 587471 h 897080"/>
              <a:gd name="connsiteX19" fmla="*/ 506777 w 900424"/>
              <a:gd name="connsiteY19" fmla="*/ 587471 h 897080"/>
              <a:gd name="connsiteX20" fmla="*/ 260828 w 900424"/>
              <a:gd name="connsiteY20" fmla="*/ 587471 h 897080"/>
              <a:gd name="connsiteX21" fmla="*/ 260828 w 900424"/>
              <a:gd name="connsiteY21" fmla="*/ 616983 h 897080"/>
              <a:gd name="connsiteX22" fmla="*/ 334546 w 900424"/>
              <a:gd name="connsiteY22" fmla="*/ 616983 h 897080"/>
              <a:gd name="connsiteX23" fmla="*/ 307478 w 900424"/>
              <a:gd name="connsiteY23" fmla="*/ 587471 h 897080"/>
              <a:gd name="connsiteX24" fmla="*/ 260828 w 900424"/>
              <a:gd name="connsiteY24" fmla="*/ 587471 h 897080"/>
              <a:gd name="connsiteX25" fmla="*/ 467940 w 900424"/>
              <a:gd name="connsiteY25" fmla="*/ 544863 h 897080"/>
              <a:gd name="connsiteX26" fmla="*/ 385032 w 900424"/>
              <a:gd name="connsiteY26" fmla="*/ 620125 h 897080"/>
              <a:gd name="connsiteX27" fmla="*/ 506739 w 900424"/>
              <a:gd name="connsiteY27" fmla="*/ 670589 h 897080"/>
              <a:gd name="connsiteX28" fmla="*/ 467940 w 900424"/>
              <a:gd name="connsiteY28" fmla="*/ 544863 h 897080"/>
              <a:gd name="connsiteX29" fmla="*/ 260828 w 900424"/>
              <a:gd name="connsiteY29" fmla="*/ 536610 h 897080"/>
              <a:gd name="connsiteX30" fmla="*/ 260828 w 900424"/>
              <a:gd name="connsiteY30" fmla="*/ 541666 h 897080"/>
              <a:gd name="connsiteX31" fmla="*/ 265465 w 900424"/>
              <a:gd name="connsiteY31" fmla="*/ 541666 h 897080"/>
              <a:gd name="connsiteX32" fmla="*/ 260828 w 900424"/>
              <a:gd name="connsiteY32" fmla="*/ 536610 h 897080"/>
              <a:gd name="connsiteX33" fmla="*/ 477023 w 900424"/>
              <a:gd name="connsiteY33" fmla="*/ 512155 h 897080"/>
              <a:gd name="connsiteX34" fmla="*/ 477810 w 900424"/>
              <a:gd name="connsiteY34" fmla="*/ 513012 h 897080"/>
              <a:gd name="connsiteX35" fmla="*/ 481962 w 900424"/>
              <a:gd name="connsiteY35" fmla="*/ 541666 h 897080"/>
              <a:gd name="connsiteX36" fmla="*/ 752690 w 900424"/>
              <a:gd name="connsiteY36" fmla="*/ 541666 h 897080"/>
              <a:gd name="connsiteX37" fmla="*/ 752690 w 900424"/>
              <a:gd name="connsiteY37" fmla="*/ 512155 h 897080"/>
              <a:gd name="connsiteX38" fmla="*/ 477023 w 900424"/>
              <a:gd name="connsiteY38" fmla="*/ 512155 h 897080"/>
              <a:gd name="connsiteX39" fmla="*/ 407941 w 900424"/>
              <a:gd name="connsiteY39" fmla="*/ 436837 h 897080"/>
              <a:gd name="connsiteX40" fmla="*/ 435010 w 900424"/>
              <a:gd name="connsiteY40" fmla="*/ 466349 h 897080"/>
              <a:gd name="connsiteX41" fmla="*/ 752690 w 900424"/>
              <a:gd name="connsiteY41" fmla="*/ 466349 h 897080"/>
              <a:gd name="connsiteX42" fmla="*/ 752690 w 900424"/>
              <a:gd name="connsiteY42" fmla="*/ 436837 h 897080"/>
              <a:gd name="connsiteX43" fmla="*/ 407941 w 900424"/>
              <a:gd name="connsiteY43" fmla="*/ 436837 h 897080"/>
              <a:gd name="connsiteX44" fmla="*/ 338860 w 900424"/>
              <a:gd name="connsiteY44" fmla="*/ 361519 h 897080"/>
              <a:gd name="connsiteX45" fmla="*/ 365929 w 900424"/>
              <a:gd name="connsiteY45" fmla="*/ 391031 h 897080"/>
              <a:gd name="connsiteX46" fmla="*/ 752690 w 900424"/>
              <a:gd name="connsiteY46" fmla="*/ 391031 h 897080"/>
              <a:gd name="connsiteX47" fmla="*/ 752690 w 900424"/>
              <a:gd name="connsiteY47" fmla="*/ 361519 h 897080"/>
              <a:gd name="connsiteX48" fmla="*/ 338860 w 900424"/>
              <a:gd name="connsiteY48" fmla="*/ 361519 h 897080"/>
              <a:gd name="connsiteX49" fmla="*/ 208773 w 900424"/>
              <a:gd name="connsiteY49" fmla="*/ 261390 h 897080"/>
              <a:gd name="connsiteX50" fmla="*/ 191984 w 900424"/>
              <a:gd name="connsiteY50" fmla="*/ 266028 h 897080"/>
              <a:gd name="connsiteX51" fmla="*/ 127335 w 900424"/>
              <a:gd name="connsiteY51" fmla="*/ 325324 h 897080"/>
              <a:gd name="connsiteX52" fmla="*/ 129474 w 900424"/>
              <a:gd name="connsiteY52" fmla="*/ 360103 h 897080"/>
              <a:gd name="connsiteX53" fmla="*/ 350534 w 900424"/>
              <a:gd name="connsiteY53" fmla="*/ 601119 h 897080"/>
              <a:gd name="connsiteX54" fmla="*/ 384998 w 900424"/>
              <a:gd name="connsiteY54" fmla="*/ 606249 h 897080"/>
              <a:gd name="connsiteX55" fmla="*/ 449647 w 900424"/>
              <a:gd name="connsiteY55" fmla="*/ 546953 h 897080"/>
              <a:gd name="connsiteX56" fmla="*/ 447509 w 900424"/>
              <a:gd name="connsiteY56" fmla="*/ 512175 h 897080"/>
              <a:gd name="connsiteX57" fmla="*/ 226448 w 900424"/>
              <a:gd name="connsiteY57" fmla="*/ 271158 h 897080"/>
              <a:gd name="connsiteX58" fmla="*/ 208773 w 900424"/>
              <a:gd name="connsiteY58" fmla="*/ 261390 h 897080"/>
              <a:gd name="connsiteX59" fmla="*/ 260828 w 900424"/>
              <a:gd name="connsiteY59" fmla="*/ 243676 h 897080"/>
              <a:gd name="connsiteX60" fmla="*/ 260828 w 900424"/>
              <a:gd name="connsiteY60" fmla="*/ 276442 h 897080"/>
              <a:gd name="connsiteX61" fmla="*/ 266867 w 900424"/>
              <a:gd name="connsiteY61" fmla="*/ 283025 h 897080"/>
              <a:gd name="connsiteX62" fmla="*/ 555945 w 900424"/>
              <a:gd name="connsiteY62" fmla="*/ 283025 h 897080"/>
              <a:gd name="connsiteX63" fmla="*/ 555945 w 900424"/>
              <a:gd name="connsiteY63" fmla="*/ 243676 h 897080"/>
              <a:gd name="connsiteX64" fmla="*/ 260828 w 900424"/>
              <a:gd name="connsiteY64" fmla="*/ 243676 h 897080"/>
              <a:gd name="connsiteX65" fmla="*/ 593007 w 900424"/>
              <a:gd name="connsiteY65" fmla="*/ 92545 h 897080"/>
              <a:gd name="connsiteX66" fmla="*/ 593004 w 900424"/>
              <a:gd name="connsiteY66" fmla="*/ 246254 h 897080"/>
              <a:gd name="connsiteX67" fmla="*/ 636152 w 900424"/>
              <a:gd name="connsiteY67" fmla="*/ 294792 h 897080"/>
              <a:gd name="connsiteX68" fmla="*/ 797949 w 900424"/>
              <a:gd name="connsiteY68" fmla="*/ 297488 h 897080"/>
              <a:gd name="connsiteX69" fmla="*/ 593007 w 900424"/>
              <a:gd name="connsiteY69" fmla="*/ 92545 h 897080"/>
              <a:gd name="connsiteX70" fmla="*/ 655342 w 900424"/>
              <a:gd name="connsiteY70" fmla="*/ 72904 h 897080"/>
              <a:gd name="connsiteX71" fmla="*/ 721150 w 900424"/>
              <a:gd name="connsiteY71" fmla="*/ 72904 h 897080"/>
              <a:gd name="connsiteX72" fmla="*/ 900424 w 900424"/>
              <a:gd name="connsiteY72" fmla="*/ 254516 h 897080"/>
              <a:gd name="connsiteX73" fmla="*/ 900424 w 900424"/>
              <a:gd name="connsiteY73" fmla="*/ 826972 h 897080"/>
              <a:gd name="connsiteX74" fmla="*/ 852052 w 900424"/>
              <a:gd name="connsiteY74" fmla="*/ 879012 h 897080"/>
              <a:gd name="connsiteX75" fmla="*/ 828360 w 900424"/>
              <a:gd name="connsiteY75" fmla="*/ 879012 h 897080"/>
              <a:gd name="connsiteX76" fmla="*/ 849187 w 900424"/>
              <a:gd name="connsiteY76" fmla="*/ 836923 h 897080"/>
              <a:gd name="connsiteX77" fmla="*/ 849187 w 900424"/>
              <a:gd name="connsiteY77" fmla="*/ 266749 h 897080"/>
              <a:gd name="connsiteX78" fmla="*/ 655342 w 900424"/>
              <a:gd name="connsiteY78" fmla="*/ 72904 h 897080"/>
              <a:gd name="connsiteX79" fmla="*/ 284672 w 900424"/>
              <a:gd name="connsiteY79" fmla="*/ 0 h 897080"/>
              <a:gd name="connsiteX80" fmla="*/ 306902 w 900424"/>
              <a:gd name="connsiteY80" fmla="*/ 0 h 897080"/>
              <a:gd name="connsiteX81" fmla="*/ 312459 w 900424"/>
              <a:gd name="connsiteY81" fmla="*/ 5557 h 897080"/>
              <a:gd name="connsiteX82" fmla="*/ 312459 w 900424"/>
              <a:gd name="connsiteY82" fmla="*/ 44590 h 897080"/>
              <a:gd name="connsiteX83" fmla="*/ 341829 w 900424"/>
              <a:gd name="connsiteY83" fmla="*/ 44590 h 897080"/>
              <a:gd name="connsiteX84" fmla="*/ 341829 w 900424"/>
              <a:gd name="connsiteY84" fmla="*/ 5557 h 897080"/>
              <a:gd name="connsiteX85" fmla="*/ 347386 w 900424"/>
              <a:gd name="connsiteY85" fmla="*/ 0 h 897080"/>
              <a:gd name="connsiteX86" fmla="*/ 369616 w 900424"/>
              <a:gd name="connsiteY86" fmla="*/ 0 h 897080"/>
              <a:gd name="connsiteX87" fmla="*/ 375173 w 900424"/>
              <a:gd name="connsiteY87" fmla="*/ 5557 h 897080"/>
              <a:gd name="connsiteX88" fmla="*/ 375173 w 900424"/>
              <a:gd name="connsiteY88" fmla="*/ 44590 h 897080"/>
              <a:gd name="connsiteX89" fmla="*/ 404543 w 900424"/>
              <a:gd name="connsiteY89" fmla="*/ 44590 h 897080"/>
              <a:gd name="connsiteX90" fmla="*/ 404543 w 900424"/>
              <a:gd name="connsiteY90" fmla="*/ 5557 h 897080"/>
              <a:gd name="connsiteX91" fmla="*/ 410100 w 900424"/>
              <a:gd name="connsiteY91" fmla="*/ 0 h 897080"/>
              <a:gd name="connsiteX92" fmla="*/ 432330 w 900424"/>
              <a:gd name="connsiteY92" fmla="*/ 0 h 897080"/>
              <a:gd name="connsiteX93" fmla="*/ 437887 w 900424"/>
              <a:gd name="connsiteY93" fmla="*/ 5557 h 897080"/>
              <a:gd name="connsiteX94" fmla="*/ 437887 w 900424"/>
              <a:gd name="connsiteY94" fmla="*/ 44590 h 897080"/>
              <a:gd name="connsiteX95" fmla="*/ 467255 w 900424"/>
              <a:gd name="connsiteY95" fmla="*/ 44590 h 897080"/>
              <a:gd name="connsiteX96" fmla="*/ 467255 w 900424"/>
              <a:gd name="connsiteY96" fmla="*/ 5557 h 897080"/>
              <a:gd name="connsiteX97" fmla="*/ 472813 w 900424"/>
              <a:gd name="connsiteY97" fmla="*/ 0 h 897080"/>
              <a:gd name="connsiteX98" fmla="*/ 495042 w 900424"/>
              <a:gd name="connsiteY98" fmla="*/ 0 h 897080"/>
              <a:gd name="connsiteX99" fmla="*/ 500600 w 900424"/>
              <a:gd name="connsiteY99" fmla="*/ 5557 h 897080"/>
              <a:gd name="connsiteX100" fmla="*/ 500600 w 900424"/>
              <a:gd name="connsiteY100" fmla="*/ 44590 h 897080"/>
              <a:gd name="connsiteX101" fmla="*/ 606532 w 900424"/>
              <a:gd name="connsiteY101" fmla="*/ 44590 h 897080"/>
              <a:gd name="connsiteX102" fmla="*/ 833814 w 900424"/>
              <a:gd name="connsiteY102" fmla="*/ 271872 h 897080"/>
              <a:gd name="connsiteX103" fmla="*/ 833814 w 900424"/>
              <a:gd name="connsiteY103" fmla="*/ 842046 h 897080"/>
              <a:gd name="connsiteX104" fmla="*/ 778780 w 900424"/>
              <a:gd name="connsiteY104" fmla="*/ 897080 h 897080"/>
              <a:gd name="connsiteX105" fmla="*/ 239864 w 900424"/>
              <a:gd name="connsiteY105" fmla="*/ 897080 h 897080"/>
              <a:gd name="connsiteX106" fmla="*/ 184830 w 900424"/>
              <a:gd name="connsiteY106" fmla="*/ 842046 h 897080"/>
              <a:gd name="connsiteX107" fmla="*/ 184830 w 900424"/>
              <a:gd name="connsiteY107" fmla="*/ 453750 h 897080"/>
              <a:gd name="connsiteX108" fmla="*/ 108913 w 900424"/>
              <a:gd name="connsiteY108" fmla="*/ 370979 h 897080"/>
              <a:gd name="connsiteX109" fmla="*/ 110701 w 900424"/>
              <a:gd name="connsiteY109" fmla="*/ 329567 h 897080"/>
              <a:gd name="connsiteX110" fmla="*/ 184830 w 900424"/>
              <a:gd name="connsiteY110" fmla="*/ 261577 h 897080"/>
              <a:gd name="connsiteX111" fmla="*/ 184830 w 900424"/>
              <a:gd name="connsiteY111" fmla="*/ 229235 h 897080"/>
              <a:gd name="connsiteX112" fmla="*/ 182259 w 900424"/>
              <a:gd name="connsiteY112" fmla="*/ 231595 h 897080"/>
              <a:gd name="connsiteX113" fmla="*/ 181841 w 900424"/>
              <a:gd name="connsiteY113" fmla="*/ 224803 h 897080"/>
              <a:gd name="connsiteX114" fmla="*/ 140694 w 900424"/>
              <a:gd name="connsiteY114" fmla="*/ 179942 h 897080"/>
              <a:gd name="connsiteX115" fmla="*/ 121321 w 900424"/>
              <a:gd name="connsiteY115" fmla="*/ 177057 h 897080"/>
              <a:gd name="connsiteX116" fmla="*/ 42515 w 900424"/>
              <a:gd name="connsiteY116" fmla="*/ 249335 h 897080"/>
              <a:gd name="connsiteX117" fmla="*/ 43718 w 900424"/>
              <a:gd name="connsiteY117" fmla="*/ 268885 h 897080"/>
              <a:gd name="connsiteX118" fmla="*/ 84866 w 900424"/>
              <a:gd name="connsiteY118" fmla="*/ 313747 h 897080"/>
              <a:gd name="connsiteX119" fmla="*/ 91596 w 900424"/>
              <a:gd name="connsiteY119" fmla="*/ 314749 h 897080"/>
              <a:gd name="connsiteX120" fmla="*/ 83614 w 900424"/>
              <a:gd name="connsiteY120" fmla="*/ 322070 h 897080"/>
              <a:gd name="connsiteX121" fmla="*/ 60335 w 900424"/>
              <a:gd name="connsiteY121" fmla="*/ 321065 h 897080"/>
              <a:gd name="connsiteX122" fmla="*/ 15793 w 900424"/>
              <a:gd name="connsiteY122" fmla="*/ 272501 h 897080"/>
              <a:gd name="connsiteX123" fmla="*/ 16799 w 900424"/>
              <a:gd name="connsiteY123" fmla="*/ 249222 h 897080"/>
              <a:gd name="connsiteX124" fmla="*/ 122114 w 900424"/>
              <a:gd name="connsiteY124" fmla="*/ 152628 h 897080"/>
              <a:gd name="connsiteX125" fmla="*/ 145393 w 900424"/>
              <a:gd name="connsiteY125" fmla="*/ 153633 h 897080"/>
              <a:gd name="connsiteX126" fmla="*/ 184830 w 900424"/>
              <a:gd name="connsiteY126" fmla="*/ 196630 h 897080"/>
              <a:gd name="connsiteX127" fmla="*/ 184830 w 900424"/>
              <a:gd name="connsiteY127" fmla="*/ 99625 h 897080"/>
              <a:gd name="connsiteX128" fmla="*/ 239864 w 900424"/>
              <a:gd name="connsiteY128" fmla="*/ 44590 h 897080"/>
              <a:gd name="connsiteX129" fmla="*/ 279115 w 900424"/>
              <a:gd name="connsiteY129" fmla="*/ 44590 h 897080"/>
              <a:gd name="connsiteX130" fmla="*/ 279115 w 900424"/>
              <a:gd name="connsiteY130" fmla="*/ 5557 h 897080"/>
              <a:gd name="connsiteX131" fmla="*/ 284672 w 900424"/>
              <a:gd name="connsiteY131" fmla="*/ 0 h 897080"/>
              <a:gd name="connsiteX132" fmla="*/ 0 w 900424"/>
              <a:gd name="connsiteY132" fmla="*/ 168855 h 897080"/>
              <a:gd name="connsiteX133" fmla="*/ 69385 w 900424"/>
              <a:gd name="connsiteY133" fmla="*/ 71219 h 897080"/>
              <a:gd name="connsiteX134" fmla="*/ 0 w 900424"/>
              <a:gd name="connsiteY134" fmla="*/ 168855 h 897080"/>
              <a:gd name="connsiteX0" fmla="*/ 249370 w 888966"/>
              <a:gd name="connsiteY0" fmla="*/ 738104 h 897080"/>
              <a:gd name="connsiteX1" fmla="*/ 249370 w 888966"/>
              <a:gd name="connsiteY1" fmla="*/ 767616 h 897080"/>
              <a:gd name="connsiteX2" fmla="*/ 741232 w 888966"/>
              <a:gd name="connsiteY2" fmla="*/ 767616 h 897080"/>
              <a:gd name="connsiteX3" fmla="*/ 741232 w 888966"/>
              <a:gd name="connsiteY3" fmla="*/ 738104 h 897080"/>
              <a:gd name="connsiteX4" fmla="*/ 249370 w 888966"/>
              <a:gd name="connsiteY4" fmla="*/ 738104 h 897080"/>
              <a:gd name="connsiteX5" fmla="*/ 511567 w 888966"/>
              <a:gd name="connsiteY5" fmla="*/ 662789 h 897080"/>
              <a:gd name="connsiteX6" fmla="*/ 517934 w 888966"/>
              <a:gd name="connsiteY6" fmla="*/ 692301 h 897080"/>
              <a:gd name="connsiteX7" fmla="*/ 741232 w 888966"/>
              <a:gd name="connsiteY7" fmla="*/ 692301 h 897080"/>
              <a:gd name="connsiteX8" fmla="*/ 741232 w 888966"/>
              <a:gd name="connsiteY8" fmla="*/ 662789 h 897080"/>
              <a:gd name="connsiteX9" fmla="*/ 511567 w 888966"/>
              <a:gd name="connsiteY9" fmla="*/ 662789 h 897080"/>
              <a:gd name="connsiteX10" fmla="*/ 249370 w 888966"/>
              <a:gd name="connsiteY10" fmla="*/ 662789 h 897080"/>
              <a:gd name="connsiteX11" fmla="*/ 249370 w 888966"/>
              <a:gd name="connsiteY11" fmla="*/ 692301 h 897080"/>
              <a:gd name="connsiteX12" fmla="*/ 508884 w 888966"/>
              <a:gd name="connsiteY12" fmla="*/ 692301 h 897080"/>
              <a:gd name="connsiteX13" fmla="*/ 415842 w 888966"/>
              <a:gd name="connsiteY13" fmla="*/ 662789 h 897080"/>
              <a:gd name="connsiteX14" fmla="*/ 249370 w 888966"/>
              <a:gd name="connsiteY14" fmla="*/ 662789 h 897080"/>
              <a:gd name="connsiteX15" fmla="*/ 495319 w 888966"/>
              <a:gd name="connsiteY15" fmla="*/ 587471 h 897080"/>
              <a:gd name="connsiteX16" fmla="*/ 501686 w 888966"/>
              <a:gd name="connsiteY16" fmla="*/ 616983 h 897080"/>
              <a:gd name="connsiteX17" fmla="*/ 741232 w 888966"/>
              <a:gd name="connsiteY17" fmla="*/ 616983 h 897080"/>
              <a:gd name="connsiteX18" fmla="*/ 741232 w 888966"/>
              <a:gd name="connsiteY18" fmla="*/ 587471 h 897080"/>
              <a:gd name="connsiteX19" fmla="*/ 495319 w 888966"/>
              <a:gd name="connsiteY19" fmla="*/ 587471 h 897080"/>
              <a:gd name="connsiteX20" fmla="*/ 249370 w 888966"/>
              <a:gd name="connsiteY20" fmla="*/ 587471 h 897080"/>
              <a:gd name="connsiteX21" fmla="*/ 249370 w 888966"/>
              <a:gd name="connsiteY21" fmla="*/ 616983 h 897080"/>
              <a:gd name="connsiteX22" fmla="*/ 323088 w 888966"/>
              <a:gd name="connsiteY22" fmla="*/ 616983 h 897080"/>
              <a:gd name="connsiteX23" fmla="*/ 296020 w 888966"/>
              <a:gd name="connsiteY23" fmla="*/ 587471 h 897080"/>
              <a:gd name="connsiteX24" fmla="*/ 249370 w 888966"/>
              <a:gd name="connsiteY24" fmla="*/ 587471 h 897080"/>
              <a:gd name="connsiteX25" fmla="*/ 456482 w 888966"/>
              <a:gd name="connsiteY25" fmla="*/ 544863 h 897080"/>
              <a:gd name="connsiteX26" fmla="*/ 373574 w 888966"/>
              <a:gd name="connsiteY26" fmla="*/ 620125 h 897080"/>
              <a:gd name="connsiteX27" fmla="*/ 495281 w 888966"/>
              <a:gd name="connsiteY27" fmla="*/ 670589 h 897080"/>
              <a:gd name="connsiteX28" fmla="*/ 456482 w 888966"/>
              <a:gd name="connsiteY28" fmla="*/ 544863 h 897080"/>
              <a:gd name="connsiteX29" fmla="*/ 249370 w 888966"/>
              <a:gd name="connsiteY29" fmla="*/ 536610 h 897080"/>
              <a:gd name="connsiteX30" fmla="*/ 249370 w 888966"/>
              <a:gd name="connsiteY30" fmla="*/ 541666 h 897080"/>
              <a:gd name="connsiteX31" fmla="*/ 254007 w 888966"/>
              <a:gd name="connsiteY31" fmla="*/ 541666 h 897080"/>
              <a:gd name="connsiteX32" fmla="*/ 249370 w 888966"/>
              <a:gd name="connsiteY32" fmla="*/ 536610 h 897080"/>
              <a:gd name="connsiteX33" fmla="*/ 465565 w 888966"/>
              <a:gd name="connsiteY33" fmla="*/ 512155 h 897080"/>
              <a:gd name="connsiteX34" fmla="*/ 466352 w 888966"/>
              <a:gd name="connsiteY34" fmla="*/ 513012 h 897080"/>
              <a:gd name="connsiteX35" fmla="*/ 470504 w 888966"/>
              <a:gd name="connsiteY35" fmla="*/ 541666 h 897080"/>
              <a:gd name="connsiteX36" fmla="*/ 741232 w 888966"/>
              <a:gd name="connsiteY36" fmla="*/ 541666 h 897080"/>
              <a:gd name="connsiteX37" fmla="*/ 741232 w 888966"/>
              <a:gd name="connsiteY37" fmla="*/ 512155 h 897080"/>
              <a:gd name="connsiteX38" fmla="*/ 465565 w 888966"/>
              <a:gd name="connsiteY38" fmla="*/ 512155 h 897080"/>
              <a:gd name="connsiteX39" fmla="*/ 396483 w 888966"/>
              <a:gd name="connsiteY39" fmla="*/ 436837 h 897080"/>
              <a:gd name="connsiteX40" fmla="*/ 423552 w 888966"/>
              <a:gd name="connsiteY40" fmla="*/ 466349 h 897080"/>
              <a:gd name="connsiteX41" fmla="*/ 741232 w 888966"/>
              <a:gd name="connsiteY41" fmla="*/ 466349 h 897080"/>
              <a:gd name="connsiteX42" fmla="*/ 741232 w 888966"/>
              <a:gd name="connsiteY42" fmla="*/ 436837 h 897080"/>
              <a:gd name="connsiteX43" fmla="*/ 396483 w 888966"/>
              <a:gd name="connsiteY43" fmla="*/ 436837 h 897080"/>
              <a:gd name="connsiteX44" fmla="*/ 327402 w 888966"/>
              <a:gd name="connsiteY44" fmla="*/ 361519 h 897080"/>
              <a:gd name="connsiteX45" fmla="*/ 354471 w 888966"/>
              <a:gd name="connsiteY45" fmla="*/ 391031 h 897080"/>
              <a:gd name="connsiteX46" fmla="*/ 741232 w 888966"/>
              <a:gd name="connsiteY46" fmla="*/ 391031 h 897080"/>
              <a:gd name="connsiteX47" fmla="*/ 741232 w 888966"/>
              <a:gd name="connsiteY47" fmla="*/ 361519 h 897080"/>
              <a:gd name="connsiteX48" fmla="*/ 327402 w 888966"/>
              <a:gd name="connsiteY48" fmla="*/ 361519 h 897080"/>
              <a:gd name="connsiteX49" fmla="*/ 197315 w 888966"/>
              <a:gd name="connsiteY49" fmla="*/ 261390 h 897080"/>
              <a:gd name="connsiteX50" fmla="*/ 180526 w 888966"/>
              <a:gd name="connsiteY50" fmla="*/ 266028 h 897080"/>
              <a:gd name="connsiteX51" fmla="*/ 115877 w 888966"/>
              <a:gd name="connsiteY51" fmla="*/ 325324 h 897080"/>
              <a:gd name="connsiteX52" fmla="*/ 118016 w 888966"/>
              <a:gd name="connsiteY52" fmla="*/ 360103 h 897080"/>
              <a:gd name="connsiteX53" fmla="*/ 339076 w 888966"/>
              <a:gd name="connsiteY53" fmla="*/ 601119 h 897080"/>
              <a:gd name="connsiteX54" fmla="*/ 373540 w 888966"/>
              <a:gd name="connsiteY54" fmla="*/ 606249 h 897080"/>
              <a:gd name="connsiteX55" fmla="*/ 438189 w 888966"/>
              <a:gd name="connsiteY55" fmla="*/ 546953 h 897080"/>
              <a:gd name="connsiteX56" fmla="*/ 436051 w 888966"/>
              <a:gd name="connsiteY56" fmla="*/ 512175 h 897080"/>
              <a:gd name="connsiteX57" fmla="*/ 214990 w 888966"/>
              <a:gd name="connsiteY57" fmla="*/ 271158 h 897080"/>
              <a:gd name="connsiteX58" fmla="*/ 197315 w 888966"/>
              <a:gd name="connsiteY58" fmla="*/ 261390 h 897080"/>
              <a:gd name="connsiteX59" fmla="*/ 249370 w 888966"/>
              <a:gd name="connsiteY59" fmla="*/ 243676 h 897080"/>
              <a:gd name="connsiteX60" fmla="*/ 249370 w 888966"/>
              <a:gd name="connsiteY60" fmla="*/ 276442 h 897080"/>
              <a:gd name="connsiteX61" fmla="*/ 255409 w 888966"/>
              <a:gd name="connsiteY61" fmla="*/ 283025 h 897080"/>
              <a:gd name="connsiteX62" fmla="*/ 544487 w 888966"/>
              <a:gd name="connsiteY62" fmla="*/ 283025 h 897080"/>
              <a:gd name="connsiteX63" fmla="*/ 544487 w 888966"/>
              <a:gd name="connsiteY63" fmla="*/ 243676 h 897080"/>
              <a:gd name="connsiteX64" fmla="*/ 249370 w 888966"/>
              <a:gd name="connsiteY64" fmla="*/ 243676 h 897080"/>
              <a:gd name="connsiteX65" fmla="*/ 581549 w 888966"/>
              <a:gd name="connsiteY65" fmla="*/ 92545 h 897080"/>
              <a:gd name="connsiteX66" fmla="*/ 581546 w 888966"/>
              <a:gd name="connsiteY66" fmla="*/ 246254 h 897080"/>
              <a:gd name="connsiteX67" fmla="*/ 624694 w 888966"/>
              <a:gd name="connsiteY67" fmla="*/ 294792 h 897080"/>
              <a:gd name="connsiteX68" fmla="*/ 786491 w 888966"/>
              <a:gd name="connsiteY68" fmla="*/ 297488 h 897080"/>
              <a:gd name="connsiteX69" fmla="*/ 581549 w 888966"/>
              <a:gd name="connsiteY69" fmla="*/ 92545 h 897080"/>
              <a:gd name="connsiteX70" fmla="*/ 643884 w 888966"/>
              <a:gd name="connsiteY70" fmla="*/ 72904 h 897080"/>
              <a:gd name="connsiteX71" fmla="*/ 709692 w 888966"/>
              <a:gd name="connsiteY71" fmla="*/ 72904 h 897080"/>
              <a:gd name="connsiteX72" fmla="*/ 888966 w 888966"/>
              <a:gd name="connsiteY72" fmla="*/ 254516 h 897080"/>
              <a:gd name="connsiteX73" fmla="*/ 888966 w 888966"/>
              <a:gd name="connsiteY73" fmla="*/ 826972 h 897080"/>
              <a:gd name="connsiteX74" fmla="*/ 840594 w 888966"/>
              <a:gd name="connsiteY74" fmla="*/ 879012 h 897080"/>
              <a:gd name="connsiteX75" fmla="*/ 816902 w 888966"/>
              <a:gd name="connsiteY75" fmla="*/ 879012 h 897080"/>
              <a:gd name="connsiteX76" fmla="*/ 837729 w 888966"/>
              <a:gd name="connsiteY76" fmla="*/ 836923 h 897080"/>
              <a:gd name="connsiteX77" fmla="*/ 837729 w 888966"/>
              <a:gd name="connsiteY77" fmla="*/ 266749 h 897080"/>
              <a:gd name="connsiteX78" fmla="*/ 643884 w 888966"/>
              <a:gd name="connsiteY78" fmla="*/ 72904 h 897080"/>
              <a:gd name="connsiteX79" fmla="*/ 273214 w 888966"/>
              <a:gd name="connsiteY79" fmla="*/ 0 h 897080"/>
              <a:gd name="connsiteX80" fmla="*/ 295444 w 888966"/>
              <a:gd name="connsiteY80" fmla="*/ 0 h 897080"/>
              <a:gd name="connsiteX81" fmla="*/ 301001 w 888966"/>
              <a:gd name="connsiteY81" fmla="*/ 5557 h 897080"/>
              <a:gd name="connsiteX82" fmla="*/ 301001 w 888966"/>
              <a:gd name="connsiteY82" fmla="*/ 44590 h 897080"/>
              <a:gd name="connsiteX83" fmla="*/ 330371 w 888966"/>
              <a:gd name="connsiteY83" fmla="*/ 44590 h 897080"/>
              <a:gd name="connsiteX84" fmla="*/ 330371 w 888966"/>
              <a:gd name="connsiteY84" fmla="*/ 5557 h 897080"/>
              <a:gd name="connsiteX85" fmla="*/ 335928 w 888966"/>
              <a:gd name="connsiteY85" fmla="*/ 0 h 897080"/>
              <a:gd name="connsiteX86" fmla="*/ 358158 w 888966"/>
              <a:gd name="connsiteY86" fmla="*/ 0 h 897080"/>
              <a:gd name="connsiteX87" fmla="*/ 363715 w 888966"/>
              <a:gd name="connsiteY87" fmla="*/ 5557 h 897080"/>
              <a:gd name="connsiteX88" fmla="*/ 363715 w 888966"/>
              <a:gd name="connsiteY88" fmla="*/ 44590 h 897080"/>
              <a:gd name="connsiteX89" fmla="*/ 393085 w 888966"/>
              <a:gd name="connsiteY89" fmla="*/ 44590 h 897080"/>
              <a:gd name="connsiteX90" fmla="*/ 393085 w 888966"/>
              <a:gd name="connsiteY90" fmla="*/ 5557 h 897080"/>
              <a:gd name="connsiteX91" fmla="*/ 398642 w 888966"/>
              <a:gd name="connsiteY91" fmla="*/ 0 h 897080"/>
              <a:gd name="connsiteX92" fmla="*/ 420872 w 888966"/>
              <a:gd name="connsiteY92" fmla="*/ 0 h 897080"/>
              <a:gd name="connsiteX93" fmla="*/ 426429 w 888966"/>
              <a:gd name="connsiteY93" fmla="*/ 5557 h 897080"/>
              <a:gd name="connsiteX94" fmla="*/ 426429 w 888966"/>
              <a:gd name="connsiteY94" fmla="*/ 44590 h 897080"/>
              <a:gd name="connsiteX95" fmla="*/ 455797 w 888966"/>
              <a:gd name="connsiteY95" fmla="*/ 44590 h 897080"/>
              <a:gd name="connsiteX96" fmla="*/ 455797 w 888966"/>
              <a:gd name="connsiteY96" fmla="*/ 5557 h 897080"/>
              <a:gd name="connsiteX97" fmla="*/ 461355 w 888966"/>
              <a:gd name="connsiteY97" fmla="*/ 0 h 897080"/>
              <a:gd name="connsiteX98" fmla="*/ 483584 w 888966"/>
              <a:gd name="connsiteY98" fmla="*/ 0 h 897080"/>
              <a:gd name="connsiteX99" fmla="*/ 489142 w 888966"/>
              <a:gd name="connsiteY99" fmla="*/ 5557 h 897080"/>
              <a:gd name="connsiteX100" fmla="*/ 489142 w 888966"/>
              <a:gd name="connsiteY100" fmla="*/ 44590 h 897080"/>
              <a:gd name="connsiteX101" fmla="*/ 595074 w 888966"/>
              <a:gd name="connsiteY101" fmla="*/ 44590 h 897080"/>
              <a:gd name="connsiteX102" fmla="*/ 822356 w 888966"/>
              <a:gd name="connsiteY102" fmla="*/ 271872 h 897080"/>
              <a:gd name="connsiteX103" fmla="*/ 822356 w 888966"/>
              <a:gd name="connsiteY103" fmla="*/ 842046 h 897080"/>
              <a:gd name="connsiteX104" fmla="*/ 767322 w 888966"/>
              <a:gd name="connsiteY104" fmla="*/ 897080 h 897080"/>
              <a:gd name="connsiteX105" fmla="*/ 228406 w 888966"/>
              <a:gd name="connsiteY105" fmla="*/ 897080 h 897080"/>
              <a:gd name="connsiteX106" fmla="*/ 173372 w 888966"/>
              <a:gd name="connsiteY106" fmla="*/ 842046 h 897080"/>
              <a:gd name="connsiteX107" fmla="*/ 173372 w 888966"/>
              <a:gd name="connsiteY107" fmla="*/ 453750 h 897080"/>
              <a:gd name="connsiteX108" fmla="*/ 97455 w 888966"/>
              <a:gd name="connsiteY108" fmla="*/ 370979 h 897080"/>
              <a:gd name="connsiteX109" fmla="*/ 99243 w 888966"/>
              <a:gd name="connsiteY109" fmla="*/ 329567 h 897080"/>
              <a:gd name="connsiteX110" fmla="*/ 173372 w 888966"/>
              <a:gd name="connsiteY110" fmla="*/ 261577 h 897080"/>
              <a:gd name="connsiteX111" fmla="*/ 173372 w 888966"/>
              <a:gd name="connsiteY111" fmla="*/ 229235 h 897080"/>
              <a:gd name="connsiteX112" fmla="*/ 170801 w 888966"/>
              <a:gd name="connsiteY112" fmla="*/ 231595 h 897080"/>
              <a:gd name="connsiteX113" fmla="*/ 170383 w 888966"/>
              <a:gd name="connsiteY113" fmla="*/ 224803 h 897080"/>
              <a:gd name="connsiteX114" fmla="*/ 129236 w 888966"/>
              <a:gd name="connsiteY114" fmla="*/ 179942 h 897080"/>
              <a:gd name="connsiteX115" fmla="*/ 109863 w 888966"/>
              <a:gd name="connsiteY115" fmla="*/ 177057 h 897080"/>
              <a:gd name="connsiteX116" fmla="*/ 31057 w 888966"/>
              <a:gd name="connsiteY116" fmla="*/ 249335 h 897080"/>
              <a:gd name="connsiteX117" fmla="*/ 32260 w 888966"/>
              <a:gd name="connsiteY117" fmla="*/ 268885 h 897080"/>
              <a:gd name="connsiteX118" fmla="*/ 73408 w 888966"/>
              <a:gd name="connsiteY118" fmla="*/ 313747 h 897080"/>
              <a:gd name="connsiteX119" fmla="*/ 80138 w 888966"/>
              <a:gd name="connsiteY119" fmla="*/ 314749 h 897080"/>
              <a:gd name="connsiteX120" fmla="*/ 72156 w 888966"/>
              <a:gd name="connsiteY120" fmla="*/ 322070 h 897080"/>
              <a:gd name="connsiteX121" fmla="*/ 48877 w 888966"/>
              <a:gd name="connsiteY121" fmla="*/ 321065 h 897080"/>
              <a:gd name="connsiteX122" fmla="*/ 4335 w 888966"/>
              <a:gd name="connsiteY122" fmla="*/ 272501 h 897080"/>
              <a:gd name="connsiteX123" fmla="*/ 5341 w 888966"/>
              <a:gd name="connsiteY123" fmla="*/ 249222 h 897080"/>
              <a:gd name="connsiteX124" fmla="*/ 110656 w 888966"/>
              <a:gd name="connsiteY124" fmla="*/ 152628 h 897080"/>
              <a:gd name="connsiteX125" fmla="*/ 133935 w 888966"/>
              <a:gd name="connsiteY125" fmla="*/ 153633 h 897080"/>
              <a:gd name="connsiteX126" fmla="*/ 173372 w 888966"/>
              <a:gd name="connsiteY126" fmla="*/ 196630 h 897080"/>
              <a:gd name="connsiteX127" fmla="*/ 173372 w 888966"/>
              <a:gd name="connsiteY127" fmla="*/ 99625 h 897080"/>
              <a:gd name="connsiteX128" fmla="*/ 228406 w 888966"/>
              <a:gd name="connsiteY128" fmla="*/ 44590 h 897080"/>
              <a:gd name="connsiteX129" fmla="*/ 267657 w 888966"/>
              <a:gd name="connsiteY129" fmla="*/ 44590 h 897080"/>
              <a:gd name="connsiteX130" fmla="*/ 267657 w 888966"/>
              <a:gd name="connsiteY130" fmla="*/ 5557 h 897080"/>
              <a:gd name="connsiteX131" fmla="*/ 273214 w 888966"/>
              <a:gd name="connsiteY131" fmla="*/ 0 h 897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Lst>
            <a:rect l="l" t="t" r="r" b="b"/>
            <a:pathLst>
              <a:path w="888966" h="897080">
                <a:moveTo>
                  <a:pt x="249370" y="738104"/>
                </a:moveTo>
                <a:lnTo>
                  <a:pt x="249370" y="767616"/>
                </a:lnTo>
                <a:lnTo>
                  <a:pt x="741232" y="767616"/>
                </a:lnTo>
                <a:lnTo>
                  <a:pt x="741232" y="738104"/>
                </a:lnTo>
                <a:lnTo>
                  <a:pt x="249370" y="738104"/>
                </a:lnTo>
                <a:close/>
                <a:moveTo>
                  <a:pt x="511567" y="662789"/>
                </a:moveTo>
                <a:lnTo>
                  <a:pt x="517934" y="692301"/>
                </a:lnTo>
                <a:lnTo>
                  <a:pt x="741232" y="692301"/>
                </a:lnTo>
                <a:lnTo>
                  <a:pt x="741232" y="662789"/>
                </a:lnTo>
                <a:lnTo>
                  <a:pt x="511567" y="662789"/>
                </a:lnTo>
                <a:close/>
                <a:moveTo>
                  <a:pt x="249370" y="662789"/>
                </a:moveTo>
                <a:lnTo>
                  <a:pt x="249370" y="692301"/>
                </a:lnTo>
                <a:lnTo>
                  <a:pt x="508884" y="692301"/>
                </a:lnTo>
                <a:lnTo>
                  <a:pt x="415842" y="662789"/>
                </a:lnTo>
                <a:lnTo>
                  <a:pt x="249370" y="662789"/>
                </a:lnTo>
                <a:close/>
                <a:moveTo>
                  <a:pt x="495319" y="587471"/>
                </a:moveTo>
                <a:lnTo>
                  <a:pt x="501686" y="616983"/>
                </a:lnTo>
                <a:lnTo>
                  <a:pt x="741232" y="616983"/>
                </a:lnTo>
                <a:lnTo>
                  <a:pt x="741232" y="587471"/>
                </a:lnTo>
                <a:lnTo>
                  <a:pt x="495319" y="587471"/>
                </a:lnTo>
                <a:close/>
                <a:moveTo>
                  <a:pt x="249370" y="587471"/>
                </a:moveTo>
                <a:lnTo>
                  <a:pt x="249370" y="616983"/>
                </a:lnTo>
                <a:lnTo>
                  <a:pt x="323088" y="616983"/>
                </a:lnTo>
                <a:lnTo>
                  <a:pt x="296020" y="587471"/>
                </a:lnTo>
                <a:lnTo>
                  <a:pt x="249370" y="587471"/>
                </a:lnTo>
                <a:close/>
                <a:moveTo>
                  <a:pt x="456482" y="544863"/>
                </a:moveTo>
                <a:lnTo>
                  <a:pt x="373574" y="620125"/>
                </a:lnTo>
                <a:lnTo>
                  <a:pt x="495281" y="670589"/>
                </a:lnTo>
                <a:lnTo>
                  <a:pt x="456482" y="544863"/>
                </a:lnTo>
                <a:close/>
                <a:moveTo>
                  <a:pt x="249370" y="536610"/>
                </a:moveTo>
                <a:lnTo>
                  <a:pt x="249370" y="541666"/>
                </a:lnTo>
                <a:lnTo>
                  <a:pt x="254007" y="541666"/>
                </a:lnTo>
                <a:lnTo>
                  <a:pt x="249370" y="536610"/>
                </a:lnTo>
                <a:close/>
                <a:moveTo>
                  <a:pt x="465565" y="512155"/>
                </a:moveTo>
                <a:lnTo>
                  <a:pt x="466352" y="513012"/>
                </a:lnTo>
                <a:cubicBezTo>
                  <a:pt x="473866" y="521204"/>
                  <a:pt x="475841" y="532516"/>
                  <a:pt x="470504" y="541666"/>
                </a:cubicBezTo>
                <a:lnTo>
                  <a:pt x="741232" y="541666"/>
                </a:lnTo>
                <a:lnTo>
                  <a:pt x="741232" y="512155"/>
                </a:lnTo>
                <a:lnTo>
                  <a:pt x="465565" y="512155"/>
                </a:lnTo>
                <a:close/>
                <a:moveTo>
                  <a:pt x="396483" y="436837"/>
                </a:moveTo>
                <a:lnTo>
                  <a:pt x="423552" y="466349"/>
                </a:lnTo>
                <a:lnTo>
                  <a:pt x="741232" y="466349"/>
                </a:lnTo>
                <a:lnTo>
                  <a:pt x="741232" y="436837"/>
                </a:lnTo>
                <a:lnTo>
                  <a:pt x="396483" y="436837"/>
                </a:lnTo>
                <a:close/>
                <a:moveTo>
                  <a:pt x="327402" y="361519"/>
                </a:moveTo>
                <a:lnTo>
                  <a:pt x="354471" y="391031"/>
                </a:lnTo>
                <a:lnTo>
                  <a:pt x="741232" y="391031"/>
                </a:lnTo>
                <a:lnTo>
                  <a:pt x="741232" y="361519"/>
                </a:lnTo>
                <a:lnTo>
                  <a:pt x="327402" y="361519"/>
                </a:lnTo>
                <a:close/>
                <a:moveTo>
                  <a:pt x="197315" y="261390"/>
                </a:moveTo>
                <a:cubicBezTo>
                  <a:pt x="191078" y="260462"/>
                  <a:pt x="184990" y="261934"/>
                  <a:pt x="180526" y="266028"/>
                </a:cubicBezTo>
                <a:lnTo>
                  <a:pt x="115877" y="325324"/>
                </a:lnTo>
                <a:cubicBezTo>
                  <a:pt x="106950" y="333512"/>
                  <a:pt x="107908" y="349083"/>
                  <a:pt x="118016" y="360103"/>
                </a:cubicBezTo>
                <a:lnTo>
                  <a:pt x="339076" y="601119"/>
                </a:lnTo>
                <a:cubicBezTo>
                  <a:pt x="349185" y="612140"/>
                  <a:pt x="364614" y="614437"/>
                  <a:pt x="373540" y="606249"/>
                </a:cubicBezTo>
                <a:lnTo>
                  <a:pt x="438189" y="546953"/>
                </a:lnTo>
                <a:cubicBezTo>
                  <a:pt x="447116" y="538766"/>
                  <a:pt x="446158" y="523195"/>
                  <a:pt x="436051" y="512175"/>
                </a:cubicBezTo>
                <a:lnTo>
                  <a:pt x="214990" y="271158"/>
                </a:lnTo>
                <a:cubicBezTo>
                  <a:pt x="209936" y="265648"/>
                  <a:pt x="203552" y="262320"/>
                  <a:pt x="197315" y="261390"/>
                </a:cubicBezTo>
                <a:close/>
                <a:moveTo>
                  <a:pt x="249370" y="243676"/>
                </a:moveTo>
                <a:lnTo>
                  <a:pt x="249370" y="276442"/>
                </a:lnTo>
                <a:lnTo>
                  <a:pt x="255409" y="283025"/>
                </a:lnTo>
                <a:lnTo>
                  <a:pt x="544487" y="283025"/>
                </a:lnTo>
                <a:lnTo>
                  <a:pt x="544487" y="243676"/>
                </a:lnTo>
                <a:lnTo>
                  <a:pt x="249370" y="243676"/>
                </a:lnTo>
                <a:close/>
                <a:moveTo>
                  <a:pt x="581549" y="92545"/>
                </a:moveTo>
                <a:cubicBezTo>
                  <a:pt x="581549" y="143782"/>
                  <a:pt x="581546" y="195017"/>
                  <a:pt x="581546" y="246254"/>
                </a:cubicBezTo>
                <a:cubicBezTo>
                  <a:pt x="580561" y="275242"/>
                  <a:pt x="607752" y="291422"/>
                  <a:pt x="624694" y="294792"/>
                </a:cubicBezTo>
                <a:lnTo>
                  <a:pt x="786491" y="297488"/>
                </a:lnTo>
                <a:lnTo>
                  <a:pt x="581549" y="92545"/>
                </a:lnTo>
                <a:close/>
                <a:moveTo>
                  <a:pt x="643884" y="72904"/>
                </a:moveTo>
                <a:lnTo>
                  <a:pt x="709692" y="72904"/>
                </a:lnTo>
                <a:lnTo>
                  <a:pt x="888966" y="254516"/>
                </a:lnTo>
                <a:lnTo>
                  <a:pt x="888966" y="826972"/>
                </a:lnTo>
                <a:cubicBezTo>
                  <a:pt x="888966" y="855713"/>
                  <a:pt x="867310" y="879012"/>
                  <a:pt x="840594" y="879012"/>
                </a:cubicBezTo>
                <a:lnTo>
                  <a:pt x="816902" y="879012"/>
                </a:lnTo>
                <a:cubicBezTo>
                  <a:pt x="829807" y="869541"/>
                  <a:pt x="837729" y="854157"/>
                  <a:pt x="837729" y="836923"/>
                </a:cubicBezTo>
                <a:lnTo>
                  <a:pt x="837729" y="266749"/>
                </a:lnTo>
                <a:lnTo>
                  <a:pt x="643884" y="72904"/>
                </a:lnTo>
                <a:close/>
                <a:moveTo>
                  <a:pt x="273214" y="0"/>
                </a:moveTo>
                <a:lnTo>
                  <a:pt x="295444" y="0"/>
                </a:lnTo>
                <a:cubicBezTo>
                  <a:pt x="298513" y="0"/>
                  <a:pt x="301001" y="2488"/>
                  <a:pt x="301001" y="5557"/>
                </a:cubicBezTo>
                <a:lnTo>
                  <a:pt x="301001" y="44590"/>
                </a:lnTo>
                <a:lnTo>
                  <a:pt x="330371" y="44590"/>
                </a:lnTo>
                <a:lnTo>
                  <a:pt x="330371" y="5557"/>
                </a:lnTo>
                <a:lnTo>
                  <a:pt x="335928" y="0"/>
                </a:lnTo>
                <a:lnTo>
                  <a:pt x="358158" y="0"/>
                </a:lnTo>
                <a:cubicBezTo>
                  <a:pt x="361227" y="0"/>
                  <a:pt x="363715" y="2488"/>
                  <a:pt x="363715" y="5557"/>
                </a:cubicBezTo>
                <a:lnTo>
                  <a:pt x="363715" y="44590"/>
                </a:lnTo>
                <a:lnTo>
                  <a:pt x="393085" y="44590"/>
                </a:lnTo>
                <a:lnTo>
                  <a:pt x="393085" y="5557"/>
                </a:lnTo>
                <a:lnTo>
                  <a:pt x="398642" y="0"/>
                </a:lnTo>
                <a:lnTo>
                  <a:pt x="420872" y="0"/>
                </a:lnTo>
                <a:cubicBezTo>
                  <a:pt x="423941" y="0"/>
                  <a:pt x="426429" y="2488"/>
                  <a:pt x="426429" y="5557"/>
                </a:cubicBezTo>
                <a:lnTo>
                  <a:pt x="426429" y="44590"/>
                </a:lnTo>
                <a:lnTo>
                  <a:pt x="455797" y="44590"/>
                </a:lnTo>
                <a:lnTo>
                  <a:pt x="455797" y="5557"/>
                </a:lnTo>
                <a:lnTo>
                  <a:pt x="461355" y="0"/>
                </a:lnTo>
                <a:lnTo>
                  <a:pt x="483584" y="0"/>
                </a:lnTo>
                <a:cubicBezTo>
                  <a:pt x="486654" y="0"/>
                  <a:pt x="489142" y="2488"/>
                  <a:pt x="489142" y="5557"/>
                </a:cubicBezTo>
                <a:lnTo>
                  <a:pt x="489142" y="44590"/>
                </a:lnTo>
                <a:lnTo>
                  <a:pt x="595074" y="44590"/>
                </a:lnTo>
                <a:lnTo>
                  <a:pt x="822356" y="271872"/>
                </a:lnTo>
                <a:lnTo>
                  <a:pt x="822356" y="842046"/>
                </a:lnTo>
                <a:cubicBezTo>
                  <a:pt x="822356" y="872441"/>
                  <a:pt x="797716" y="897080"/>
                  <a:pt x="767322" y="897080"/>
                </a:cubicBezTo>
                <a:lnTo>
                  <a:pt x="228406" y="897080"/>
                </a:lnTo>
                <a:cubicBezTo>
                  <a:pt x="198010" y="897080"/>
                  <a:pt x="173372" y="872441"/>
                  <a:pt x="173372" y="842046"/>
                </a:cubicBezTo>
                <a:lnTo>
                  <a:pt x="173372" y="453750"/>
                </a:lnTo>
                <a:lnTo>
                  <a:pt x="97455" y="370979"/>
                </a:lnTo>
                <a:cubicBezTo>
                  <a:pt x="86512" y="359050"/>
                  <a:pt x="87313" y="340510"/>
                  <a:pt x="99243" y="329567"/>
                </a:cubicBezTo>
                <a:lnTo>
                  <a:pt x="173372" y="261577"/>
                </a:lnTo>
                <a:lnTo>
                  <a:pt x="173372" y="229235"/>
                </a:lnTo>
                <a:lnTo>
                  <a:pt x="170801" y="231595"/>
                </a:lnTo>
                <a:cubicBezTo>
                  <a:pt x="170662" y="229331"/>
                  <a:pt x="170522" y="227067"/>
                  <a:pt x="170383" y="224803"/>
                </a:cubicBezTo>
                <a:lnTo>
                  <a:pt x="129236" y="179942"/>
                </a:lnTo>
                <a:cubicBezTo>
                  <a:pt x="123552" y="173745"/>
                  <a:pt x="114879" y="172454"/>
                  <a:pt x="109863" y="177057"/>
                </a:cubicBezTo>
                <a:lnTo>
                  <a:pt x="31057" y="249335"/>
                </a:lnTo>
                <a:cubicBezTo>
                  <a:pt x="26040" y="253937"/>
                  <a:pt x="26578" y="262690"/>
                  <a:pt x="32260" y="268885"/>
                </a:cubicBezTo>
                <a:lnTo>
                  <a:pt x="73408" y="313747"/>
                </a:lnTo>
                <a:cubicBezTo>
                  <a:pt x="74973" y="315454"/>
                  <a:pt x="76765" y="316789"/>
                  <a:pt x="80138" y="314749"/>
                </a:cubicBezTo>
                <a:lnTo>
                  <a:pt x="72156" y="322070"/>
                </a:lnTo>
                <a:cubicBezTo>
                  <a:pt x="65450" y="328221"/>
                  <a:pt x="55029" y="327771"/>
                  <a:pt x="48877" y="321065"/>
                </a:cubicBezTo>
                <a:lnTo>
                  <a:pt x="4335" y="272501"/>
                </a:lnTo>
                <a:cubicBezTo>
                  <a:pt x="-1816" y="265795"/>
                  <a:pt x="-1366" y="255373"/>
                  <a:pt x="5341" y="249222"/>
                </a:cubicBezTo>
                <a:lnTo>
                  <a:pt x="110656" y="152628"/>
                </a:lnTo>
                <a:cubicBezTo>
                  <a:pt x="117361" y="146476"/>
                  <a:pt x="127783" y="146927"/>
                  <a:pt x="133935" y="153633"/>
                </a:cubicBezTo>
                <a:lnTo>
                  <a:pt x="173372" y="196630"/>
                </a:lnTo>
                <a:lnTo>
                  <a:pt x="173372" y="99625"/>
                </a:lnTo>
                <a:cubicBezTo>
                  <a:pt x="173372" y="69230"/>
                  <a:pt x="198010" y="44590"/>
                  <a:pt x="228406" y="44590"/>
                </a:cubicBezTo>
                <a:lnTo>
                  <a:pt x="267657" y="44590"/>
                </a:lnTo>
                <a:lnTo>
                  <a:pt x="267657" y="5557"/>
                </a:lnTo>
                <a:cubicBezTo>
                  <a:pt x="267657" y="2488"/>
                  <a:pt x="270145" y="0"/>
                  <a:pt x="273214" y="0"/>
                </a:cubicBezTo>
                <a:close/>
              </a:path>
            </a:pathLst>
          </a:custGeom>
          <a:solidFill>
            <a:srgbClr val="0DBFF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3232" tIns="46615" rIns="93232" bIns="46615" rtlCol="0" anchor="ctr">
            <a:noAutofit/>
          </a:bodyPr>
          <a:lstStyle/>
          <a:p>
            <a:pPr algn="ctr"/>
            <a:endParaRPr lang="en-US" sz="2399" dirty="0">
              <a:solidFill>
                <a:prstClr val="white"/>
              </a:solidFill>
            </a:endParaRPr>
          </a:p>
        </p:txBody>
      </p:sp>
      <p:sp>
        <p:nvSpPr>
          <p:cNvPr id="41" name="Freeform 40"/>
          <p:cNvSpPr/>
          <p:nvPr/>
        </p:nvSpPr>
        <p:spPr>
          <a:xfrm>
            <a:off x="2910292" y="5510341"/>
            <a:ext cx="614637" cy="620156"/>
          </a:xfrm>
          <a:custGeom>
            <a:avLst/>
            <a:gdLst>
              <a:gd name="connsiteX0" fmla="*/ 260828 w 900424"/>
              <a:gd name="connsiteY0" fmla="*/ 764648 h 923624"/>
              <a:gd name="connsiteX1" fmla="*/ 260828 w 900424"/>
              <a:gd name="connsiteY1" fmla="*/ 794160 h 923624"/>
              <a:gd name="connsiteX2" fmla="*/ 752690 w 900424"/>
              <a:gd name="connsiteY2" fmla="*/ 794160 h 923624"/>
              <a:gd name="connsiteX3" fmla="*/ 752690 w 900424"/>
              <a:gd name="connsiteY3" fmla="*/ 764648 h 923624"/>
              <a:gd name="connsiteX4" fmla="*/ 523025 w 900424"/>
              <a:gd name="connsiteY4" fmla="*/ 689333 h 923624"/>
              <a:gd name="connsiteX5" fmla="*/ 529392 w 900424"/>
              <a:gd name="connsiteY5" fmla="*/ 718845 h 923624"/>
              <a:gd name="connsiteX6" fmla="*/ 752690 w 900424"/>
              <a:gd name="connsiteY6" fmla="*/ 718845 h 923624"/>
              <a:gd name="connsiteX7" fmla="*/ 752690 w 900424"/>
              <a:gd name="connsiteY7" fmla="*/ 689333 h 923624"/>
              <a:gd name="connsiteX8" fmla="*/ 260828 w 900424"/>
              <a:gd name="connsiteY8" fmla="*/ 689333 h 923624"/>
              <a:gd name="connsiteX9" fmla="*/ 260828 w 900424"/>
              <a:gd name="connsiteY9" fmla="*/ 718845 h 923624"/>
              <a:gd name="connsiteX10" fmla="*/ 520342 w 900424"/>
              <a:gd name="connsiteY10" fmla="*/ 718845 h 923624"/>
              <a:gd name="connsiteX11" fmla="*/ 427300 w 900424"/>
              <a:gd name="connsiteY11" fmla="*/ 689333 h 923624"/>
              <a:gd name="connsiteX12" fmla="*/ 506777 w 900424"/>
              <a:gd name="connsiteY12" fmla="*/ 614015 h 923624"/>
              <a:gd name="connsiteX13" fmla="*/ 513144 w 900424"/>
              <a:gd name="connsiteY13" fmla="*/ 643527 h 923624"/>
              <a:gd name="connsiteX14" fmla="*/ 752690 w 900424"/>
              <a:gd name="connsiteY14" fmla="*/ 643527 h 923624"/>
              <a:gd name="connsiteX15" fmla="*/ 752690 w 900424"/>
              <a:gd name="connsiteY15" fmla="*/ 614015 h 923624"/>
              <a:gd name="connsiteX16" fmla="*/ 260828 w 900424"/>
              <a:gd name="connsiteY16" fmla="*/ 614015 h 923624"/>
              <a:gd name="connsiteX17" fmla="*/ 260828 w 900424"/>
              <a:gd name="connsiteY17" fmla="*/ 643527 h 923624"/>
              <a:gd name="connsiteX18" fmla="*/ 334546 w 900424"/>
              <a:gd name="connsiteY18" fmla="*/ 643527 h 923624"/>
              <a:gd name="connsiteX19" fmla="*/ 307478 w 900424"/>
              <a:gd name="connsiteY19" fmla="*/ 614015 h 923624"/>
              <a:gd name="connsiteX20" fmla="*/ 467940 w 900424"/>
              <a:gd name="connsiteY20" fmla="*/ 571407 h 923624"/>
              <a:gd name="connsiteX21" fmla="*/ 385032 w 900424"/>
              <a:gd name="connsiteY21" fmla="*/ 646669 h 923624"/>
              <a:gd name="connsiteX22" fmla="*/ 506739 w 900424"/>
              <a:gd name="connsiteY22" fmla="*/ 697133 h 923624"/>
              <a:gd name="connsiteX23" fmla="*/ 260828 w 900424"/>
              <a:gd name="connsiteY23" fmla="*/ 563154 h 923624"/>
              <a:gd name="connsiteX24" fmla="*/ 260828 w 900424"/>
              <a:gd name="connsiteY24" fmla="*/ 568210 h 923624"/>
              <a:gd name="connsiteX25" fmla="*/ 265465 w 900424"/>
              <a:gd name="connsiteY25" fmla="*/ 568210 h 923624"/>
              <a:gd name="connsiteX26" fmla="*/ 477023 w 900424"/>
              <a:gd name="connsiteY26" fmla="*/ 538699 h 923624"/>
              <a:gd name="connsiteX27" fmla="*/ 477810 w 900424"/>
              <a:gd name="connsiteY27" fmla="*/ 539556 h 923624"/>
              <a:gd name="connsiteX28" fmla="*/ 481962 w 900424"/>
              <a:gd name="connsiteY28" fmla="*/ 568210 h 923624"/>
              <a:gd name="connsiteX29" fmla="*/ 752690 w 900424"/>
              <a:gd name="connsiteY29" fmla="*/ 568210 h 923624"/>
              <a:gd name="connsiteX30" fmla="*/ 752690 w 900424"/>
              <a:gd name="connsiteY30" fmla="*/ 538699 h 923624"/>
              <a:gd name="connsiteX31" fmla="*/ 407941 w 900424"/>
              <a:gd name="connsiteY31" fmla="*/ 463381 h 923624"/>
              <a:gd name="connsiteX32" fmla="*/ 435010 w 900424"/>
              <a:gd name="connsiteY32" fmla="*/ 492893 h 923624"/>
              <a:gd name="connsiteX33" fmla="*/ 752690 w 900424"/>
              <a:gd name="connsiteY33" fmla="*/ 492893 h 923624"/>
              <a:gd name="connsiteX34" fmla="*/ 752690 w 900424"/>
              <a:gd name="connsiteY34" fmla="*/ 463381 h 923624"/>
              <a:gd name="connsiteX35" fmla="*/ 338860 w 900424"/>
              <a:gd name="connsiteY35" fmla="*/ 388063 h 923624"/>
              <a:gd name="connsiteX36" fmla="*/ 365929 w 900424"/>
              <a:gd name="connsiteY36" fmla="*/ 417575 h 923624"/>
              <a:gd name="connsiteX37" fmla="*/ 752690 w 900424"/>
              <a:gd name="connsiteY37" fmla="*/ 417575 h 923624"/>
              <a:gd name="connsiteX38" fmla="*/ 752690 w 900424"/>
              <a:gd name="connsiteY38" fmla="*/ 388063 h 923624"/>
              <a:gd name="connsiteX39" fmla="*/ 208773 w 900424"/>
              <a:gd name="connsiteY39" fmla="*/ 287934 h 923624"/>
              <a:gd name="connsiteX40" fmla="*/ 191984 w 900424"/>
              <a:gd name="connsiteY40" fmla="*/ 292572 h 923624"/>
              <a:gd name="connsiteX41" fmla="*/ 127335 w 900424"/>
              <a:gd name="connsiteY41" fmla="*/ 351868 h 923624"/>
              <a:gd name="connsiteX42" fmla="*/ 129474 w 900424"/>
              <a:gd name="connsiteY42" fmla="*/ 386647 h 923624"/>
              <a:gd name="connsiteX43" fmla="*/ 350534 w 900424"/>
              <a:gd name="connsiteY43" fmla="*/ 627663 h 923624"/>
              <a:gd name="connsiteX44" fmla="*/ 384998 w 900424"/>
              <a:gd name="connsiteY44" fmla="*/ 632793 h 923624"/>
              <a:gd name="connsiteX45" fmla="*/ 449647 w 900424"/>
              <a:gd name="connsiteY45" fmla="*/ 573497 h 923624"/>
              <a:gd name="connsiteX46" fmla="*/ 447509 w 900424"/>
              <a:gd name="connsiteY46" fmla="*/ 538719 h 923624"/>
              <a:gd name="connsiteX47" fmla="*/ 226448 w 900424"/>
              <a:gd name="connsiteY47" fmla="*/ 297702 h 923624"/>
              <a:gd name="connsiteX48" fmla="*/ 208773 w 900424"/>
              <a:gd name="connsiteY48" fmla="*/ 287934 h 923624"/>
              <a:gd name="connsiteX49" fmla="*/ 260828 w 900424"/>
              <a:gd name="connsiteY49" fmla="*/ 270220 h 923624"/>
              <a:gd name="connsiteX50" fmla="*/ 260828 w 900424"/>
              <a:gd name="connsiteY50" fmla="*/ 302986 h 923624"/>
              <a:gd name="connsiteX51" fmla="*/ 266867 w 900424"/>
              <a:gd name="connsiteY51" fmla="*/ 309569 h 923624"/>
              <a:gd name="connsiteX52" fmla="*/ 555945 w 900424"/>
              <a:gd name="connsiteY52" fmla="*/ 309569 h 923624"/>
              <a:gd name="connsiteX53" fmla="*/ 555945 w 900424"/>
              <a:gd name="connsiteY53" fmla="*/ 270220 h 923624"/>
              <a:gd name="connsiteX54" fmla="*/ 593007 w 900424"/>
              <a:gd name="connsiteY54" fmla="*/ 119089 h 923624"/>
              <a:gd name="connsiteX55" fmla="*/ 593004 w 900424"/>
              <a:gd name="connsiteY55" fmla="*/ 272798 h 923624"/>
              <a:gd name="connsiteX56" fmla="*/ 636152 w 900424"/>
              <a:gd name="connsiteY56" fmla="*/ 321336 h 923624"/>
              <a:gd name="connsiteX57" fmla="*/ 797949 w 900424"/>
              <a:gd name="connsiteY57" fmla="*/ 324032 h 923624"/>
              <a:gd name="connsiteX58" fmla="*/ 655342 w 900424"/>
              <a:gd name="connsiteY58" fmla="*/ 99448 h 923624"/>
              <a:gd name="connsiteX59" fmla="*/ 721150 w 900424"/>
              <a:gd name="connsiteY59" fmla="*/ 99448 h 923624"/>
              <a:gd name="connsiteX60" fmla="*/ 900424 w 900424"/>
              <a:gd name="connsiteY60" fmla="*/ 281060 h 923624"/>
              <a:gd name="connsiteX61" fmla="*/ 900424 w 900424"/>
              <a:gd name="connsiteY61" fmla="*/ 853516 h 923624"/>
              <a:gd name="connsiteX62" fmla="*/ 852052 w 900424"/>
              <a:gd name="connsiteY62" fmla="*/ 905556 h 923624"/>
              <a:gd name="connsiteX63" fmla="*/ 828360 w 900424"/>
              <a:gd name="connsiteY63" fmla="*/ 905556 h 923624"/>
              <a:gd name="connsiteX64" fmla="*/ 849187 w 900424"/>
              <a:gd name="connsiteY64" fmla="*/ 863467 h 923624"/>
              <a:gd name="connsiteX65" fmla="*/ 849187 w 900424"/>
              <a:gd name="connsiteY65" fmla="*/ 293293 h 923624"/>
              <a:gd name="connsiteX66" fmla="*/ 284672 w 900424"/>
              <a:gd name="connsiteY66" fmla="*/ 26544 h 923624"/>
              <a:gd name="connsiteX67" fmla="*/ 306902 w 900424"/>
              <a:gd name="connsiteY67" fmla="*/ 26544 h 923624"/>
              <a:gd name="connsiteX68" fmla="*/ 312459 w 900424"/>
              <a:gd name="connsiteY68" fmla="*/ 32101 h 923624"/>
              <a:gd name="connsiteX69" fmla="*/ 312459 w 900424"/>
              <a:gd name="connsiteY69" fmla="*/ 71134 h 923624"/>
              <a:gd name="connsiteX70" fmla="*/ 341829 w 900424"/>
              <a:gd name="connsiteY70" fmla="*/ 71134 h 923624"/>
              <a:gd name="connsiteX71" fmla="*/ 341829 w 900424"/>
              <a:gd name="connsiteY71" fmla="*/ 32101 h 923624"/>
              <a:gd name="connsiteX72" fmla="*/ 347386 w 900424"/>
              <a:gd name="connsiteY72" fmla="*/ 26544 h 923624"/>
              <a:gd name="connsiteX73" fmla="*/ 369616 w 900424"/>
              <a:gd name="connsiteY73" fmla="*/ 26544 h 923624"/>
              <a:gd name="connsiteX74" fmla="*/ 375173 w 900424"/>
              <a:gd name="connsiteY74" fmla="*/ 32101 h 923624"/>
              <a:gd name="connsiteX75" fmla="*/ 375173 w 900424"/>
              <a:gd name="connsiteY75" fmla="*/ 71134 h 923624"/>
              <a:gd name="connsiteX76" fmla="*/ 404543 w 900424"/>
              <a:gd name="connsiteY76" fmla="*/ 71134 h 923624"/>
              <a:gd name="connsiteX77" fmla="*/ 404543 w 900424"/>
              <a:gd name="connsiteY77" fmla="*/ 32101 h 923624"/>
              <a:gd name="connsiteX78" fmla="*/ 410100 w 900424"/>
              <a:gd name="connsiteY78" fmla="*/ 26544 h 923624"/>
              <a:gd name="connsiteX79" fmla="*/ 432330 w 900424"/>
              <a:gd name="connsiteY79" fmla="*/ 26544 h 923624"/>
              <a:gd name="connsiteX80" fmla="*/ 437887 w 900424"/>
              <a:gd name="connsiteY80" fmla="*/ 32101 h 923624"/>
              <a:gd name="connsiteX81" fmla="*/ 437887 w 900424"/>
              <a:gd name="connsiteY81" fmla="*/ 71134 h 923624"/>
              <a:gd name="connsiteX82" fmla="*/ 467255 w 900424"/>
              <a:gd name="connsiteY82" fmla="*/ 71134 h 923624"/>
              <a:gd name="connsiteX83" fmla="*/ 467255 w 900424"/>
              <a:gd name="connsiteY83" fmla="*/ 32101 h 923624"/>
              <a:gd name="connsiteX84" fmla="*/ 472813 w 900424"/>
              <a:gd name="connsiteY84" fmla="*/ 26544 h 923624"/>
              <a:gd name="connsiteX85" fmla="*/ 495042 w 900424"/>
              <a:gd name="connsiteY85" fmla="*/ 26544 h 923624"/>
              <a:gd name="connsiteX86" fmla="*/ 500600 w 900424"/>
              <a:gd name="connsiteY86" fmla="*/ 32101 h 923624"/>
              <a:gd name="connsiteX87" fmla="*/ 500600 w 900424"/>
              <a:gd name="connsiteY87" fmla="*/ 71134 h 923624"/>
              <a:gd name="connsiteX88" fmla="*/ 606532 w 900424"/>
              <a:gd name="connsiteY88" fmla="*/ 71134 h 923624"/>
              <a:gd name="connsiteX89" fmla="*/ 833814 w 900424"/>
              <a:gd name="connsiteY89" fmla="*/ 298416 h 923624"/>
              <a:gd name="connsiteX90" fmla="*/ 833814 w 900424"/>
              <a:gd name="connsiteY90" fmla="*/ 868590 h 923624"/>
              <a:gd name="connsiteX91" fmla="*/ 778780 w 900424"/>
              <a:gd name="connsiteY91" fmla="*/ 923624 h 923624"/>
              <a:gd name="connsiteX92" fmla="*/ 239864 w 900424"/>
              <a:gd name="connsiteY92" fmla="*/ 923624 h 923624"/>
              <a:gd name="connsiteX93" fmla="*/ 184830 w 900424"/>
              <a:gd name="connsiteY93" fmla="*/ 868590 h 923624"/>
              <a:gd name="connsiteX94" fmla="*/ 184830 w 900424"/>
              <a:gd name="connsiteY94" fmla="*/ 480294 h 923624"/>
              <a:gd name="connsiteX95" fmla="*/ 108913 w 900424"/>
              <a:gd name="connsiteY95" fmla="*/ 397523 h 923624"/>
              <a:gd name="connsiteX96" fmla="*/ 110701 w 900424"/>
              <a:gd name="connsiteY96" fmla="*/ 356111 h 923624"/>
              <a:gd name="connsiteX97" fmla="*/ 184830 w 900424"/>
              <a:gd name="connsiteY97" fmla="*/ 288121 h 923624"/>
              <a:gd name="connsiteX98" fmla="*/ 184830 w 900424"/>
              <a:gd name="connsiteY98" fmla="*/ 255779 h 923624"/>
              <a:gd name="connsiteX99" fmla="*/ 182259 w 900424"/>
              <a:gd name="connsiteY99" fmla="*/ 258139 h 923624"/>
              <a:gd name="connsiteX100" fmla="*/ 181841 w 900424"/>
              <a:gd name="connsiteY100" fmla="*/ 251347 h 923624"/>
              <a:gd name="connsiteX101" fmla="*/ 140694 w 900424"/>
              <a:gd name="connsiteY101" fmla="*/ 206486 h 923624"/>
              <a:gd name="connsiteX102" fmla="*/ 121321 w 900424"/>
              <a:gd name="connsiteY102" fmla="*/ 203601 h 923624"/>
              <a:gd name="connsiteX103" fmla="*/ 42515 w 900424"/>
              <a:gd name="connsiteY103" fmla="*/ 275879 h 923624"/>
              <a:gd name="connsiteX104" fmla="*/ 43718 w 900424"/>
              <a:gd name="connsiteY104" fmla="*/ 295429 h 923624"/>
              <a:gd name="connsiteX105" fmla="*/ 84866 w 900424"/>
              <a:gd name="connsiteY105" fmla="*/ 340291 h 923624"/>
              <a:gd name="connsiteX106" fmla="*/ 91596 w 900424"/>
              <a:gd name="connsiteY106" fmla="*/ 341293 h 923624"/>
              <a:gd name="connsiteX107" fmla="*/ 83614 w 900424"/>
              <a:gd name="connsiteY107" fmla="*/ 348614 h 923624"/>
              <a:gd name="connsiteX108" fmla="*/ 60335 w 900424"/>
              <a:gd name="connsiteY108" fmla="*/ 347609 h 923624"/>
              <a:gd name="connsiteX109" fmla="*/ 15793 w 900424"/>
              <a:gd name="connsiteY109" fmla="*/ 299045 h 923624"/>
              <a:gd name="connsiteX110" fmla="*/ 16799 w 900424"/>
              <a:gd name="connsiteY110" fmla="*/ 275766 h 923624"/>
              <a:gd name="connsiteX111" fmla="*/ 122114 w 900424"/>
              <a:gd name="connsiteY111" fmla="*/ 179172 h 923624"/>
              <a:gd name="connsiteX112" fmla="*/ 145393 w 900424"/>
              <a:gd name="connsiteY112" fmla="*/ 180177 h 923624"/>
              <a:gd name="connsiteX113" fmla="*/ 184830 w 900424"/>
              <a:gd name="connsiteY113" fmla="*/ 223174 h 923624"/>
              <a:gd name="connsiteX114" fmla="*/ 184830 w 900424"/>
              <a:gd name="connsiteY114" fmla="*/ 126169 h 923624"/>
              <a:gd name="connsiteX115" fmla="*/ 239864 w 900424"/>
              <a:gd name="connsiteY115" fmla="*/ 71134 h 923624"/>
              <a:gd name="connsiteX116" fmla="*/ 279115 w 900424"/>
              <a:gd name="connsiteY116" fmla="*/ 71134 h 923624"/>
              <a:gd name="connsiteX117" fmla="*/ 279115 w 900424"/>
              <a:gd name="connsiteY117" fmla="*/ 32101 h 923624"/>
              <a:gd name="connsiteX118" fmla="*/ 284672 w 900424"/>
              <a:gd name="connsiteY118" fmla="*/ 26544 h 923624"/>
              <a:gd name="connsiteX119" fmla="*/ 185348 w 900424"/>
              <a:gd name="connsiteY119" fmla="*/ 0 h 923624"/>
              <a:gd name="connsiteX120" fmla="*/ 185239 w 900424"/>
              <a:gd name="connsiteY120" fmla="*/ 90 h 923624"/>
              <a:gd name="connsiteX121" fmla="*/ 177024 w 900424"/>
              <a:gd name="connsiteY121" fmla="*/ 4549 h 923624"/>
              <a:gd name="connsiteX122" fmla="*/ 69385 w 900424"/>
              <a:gd name="connsiteY122" fmla="*/ 97763 h 923624"/>
              <a:gd name="connsiteX123" fmla="*/ 0 w 900424"/>
              <a:gd name="connsiteY123" fmla="*/ 195399 h 923624"/>
              <a:gd name="connsiteX124" fmla="*/ 0 w 900424"/>
              <a:gd name="connsiteY124" fmla="*/ 195353 h 923624"/>
              <a:gd name="connsiteX125" fmla="*/ 69366 w 900424"/>
              <a:gd name="connsiteY125" fmla="*/ 97745 h 923624"/>
              <a:gd name="connsiteX126" fmla="*/ 177009 w 900424"/>
              <a:gd name="connsiteY126" fmla="*/ 4526 h 923624"/>
              <a:gd name="connsiteX0" fmla="*/ 260828 w 900424"/>
              <a:gd name="connsiteY0" fmla="*/ 764558 h 923534"/>
              <a:gd name="connsiteX1" fmla="*/ 260828 w 900424"/>
              <a:gd name="connsiteY1" fmla="*/ 794070 h 923534"/>
              <a:gd name="connsiteX2" fmla="*/ 752690 w 900424"/>
              <a:gd name="connsiteY2" fmla="*/ 794070 h 923534"/>
              <a:gd name="connsiteX3" fmla="*/ 752690 w 900424"/>
              <a:gd name="connsiteY3" fmla="*/ 764558 h 923534"/>
              <a:gd name="connsiteX4" fmla="*/ 260828 w 900424"/>
              <a:gd name="connsiteY4" fmla="*/ 764558 h 923534"/>
              <a:gd name="connsiteX5" fmla="*/ 523025 w 900424"/>
              <a:gd name="connsiteY5" fmla="*/ 689243 h 923534"/>
              <a:gd name="connsiteX6" fmla="*/ 529392 w 900424"/>
              <a:gd name="connsiteY6" fmla="*/ 718755 h 923534"/>
              <a:gd name="connsiteX7" fmla="*/ 752690 w 900424"/>
              <a:gd name="connsiteY7" fmla="*/ 718755 h 923534"/>
              <a:gd name="connsiteX8" fmla="*/ 752690 w 900424"/>
              <a:gd name="connsiteY8" fmla="*/ 689243 h 923534"/>
              <a:gd name="connsiteX9" fmla="*/ 523025 w 900424"/>
              <a:gd name="connsiteY9" fmla="*/ 689243 h 923534"/>
              <a:gd name="connsiteX10" fmla="*/ 260828 w 900424"/>
              <a:gd name="connsiteY10" fmla="*/ 689243 h 923534"/>
              <a:gd name="connsiteX11" fmla="*/ 260828 w 900424"/>
              <a:gd name="connsiteY11" fmla="*/ 718755 h 923534"/>
              <a:gd name="connsiteX12" fmla="*/ 520342 w 900424"/>
              <a:gd name="connsiteY12" fmla="*/ 718755 h 923534"/>
              <a:gd name="connsiteX13" fmla="*/ 427300 w 900424"/>
              <a:gd name="connsiteY13" fmla="*/ 689243 h 923534"/>
              <a:gd name="connsiteX14" fmla="*/ 260828 w 900424"/>
              <a:gd name="connsiteY14" fmla="*/ 689243 h 923534"/>
              <a:gd name="connsiteX15" fmla="*/ 506777 w 900424"/>
              <a:gd name="connsiteY15" fmla="*/ 613925 h 923534"/>
              <a:gd name="connsiteX16" fmla="*/ 513144 w 900424"/>
              <a:gd name="connsiteY16" fmla="*/ 643437 h 923534"/>
              <a:gd name="connsiteX17" fmla="*/ 752690 w 900424"/>
              <a:gd name="connsiteY17" fmla="*/ 643437 h 923534"/>
              <a:gd name="connsiteX18" fmla="*/ 752690 w 900424"/>
              <a:gd name="connsiteY18" fmla="*/ 613925 h 923534"/>
              <a:gd name="connsiteX19" fmla="*/ 506777 w 900424"/>
              <a:gd name="connsiteY19" fmla="*/ 613925 h 923534"/>
              <a:gd name="connsiteX20" fmla="*/ 260828 w 900424"/>
              <a:gd name="connsiteY20" fmla="*/ 613925 h 923534"/>
              <a:gd name="connsiteX21" fmla="*/ 260828 w 900424"/>
              <a:gd name="connsiteY21" fmla="*/ 643437 h 923534"/>
              <a:gd name="connsiteX22" fmla="*/ 334546 w 900424"/>
              <a:gd name="connsiteY22" fmla="*/ 643437 h 923534"/>
              <a:gd name="connsiteX23" fmla="*/ 307478 w 900424"/>
              <a:gd name="connsiteY23" fmla="*/ 613925 h 923534"/>
              <a:gd name="connsiteX24" fmla="*/ 260828 w 900424"/>
              <a:gd name="connsiteY24" fmla="*/ 613925 h 923534"/>
              <a:gd name="connsiteX25" fmla="*/ 467940 w 900424"/>
              <a:gd name="connsiteY25" fmla="*/ 571317 h 923534"/>
              <a:gd name="connsiteX26" fmla="*/ 385032 w 900424"/>
              <a:gd name="connsiteY26" fmla="*/ 646579 h 923534"/>
              <a:gd name="connsiteX27" fmla="*/ 506739 w 900424"/>
              <a:gd name="connsiteY27" fmla="*/ 697043 h 923534"/>
              <a:gd name="connsiteX28" fmla="*/ 467940 w 900424"/>
              <a:gd name="connsiteY28" fmla="*/ 571317 h 923534"/>
              <a:gd name="connsiteX29" fmla="*/ 260828 w 900424"/>
              <a:gd name="connsiteY29" fmla="*/ 563064 h 923534"/>
              <a:gd name="connsiteX30" fmla="*/ 260828 w 900424"/>
              <a:gd name="connsiteY30" fmla="*/ 568120 h 923534"/>
              <a:gd name="connsiteX31" fmla="*/ 265465 w 900424"/>
              <a:gd name="connsiteY31" fmla="*/ 568120 h 923534"/>
              <a:gd name="connsiteX32" fmla="*/ 260828 w 900424"/>
              <a:gd name="connsiteY32" fmla="*/ 563064 h 923534"/>
              <a:gd name="connsiteX33" fmla="*/ 477023 w 900424"/>
              <a:gd name="connsiteY33" fmla="*/ 538609 h 923534"/>
              <a:gd name="connsiteX34" fmla="*/ 477810 w 900424"/>
              <a:gd name="connsiteY34" fmla="*/ 539466 h 923534"/>
              <a:gd name="connsiteX35" fmla="*/ 481962 w 900424"/>
              <a:gd name="connsiteY35" fmla="*/ 568120 h 923534"/>
              <a:gd name="connsiteX36" fmla="*/ 752690 w 900424"/>
              <a:gd name="connsiteY36" fmla="*/ 568120 h 923534"/>
              <a:gd name="connsiteX37" fmla="*/ 752690 w 900424"/>
              <a:gd name="connsiteY37" fmla="*/ 538609 h 923534"/>
              <a:gd name="connsiteX38" fmla="*/ 477023 w 900424"/>
              <a:gd name="connsiteY38" fmla="*/ 538609 h 923534"/>
              <a:gd name="connsiteX39" fmla="*/ 407941 w 900424"/>
              <a:gd name="connsiteY39" fmla="*/ 463291 h 923534"/>
              <a:gd name="connsiteX40" fmla="*/ 435010 w 900424"/>
              <a:gd name="connsiteY40" fmla="*/ 492803 h 923534"/>
              <a:gd name="connsiteX41" fmla="*/ 752690 w 900424"/>
              <a:gd name="connsiteY41" fmla="*/ 492803 h 923534"/>
              <a:gd name="connsiteX42" fmla="*/ 752690 w 900424"/>
              <a:gd name="connsiteY42" fmla="*/ 463291 h 923534"/>
              <a:gd name="connsiteX43" fmla="*/ 407941 w 900424"/>
              <a:gd name="connsiteY43" fmla="*/ 463291 h 923534"/>
              <a:gd name="connsiteX44" fmla="*/ 338860 w 900424"/>
              <a:gd name="connsiteY44" fmla="*/ 387973 h 923534"/>
              <a:gd name="connsiteX45" fmla="*/ 365929 w 900424"/>
              <a:gd name="connsiteY45" fmla="*/ 417485 h 923534"/>
              <a:gd name="connsiteX46" fmla="*/ 752690 w 900424"/>
              <a:gd name="connsiteY46" fmla="*/ 417485 h 923534"/>
              <a:gd name="connsiteX47" fmla="*/ 752690 w 900424"/>
              <a:gd name="connsiteY47" fmla="*/ 387973 h 923534"/>
              <a:gd name="connsiteX48" fmla="*/ 338860 w 900424"/>
              <a:gd name="connsiteY48" fmla="*/ 387973 h 923534"/>
              <a:gd name="connsiteX49" fmla="*/ 208773 w 900424"/>
              <a:gd name="connsiteY49" fmla="*/ 287844 h 923534"/>
              <a:gd name="connsiteX50" fmla="*/ 191984 w 900424"/>
              <a:gd name="connsiteY50" fmla="*/ 292482 h 923534"/>
              <a:gd name="connsiteX51" fmla="*/ 127335 w 900424"/>
              <a:gd name="connsiteY51" fmla="*/ 351778 h 923534"/>
              <a:gd name="connsiteX52" fmla="*/ 129474 w 900424"/>
              <a:gd name="connsiteY52" fmla="*/ 386557 h 923534"/>
              <a:gd name="connsiteX53" fmla="*/ 350534 w 900424"/>
              <a:gd name="connsiteY53" fmla="*/ 627573 h 923534"/>
              <a:gd name="connsiteX54" fmla="*/ 384998 w 900424"/>
              <a:gd name="connsiteY54" fmla="*/ 632703 h 923534"/>
              <a:gd name="connsiteX55" fmla="*/ 449647 w 900424"/>
              <a:gd name="connsiteY55" fmla="*/ 573407 h 923534"/>
              <a:gd name="connsiteX56" fmla="*/ 447509 w 900424"/>
              <a:gd name="connsiteY56" fmla="*/ 538629 h 923534"/>
              <a:gd name="connsiteX57" fmla="*/ 226448 w 900424"/>
              <a:gd name="connsiteY57" fmla="*/ 297612 h 923534"/>
              <a:gd name="connsiteX58" fmla="*/ 208773 w 900424"/>
              <a:gd name="connsiteY58" fmla="*/ 287844 h 923534"/>
              <a:gd name="connsiteX59" fmla="*/ 260828 w 900424"/>
              <a:gd name="connsiteY59" fmla="*/ 270130 h 923534"/>
              <a:gd name="connsiteX60" fmla="*/ 260828 w 900424"/>
              <a:gd name="connsiteY60" fmla="*/ 302896 h 923534"/>
              <a:gd name="connsiteX61" fmla="*/ 266867 w 900424"/>
              <a:gd name="connsiteY61" fmla="*/ 309479 h 923534"/>
              <a:gd name="connsiteX62" fmla="*/ 555945 w 900424"/>
              <a:gd name="connsiteY62" fmla="*/ 309479 h 923534"/>
              <a:gd name="connsiteX63" fmla="*/ 555945 w 900424"/>
              <a:gd name="connsiteY63" fmla="*/ 270130 h 923534"/>
              <a:gd name="connsiteX64" fmla="*/ 260828 w 900424"/>
              <a:gd name="connsiteY64" fmla="*/ 270130 h 923534"/>
              <a:gd name="connsiteX65" fmla="*/ 593007 w 900424"/>
              <a:gd name="connsiteY65" fmla="*/ 118999 h 923534"/>
              <a:gd name="connsiteX66" fmla="*/ 593004 w 900424"/>
              <a:gd name="connsiteY66" fmla="*/ 272708 h 923534"/>
              <a:gd name="connsiteX67" fmla="*/ 636152 w 900424"/>
              <a:gd name="connsiteY67" fmla="*/ 321246 h 923534"/>
              <a:gd name="connsiteX68" fmla="*/ 797949 w 900424"/>
              <a:gd name="connsiteY68" fmla="*/ 323942 h 923534"/>
              <a:gd name="connsiteX69" fmla="*/ 593007 w 900424"/>
              <a:gd name="connsiteY69" fmla="*/ 118999 h 923534"/>
              <a:gd name="connsiteX70" fmla="*/ 655342 w 900424"/>
              <a:gd name="connsiteY70" fmla="*/ 99358 h 923534"/>
              <a:gd name="connsiteX71" fmla="*/ 721150 w 900424"/>
              <a:gd name="connsiteY71" fmla="*/ 99358 h 923534"/>
              <a:gd name="connsiteX72" fmla="*/ 900424 w 900424"/>
              <a:gd name="connsiteY72" fmla="*/ 280970 h 923534"/>
              <a:gd name="connsiteX73" fmla="*/ 900424 w 900424"/>
              <a:gd name="connsiteY73" fmla="*/ 853426 h 923534"/>
              <a:gd name="connsiteX74" fmla="*/ 852052 w 900424"/>
              <a:gd name="connsiteY74" fmla="*/ 905466 h 923534"/>
              <a:gd name="connsiteX75" fmla="*/ 828360 w 900424"/>
              <a:gd name="connsiteY75" fmla="*/ 905466 h 923534"/>
              <a:gd name="connsiteX76" fmla="*/ 849187 w 900424"/>
              <a:gd name="connsiteY76" fmla="*/ 863377 h 923534"/>
              <a:gd name="connsiteX77" fmla="*/ 849187 w 900424"/>
              <a:gd name="connsiteY77" fmla="*/ 293203 h 923534"/>
              <a:gd name="connsiteX78" fmla="*/ 655342 w 900424"/>
              <a:gd name="connsiteY78" fmla="*/ 99358 h 923534"/>
              <a:gd name="connsiteX79" fmla="*/ 284672 w 900424"/>
              <a:gd name="connsiteY79" fmla="*/ 26454 h 923534"/>
              <a:gd name="connsiteX80" fmla="*/ 306902 w 900424"/>
              <a:gd name="connsiteY80" fmla="*/ 26454 h 923534"/>
              <a:gd name="connsiteX81" fmla="*/ 312459 w 900424"/>
              <a:gd name="connsiteY81" fmla="*/ 32011 h 923534"/>
              <a:gd name="connsiteX82" fmla="*/ 312459 w 900424"/>
              <a:gd name="connsiteY82" fmla="*/ 71044 h 923534"/>
              <a:gd name="connsiteX83" fmla="*/ 341829 w 900424"/>
              <a:gd name="connsiteY83" fmla="*/ 71044 h 923534"/>
              <a:gd name="connsiteX84" fmla="*/ 341829 w 900424"/>
              <a:gd name="connsiteY84" fmla="*/ 32011 h 923534"/>
              <a:gd name="connsiteX85" fmla="*/ 347386 w 900424"/>
              <a:gd name="connsiteY85" fmla="*/ 26454 h 923534"/>
              <a:gd name="connsiteX86" fmla="*/ 369616 w 900424"/>
              <a:gd name="connsiteY86" fmla="*/ 26454 h 923534"/>
              <a:gd name="connsiteX87" fmla="*/ 375173 w 900424"/>
              <a:gd name="connsiteY87" fmla="*/ 32011 h 923534"/>
              <a:gd name="connsiteX88" fmla="*/ 375173 w 900424"/>
              <a:gd name="connsiteY88" fmla="*/ 71044 h 923534"/>
              <a:gd name="connsiteX89" fmla="*/ 404543 w 900424"/>
              <a:gd name="connsiteY89" fmla="*/ 71044 h 923534"/>
              <a:gd name="connsiteX90" fmla="*/ 404543 w 900424"/>
              <a:gd name="connsiteY90" fmla="*/ 32011 h 923534"/>
              <a:gd name="connsiteX91" fmla="*/ 410100 w 900424"/>
              <a:gd name="connsiteY91" fmla="*/ 26454 h 923534"/>
              <a:gd name="connsiteX92" fmla="*/ 432330 w 900424"/>
              <a:gd name="connsiteY92" fmla="*/ 26454 h 923534"/>
              <a:gd name="connsiteX93" fmla="*/ 437887 w 900424"/>
              <a:gd name="connsiteY93" fmla="*/ 32011 h 923534"/>
              <a:gd name="connsiteX94" fmla="*/ 437887 w 900424"/>
              <a:gd name="connsiteY94" fmla="*/ 71044 h 923534"/>
              <a:gd name="connsiteX95" fmla="*/ 467255 w 900424"/>
              <a:gd name="connsiteY95" fmla="*/ 71044 h 923534"/>
              <a:gd name="connsiteX96" fmla="*/ 467255 w 900424"/>
              <a:gd name="connsiteY96" fmla="*/ 32011 h 923534"/>
              <a:gd name="connsiteX97" fmla="*/ 472813 w 900424"/>
              <a:gd name="connsiteY97" fmla="*/ 26454 h 923534"/>
              <a:gd name="connsiteX98" fmla="*/ 495042 w 900424"/>
              <a:gd name="connsiteY98" fmla="*/ 26454 h 923534"/>
              <a:gd name="connsiteX99" fmla="*/ 500600 w 900424"/>
              <a:gd name="connsiteY99" fmla="*/ 32011 h 923534"/>
              <a:gd name="connsiteX100" fmla="*/ 500600 w 900424"/>
              <a:gd name="connsiteY100" fmla="*/ 71044 h 923534"/>
              <a:gd name="connsiteX101" fmla="*/ 606532 w 900424"/>
              <a:gd name="connsiteY101" fmla="*/ 71044 h 923534"/>
              <a:gd name="connsiteX102" fmla="*/ 833814 w 900424"/>
              <a:gd name="connsiteY102" fmla="*/ 298326 h 923534"/>
              <a:gd name="connsiteX103" fmla="*/ 833814 w 900424"/>
              <a:gd name="connsiteY103" fmla="*/ 868500 h 923534"/>
              <a:gd name="connsiteX104" fmla="*/ 778780 w 900424"/>
              <a:gd name="connsiteY104" fmla="*/ 923534 h 923534"/>
              <a:gd name="connsiteX105" fmla="*/ 239864 w 900424"/>
              <a:gd name="connsiteY105" fmla="*/ 923534 h 923534"/>
              <a:gd name="connsiteX106" fmla="*/ 184830 w 900424"/>
              <a:gd name="connsiteY106" fmla="*/ 868500 h 923534"/>
              <a:gd name="connsiteX107" fmla="*/ 184830 w 900424"/>
              <a:gd name="connsiteY107" fmla="*/ 480204 h 923534"/>
              <a:gd name="connsiteX108" fmla="*/ 108913 w 900424"/>
              <a:gd name="connsiteY108" fmla="*/ 397433 h 923534"/>
              <a:gd name="connsiteX109" fmla="*/ 110701 w 900424"/>
              <a:gd name="connsiteY109" fmla="*/ 356021 h 923534"/>
              <a:gd name="connsiteX110" fmla="*/ 184830 w 900424"/>
              <a:gd name="connsiteY110" fmla="*/ 288031 h 923534"/>
              <a:gd name="connsiteX111" fmla="*/ 184830 w 900424"/>
              <a:gd name="connsiteY111" fmla="*/ 255689 h 923534"/>
              <a:gd name="connsiteX112" fmla="*/ 182259 w 900424"/>
              <a:gd name="connsiteY112" fmla="*/ 258049 h 923534"/>
              <a:gd name="connsiteX113" fmla="*/ 181841 w 900424"/>
              <a:gd name="connsiteY113" fmla="*/ 251257 h 923534"/>
              <a:gd name="connsiteX114" fmla="*/ 140694 w 900424"/>
              <a:gd name="connsiteY114" fmla="*/ 206396 h 923534"/>
              <a:gd name="connsiteX115" fmla="*/ 121321 w 900424"/>
              <a:gd name="connsiteY115" fmla="*/ 203511 h 923534"/>
              <a:gd name="connsiteX116" fmla="*/ 42515 w 900424"/>
              <a:gd name="connsiteY116" fmla="*/ 275789 h 923534"/>
              <a:gd name="connsiteX117" fmla="*/ 43718 w 900424"/>
              <a:gd name="connsiteY117" fmla="*/ 295339 h 923534"/>
              <a:gd name="connsiteX118" fmla="*/ 84866 w 900424"/>
              <a:gd name="connsiteY118" fmla="*/ 340201 h 923534"/>
              <a:gd name="connsiteX119" fmla="*/ 91596 w 900424"/>
              <a:gd name="connsiteY119" fmla="*/ 341203 h 923534"/>
              <a:gd name="connsiteX120" fmla="*/ 83614 w 900424"/>
              <a:gd name="connsiteY120" fmla="*/ 348524 h 923534"/>
              <a:gd name="connsiteX121" fmla="*/ 60335 w 900424"/>
              <a:gd name="connsiteY121" fmla="*/ 347519 h 923534"/>
              <a:gd name="connsiteX122" fmla="*/ 15793 w 900424"/>
              <a:gd name="connsiteY122" fmla="*/ 298955 h 923534"/>
              <a:gd name="connsiteX123" fmla="*/ 16799 w 900424"/>
              <a:gd name="connsiteY123" fmla="*/ 275676 h 923534"/>
              <a:gd name="connsiteX124" fmla="*/ 122114 w 900424"/>
              <a:gd name="connsiteY124" fmla="*/ 179082 h 923534"/>
              <a:gd name="connsiteX125" fmla="*/ 145393 w 900424"/>
              <a:gd name="connsiteY125" fmla="*/ 180087 h 923534"/>
              <a:gd name="connsiteX126" fmla="*/ 184830 w 900424"/>
              <a:gd name="connsiteY126" fmla="*/ 223084 h 923534"/>
              <a:gd name="connsiteX127" fmla="*/ 184830 w 900424"/>
              <a:gd name="connsiteY127" fmla="*/ 126079 h 923534"/>
              <a:gd name="connsiteX128" fmla="*/ 239864 w 900424"/>
              <a:gd name="connsiteY128" fmla="*/ 71044 h 923534"/>
              <a:gd name="connsiteX129" fmla="*/ 279115 w 900424"/>
              <a:gd name="connsiteY129" fmla="*/ 71044 h 923534"/>
              <a:gd name="connsiteX130" fmla="*/ 279115 w 900424"/>
              <a:gd name="connsiteY130" fmla="*/ 32011 h 923534"/>
              <a:gd name="connsiteX131" fmla="*/ 284672 w 900424"/>
              <a:gd name="connsiteY131" fmla="*/ 26454 h 923534"/>
              <a:gd name="connsiteX132" fmla="*/ 177009 w 900424"/>
              <a:gd name="connsiteY132" fmla="*/ 4436 h 923534"/>
              <a:gd name="connsiteX133" fmla="*/ 185239 w 900424"/>
              <a:gd name="connsiteY133" fmla="*/ 0 h 923534"/>
              <a:gd name="connsiteX134" fmla="*/ 177024 w 900424"/>
              <a:gd name="connsiteY134" fmla="*/ 4459 h 923534"/>
              <a:gd name="connsiteX135" fmla="*/ 69385 w 900424"/>
              <a:gd name="connsiteY135" fmla="*/ 97673 h 923534"/>
              <a:gd name="connsiteX136" fmla="*/ 0 w 900424"/>
              <a:gd name="connsiteY136" fmla="*/ 195309 h 923534"/>
              <a:gd name="connsiteX137" fmla="*/ 0 w 900424"/>
              <a:gd name="connsiteY137" fmla="*/ 195263 h 923534"/>
              <a:gd name="connsiteX138" fmla="*/ 69366 w 900424"/>
              <a:gd name="connsiteY138" fmla="*/ 97655 h 923534"/>
              <a:gd name="connsiteX139" fmla="*/ 177009 w 900424"/>
              <a:gd name="connsiteY139" fmla="*/ 4436 h 923534"/>
              <a:gd name="connsiteX0" fmla="*/ 260828 w 900424"/>
              <a:gd name="connsiteY0" fmla="*/ 764558 h 923534"/>
              <a:gd name="connsiteX1" fmla="*/ 260828 w 900424"/>
              <a:gd name="connsiteY1" fmla="*/ 794070 h 923534"/>
              <a:gd name="connsiteX2" fmla="*/ 752690 w 900424"/>
              <a:gd name="connsiteY2" fmla="*/ 794070 h 923534"/>
              <a:gd name="connsiteX3" fmla="*/ 752690 w 900424"/>
              <a:gd name="connsiteY3" fmla="*/ 764558 h 923534"/>
              <a:gd name="connsiteX4" fmla="*/ 260828 w 900424"/>
              <a:gd name="connsiteY4" fmla="*/ 764558 h 923534"/>
              <a:gd name="connsiteX5" fmla="*/ 523025 w 900424"/>
              <a:gd name="connsiteY5" fmla="*/ 689243 h 923534"/>
              <a:gd name="connsiteX6" fmla="*/ 529392 w 900424"/>
              <a:gd name="connsiteY6" fmla="*/ 718755 h 923534"/>
              <a:gd name="connsiteX7" fmla="*/ 752690 w 900424"/>
              <a:gd name="connsiteY7" fmla="*/ 718755 h 923534"/>
              <a:gd name="connsiteX8" fmla="*/ 752690 w 900424"/>
              <a:gd name="connsiteY8" fmla="*/ 689243 h 923534"/>
              <a:gd name="connsiteX9" fmla="*/ 523025 w 900424"/>
              <a:gd name="connsiteY9" fmla="*/ 689243 h 923534"/>
              <a:gd name="connsiteX10" fmla="*/ 260828 w 900424"/>
              <a:gd name="connsiteY10" fmla="*/ 689243 h 923534"/>
              <a:gd name="connsiteX11" fmla="*/ 260828 w 900424"/>
              <a:gd name="connsiteY11" fmla="*/ 718755 h 923534"/>
              <a:gd name="connsiteX12" fmla="*/ 520342 w 900424"/>
              <a:gd name="connsiteY12" fmla="*/ 718755 h 923534"/>
              <a:gd name="connsiteX13" fmla="*/ 427300 w 900424"/>
              <a:gd name="connsiteY13" fmla="*/ 689243 h 923534"/>
              <a:gd name="connsiteX14" fmla="*/ 260828 w 900424"/>
              <a:gd name="connsiteY14" fmla="*/ 689243 h 923534"/>
              <a:gd name="connsiteX15" fmla="*/ 506777 w 900424"/>
              <a:gd name="connsiteY15" fmla="*/ 613925 h 923534"/>
              <a:gd name="connsiteX16" fmla="*/ 513144 w 900424"/>
              <a:gd name="connsiteY16" fmla="*/ 643437 h 923534"/>
              <a:gd name="connsiteX17" fmla="*/ 752690 w 900424"/>
              <a:gd name="connsiteY17" fmla="*/ 643437 h 923534"/>
              <a:gd name="connsiteX18" fmla="*/ 752690 w 900424"/>
              <a:gd name="connsiteY18" fmla="*/ 613925 h 923534"/>
              <a:gd name="connsiteX19" fmla="*/ 506777 w 900424"/>
              <a:gd name="connsiteY19" fmla="*/ 613925 h 923534"/>
              <a:gd name="connsiteX20" fmla="*/ 260828 w 900424"/>
              <a:gd name="connsiteY20" fmla="*/ 613925 h 923534"/>
              <a:gd name="connsiteX21" fmla="*/ 260828 w 900424"/>
              <a:gd name="connsiteY21" fmla="*/ 643437 h 923534"/>
              <a:gd name="connsiteX22" fmla="*/ 334546 w 900424"/>
              <a:gd name="connsiteY22" fmla="*/ 643437 h 923534"/>
              <a:gd name="connsiteX23" fmla="*/ 307478 w 900424"/>
              <a:gd name="connsiteY23" fmla="*/ 613925 h 923534"/>
              <a:gd name="connsiteX24" fmla="*/ 260828 w 900424"/>
              <a:gd name="connsiteY24" fmla="*/ 613925 h 923534"/>
              <a:gd name="connsiteX25" fmla="*/ 467940 w 900424"/>
              <a:gd name="connsiteY25" fmla="*/ 571317 h 923534"/>
              <a:gd name="connsiteX26" fmla="*/ 385032 w 900424"/>
              <a:gd name="connsiteY26" fmla="*/ 646579 h 923534"/>
              <a:gd name="connsiteX27" fmla="*/ 506739 w 900424"/>
              <a:gd name="connsiteY27" fmla="*/ 697043 h 923534"/>
              <a:gd name="connsiteX28" fmla="*/ 467940 w 900424"/>
              <a:gd name="connsiteY28" fmla="*/ 571317 h 923534"/>
              <a:gd name="connsiteX29" fmla="*/ 260828 w 900424"/>
              <a:gd name="connsiteY29" fmla="*/ 563064 h 923534"/>
              <a:gd name="connsiteX30" fmla="*/ 260828 w 900424"/>
              <a:gd name="connsiteY30" fmla="*/ 568120 h 923534"/>
              <a:gd name="connsiteX31" fmla="*/ 265465 w 900424"/>
              <a:gd name="connsiteY31" fmla="*/ 568120 h 923534"/>
              <a:gd name="connsiteX32" fmla="*/ 260828 w 900424"/>
              <a:gd name="connsiteY32" fmla="*/ 563064 h 923534"/>
              <a:gd name="connsiteX33" fmla="*/ 477023 w 900424"/>
              <a:gd name="connsiteY33" fmla="*/ 538609 h 923534"/>
              <a:gd name="connsiteX34" fmla="*/ 477810 w 900424"/>
              <a:gd name="connsiteY34" fmla="*/ 539466 h 923534"/>
              <a:gd name="connsiteX35" fmla="*/ 481962 w 900424"/>
              <a:gd name="connsiteY35" fmla="*/ 568120 h 923534"/>
              <a:gd name="connsiteX36" fmla="*/ 752690 w 900424"/>
              <a:gd name="connsiteY36" fmla="*/ 568120 h 923534"/>
              <a:gd name="connsiteX37" fmla="*/ 752690 w 900424"/>
              <a:gd name="connsiteY37" fmla="*/ 538609 h 923534"/>
              <a:gd name="connsiteX38" fmla="*/ 477023 w 900424"/>
              <a:gd name="connsiteY38" fmla="*/ 538609 h 923534"/>
              <a:gd name="connsiteX39" fmla="*/ 407941 w 900424"/>
              <a:gd name="connsiteY39" fmla="*/ 463291 h 923534"/>
              <a:gd name="connsiteX40" fmla="*/ 435010 w 900424"/>
              <a:gd name="connsiteY40" fmla="*/ 492803 h 923534"/>
              <a:gd name="connsiteX41" fmla="*/ 752690 w 900424"/>
              <a:gd name="connsiteY41" fmla="*/ 492803 h 923534"/>
              <a:gd name="connsiteX42" fmla="*/ 752690 w 900424"/>
              <a:gd name="connsiteY42" fmla="*/ 463291 h 923534"/>
              <a:gd name="connsiteX43" fmla="*/ 407941 w 900424"/>
              <a:gd name="connsiteY43" fmla="*/ 463291 h 923534"/>
              <a:gd name="connsiteX44" fmla="*/ 338860 w 900424"/>
              <a:gd name="connsiteY44" fmla="*/ 387973 h 923534"/>
              <a:gd name="connsiteX45" fmla="*/ 365929 w 900424"/>
              <a:gd name="connsiteY45" fmla="*/ 417485 h 923534"/>
              <a:gd name="connsiteX46" fmla="*/ 752690 w 900424"/>
              <a:gd name="connsiteY46" fmla="*/ 417485 h 923534"/>
              <a:gd name="connsiteX47" fmla="*/ 752690 w 900424"/>
              <a:gd name="connsiteY47" fmla="*/ 387973 h 923534"/>
              <a:gd name="connsiteX48" fmla="*/ 338860 w 900424"/>
              <a:gd name="connsiteY48" fmla="*/ 387973 h 923534"/>
              <a:gd name="connsiteX49" fmla="*/ 208773 w 900424"/>
              <a:gd name="connsiteY49" fmla="*/ 287844 h 923534"/>
              <a:gd name="connsiteX50" fmla="*/ 191984 w 900424"/>
              <a:gd name="connsiteY50" fmla="*/ 292482 h 923534"/>
              <a:gd name="connsiteX51" fmla="*/ 127335 w 900424"/>
              <a:gd name="connsiteY51" fmla="*/ 351778 h 923534"/>
              <a:gd name="connsiteX52" fmla="*/ 129474 w 900424"/>
              <a:gd name="connsiteY52" fmla="*/ 386557 h 923534"/>
              <a:gd name="connsiteX53" fmla="*/ 350534 w 900424"/>
              <a:gd name="connsiteY53" fmla="*/ 627573 h 923534"/>
              <a:gd name="connsiteX54" fmla="*/ 384998 w 900424"/>
              <a:gd name="connsiteY54" fmla="*/ 632703 h 923534"/>
              <a:gd name="connsiteX55" fmla="*/ 449647 w 900424"/>
              <a:gd name="connsiteY55" fmla="*/ 573407 h 923534"/>
              <a:gd name="connsiteX56" fmla="*/ 447509 w 900424"/>
              <a:gd name="connsiteY56" fmla="*/ 538629 h 923534"/>
              <a:gd name="connsiteX57" fmla="*/ 226448 w 900424"/>
              <a:gd name="connsiteY57" fmla="*/ 297612 h 923534"/>
              <a:gd name="connsiteX58" fmla="*/ 208773 w 900424"/>
              <a:gd name="connsiteY58" fmla="*/ 287844 h 923534"/>
              <a:gd name="connsiteX59" fmla="*/ 260828 w 900424"/>
              <a:gd name="connsiteY59" fmla="*/ 270130 h 923534"/>
              <a:gd name="connsiteX60" fmla="*/ 260828 w 900424"/>
              <a:gd name="connsiteY60" fmla="*/ 302896 h 923534"/>
              <a:gd name="connsiteX61" fmla="*/ 266867 w 900424"/>
              <a:gd name="connsiteY61" fmla="*/ 309479 h 923534"/>
              <a:gd name="connsiteX62" fmla="*/ 555945 w 900424"/>
              <a:gd name="connsiteY62" fmla="*/ 309479 h 923534"/>
              <a:gd name="connsiteX63" fmla="*/ 555945 w 900424"/>
              <a:gd name="connsiteY63" fmla="*/ 270130 h 923534"/>
              <a:gd name="connsiteX64" fmla="*/ 260828 w 900424"/>
              <a:gd name="connsiteY64" fmla="*/ 270130 h 923534"/>
              <a:gd name="connsiteX65" fmla="*/ 593007 w 900424"/>
              <a:gd name="connsiteY65" fmla="*/ 118999 h 923534"/>
              <a:gd name="connsiteX66" fmla="*/ 593004 w 900424"/>
              <a:gd name="connsiteY66" fmla="*/ 272708 h 923534"/>
              <a:gd name="connsiteX67" fmla="*/ 636152 w 900424"/>
              <a:gd name="connsiteY67" fmla="*/ 321246 h 923534"/>
              <a:gd name="connsiteX68" fmla="*/ 797949 w 900424"/>
              <a:gd name="connsiteY68" fmla="*/ 323942 h 923534"/>
              <a:gd name="connsiteX69" fmla="*/ 593007 w 900424"/>
              <a:gd name="connsiteY69" fmla="*/ 118999 h 923534"/>
              <a:gd name="connsiteX70" fmla="*/ 655342 w 900424"/>
              <a:gd name="connsiteY70" fmla="*/ 99358 h 923534"/>
              <a:gd name="connsiteX71" fmla="*/ 721150 w 900424"/>
              <a:gd name="connsiteY71" fmla="*/ 99358 h 923534"/>
              <a:gd name="connsiteX72" fmla="*/ 900424 w 900424"/>
              <a:gd name="connsiteY72" fmla="*/ 280970 h 923534"/>
              <a:gd name="connsiteX73" fmla="*/ 900424 w 900424"/>
              <a:gd name="connsiteY73" fmla="*/ 853426 h 923534"/>
              <a:gd name="connsiteX74" fmla="*/ 852052 w 900424"/>
              <a:gd name="connsiteY74" fmla="*/ 905466 h 923534"/>
              <a:gd name="connsiteX75" fmla="*/ 828360 w 900424"/>
              <a:gd name="connsiteY75" fmla="*/ 905466 h 923534"/>
              <a:gd name="connsiteX76" fmla="*/ 849187 w 900424"/>
              <a:gd name="connsiteY76" fmla="*/ 863377 h 923534"/>
              <a:gd name="connsiteX77" fmla="*/ 849187 w 900424"/>
              <a:gd name="connsiteY77" fmla="*/ 293203 h 923534"/>
              <a:gd name="connsiteX78" fmla="*/ 655342 w 900424"/>
              <a:gd name="connsiteY78" fmla="*/ 99358 h 923534"/>
              <a:gd name="connsiteX79" fmla="*/ 284672 w 900424"/>
              <a:gd name="connsiteY79" fmla="*/ 26454 h 923534"/>
              <a:gd name="connsiteX80" fmla="*/ 306902 w 900424"/>
              <a:gd name="connsiteY80" fmla="*/ 26454 h 923534"/>
              <a:gd name="connsiteX81" fmla="*/ 312459 w 900424"/>
              <a:gd name="connsiteY81" fmla="*/ 32011 h 923534"/>
              <a:gd name="connsiteX82" fmla="*/ 312459 w 900424"/>
              <a:gd name="connsiteY82" fmla="*/ 71044 h 923534"/>
              <a:gd name="connsiteX83" fmla="*/ 341829 w 900424"/>
              <a:gd name="connsiteY83" fmla="*/ 71044 h 923534"/>
              <a:gd name="connsiteX84" fmla="*/ 341829 w 900424"/>
              <a:gd name="connsiteY84" fmla="*/ 32011 h 923534"/>
              <a:gd name="connsiteX85" fmla="*/ 347386 w 900424"/>
              <a:gd name="connsiteY85" fmla="*/ 26454 h 923534"/>
              <a:gd name="connsiteX86" fmla="*/ 369616 w 900424"/>
              <a:gd name="connsiteY86" fmla="*/ 26454 h 923534"/>
              <a:gd name="connsiteX87" fmla="*/ 375173 w 900424"/>
              <a:gd name="connsiteY87" fmla="*/ 32011 h 923534"/>
              <a:gd name="connsiteX88" fmla="*/ 375173 w 900424"/>
              <a:gd name="connsiteY88" fmla="*/ 71044 h 923534"/>
              <a:gd name="connsiteX89" fmla="*/ 404543 w 900424"/>
              <a:gd name="connsiteY89" fmla="*/ 71044 h 923534"/>
              <a:gd name="connsiteX90" fmla="*/ 404543 w 900424"/>
              <a:gd name="connsiteY90" fmla="*/ 32011 h 923534"/>
              <a:gd name="connsiteX91" fmla="*/ 410100 w 900424"/>
              <a:gd name="connsiteY91" fmla="*/ 26454 h 923534"/>
              <a:gd name="connsiteX92" fmla="*/ 432330 w 900424"/>
              <a:gd name="connsiteY92" fmla="*/ 26454 h 923534"/>
              <a:gd name="connsiteX93" fmla="*/ 437887 w 900424"/>
              <a:gd name="connsiteY93" fmla="*/ 32011 h 923534"/>
              <a:gd name="connsiteX94" fmla="*/ 437887 w 900424"/>
              <a:gd name="connsiteY94" fmla="*/ 71044 h 923534"/>
              <a:gd name="connsiteX95" fmla="*/ 467255 w 900424"/>
              <a:gd name="connsiteY95" fmla="*/ 71044 h 923534"/>
              <a:gd name="connsiteX96" fmla="*/ 467255 w 900424"/>
              <a:gd name="connsiteY96" fmla="*/ 32011 h 923534"/>
              <a:gd name="connsiteX97" fmla="*/ 472813 w 900424"/>
              <a:gd name="connsiteY97" fmla="*/ 26454 h 923534"/>
              <a:gd name="connsiteX98" fmla="*/ 495042 w 900424"/>
              <a:gd name="connsiteY98" fmla="*/ 26454 h 923534"/>
              <a:gd name="connsiteX99" fmla="*/ 500600 w 900424"/>
              <a:gd name="connsiteY99" fmla="*/ 32011 h 923534"/>
              <a:gd name="connsiteX100" fmla="*/ 500600 w 900424"/>
              <a:gd name="connsiteY100" fmla="*/ 71044 h 923534"/>
              <a:gd name="connsiteX101" fmla="*/ 606532 w 900424"/>
              <a:gd name="connsiteY101" fmla="*/ 71044 h 923534"/>
              <a:gd name="connsiteX102" fmla="*/ 833814 w 900424"/>
              <a:gd name="connsiteY102" fmla="*/ 298326 h 923534"/>
              <a:gd name="connsiteX103" fmla="*/ 833814 w 900424"/>
              <a:gd name="connsiteY103" fmla="*/ 868500 h 923534"/>
              <a:gd name="connsiteX104" fmla="*/ 778780 w 900424"/>
              <a:gd name="connsiteY104" fmla="*/ 923534 h 923534"/>
              <a:gd name="connsiteX105" fmla="*/ 239864 w 900424"/>
              <a:gd name="connsiteY105" fmla="*/ 923534 h 923534"/>
              <a:gd name="connsiteX106" fmla="*/ 184830 w 900424"/>
              <a:gd name="connsiteY106" fmla="*/ 868500 h 923534"/>
              <a:gd name="connsiteX107" fmla="*/ 184830 w 900424"/>
              <a:gd name="connsiteY107" fmla="*/ 480204 h 923534"/>
              <a:gd name="connsiteX108" fmla="*/ 108913 w 900424"/>
              <a:gd name="connsiteY108" fmla="*/ 397433 h 923534"/>
              <a:gd name="connsiteX109" fmla="*/ 110701 w 900424"/>
              <a:gd name="connsiteY109" fmla="*/ 356021 h 923534"/>
              <a:gd name="connsiteX110" fmla="*/ 184830 w 900424"/>
              <a:gd name="connsiteY110" fmla="*/ 288031 h 923534"/>
              <a:gd name="connsiteX111" fmla="*/ 184830 w 900424"/>
              <a:gd name="connsiteY111" fmla="*/ 255689 h 923534"/>
              <a:gd name="connsiteX112" fmla="*/ 182259 w 900424"/>
              <a:gd name="connsiteY112" fmla="*/ 258049 h 923534"/>
              <a:gd name="connsiteX113" fmla="*/ 181841 w 900424"/>
              <a:gd name="connsiteY113" fmla="*/ 251257 h 923534"/>
              <a:gd name="connsiteX114" fmla="*/ 140694 w 900424"/>
              <a:gd name="connsiteY114" fmla="*/ 206396 h 923534"/>
              <a:gd name="connsiteX115" fmla="*/ 121321 w 900424"/>
              <a:gd name="connsiteY115" fmla="*/ 203511 h 923534"/>
              <a:gd name="connsiteX116" fmla="*/ 42515 w 900424"/>
              <a:gd name="connsiteY116" fmla="*/ 275789 h 923534"/>
              <a:gd name="connsiteX117" fmla="*/ 43718 w 900424"/>
              <a:gd name="connsiteY117" fmla="*/ 295339 h 923534"/>
              <a:gd name="connsiteX118" fmla="*/ 84866 w 900424"/>
              <a:gd name="connsiteY118" fmla="*/ 340201 h 923534"/>
              <a:gd name="connsiteX119" fmla="*/ 91596 w 900424"/>
              <a:gd name="connsiteY119" fmla="*/ 341203 h 923534"/>
              <a:gd name="connsiteX120" fmla="*/ 83614 w 900424"/>
              <a:gd name="connsiteY120" fmla="*/ 348524 h 923534"/>
              <a:gd name="connsiteX121" fmla="*/ 60335 w 900424"/>
              <a:gd name="connsiteY121" fmla="*/ 347519 h 923534"/>
              <a:gd name="connsiteX122" fmla="*/ 15793 w 900424"/>
              <a:gd name="connsiteY122" fmla="*/ 298955 h 923534"/>
              <a:gd name="connsiteX123" fmla="*/ 16799 w 900424"/>
              <a:gd name="connsiteY123" fmla="*/ 275676 h 923534"/>
              <a:gd name="connsiteX124" fmla="*/ 122114 w 900424"/>
              <a:gd name="connsiteY124" fmla="*/ 179082 h 923534"/>
              <a:gd name="connsiteX125" fmla="*/ 145393 w 900424"/>
              <a:gd name="connsiteY125" fmla="*/ 180087 h 923534"/>
              <a:gd name="connsiteX126" fmla="*/ 184830 w 900424"/>
              <a:gd name="connsiteY126" fmla="*/ 223084 h 923534"/>
              <a:gd name="connsiteX127" fmla="*/ 184830 w 900424"/>
              <a:gd name="connsiteY127" fmla="*/ 126079 h 923534"/>
              <a:gd name="connsiteX128" fmla="*/ 239864 w 900424"/>
              <a:gd name="connsiteY128" fmla="*/ 71044 h 923534"/>
              <a:gd name="connsiteX129" fmla="*/ 279115 w 900424"/>
              <a:gd name="connsiteY129" fmla="*/ 71044 h 923534"/>
              <a:gd name="connsiteX130" fmla="*/ 279115 w 900424"/>
              <a:gd name="connsiteY130" fmla="*/ 32011 h 923534"/>
              <a:gd name="connsiteX131" fmla="*/ 284672 w 900424"/>
              <a:gd name="connsiteY131" fmla="*/ 26454 h 923534"/>
              <a:gd name="connsiteX132" fmla="*/ 69366 w 900424"/>
              <a:gd name="connsiteY132" fmla="*/ 97655 h 923534"/>
              <a:gd name="connsiteX133" fmla="*/ 185239 w 900424"/>
              <a:gd name="connsiteY133" fmla="*/ 0 h 923534"/>
              <a:gd name="connsiteX134" fmla="*/ 177024 w 900424"/>
              <a:gd name="connsiteY134" fmla="*/ 4459 h 923534"/>
              <a:gd name="connsiteX135" fmla="*/ 69385 w 900424"/>
              <a:gd name="connsiteY135" fmla="*/ 97673 h 923534"/>
              <a:gd name="connsiteX136" fmla="*/ 0 w 900424"/>
              <a:gd name="connsiteY136" fmla="*/ 195309 h 923534"/>
              <a:gd name="connsiteX137" fmla="*/ 0 w 900424"/>
              <a:gd name="connsiteY137" fmla="*/ 195263 h 923534"/>
              <a:gd name="connsiteX138" fmla="*/ 69366 w 900424"/>
              <a:gd name="connsiteY138" fmla="*/ 97655 h 923534"/>
              <a:gd name="connsiteX0" fmla="*/ 260828 w 900424"/>
              <a:gd name="connsiteY0" fmla="*/ 764558 h 923534"/>
              <a:gd name="connsiteX1" fmla="*/ 260828 w 900424"/>
              <a:gd name="connsiteY1" fmla="*/ 794070 h 923534"/>
              <a:gd name="connsiteX2" fmla="*/ 752690 w 900424"/>
              <a:gd name="connsiteY2" fmla="*/ 794070 h 923534"/>
              <a:gd name="connsiteX3" fmla="*/ 752690 w 900424"/>
              <a:gd name="connsiteY3" fmla="*/ 764558 h 923534"/>
              <a:gd name="connsiteX4" fmla="*/ 260828 w 900424"/>
              <a:gd name="connsiteY4" fmla="*/ 764558 h 923534"/>
              <a:gd name="connsiteX5" fmla="*/ 523025 w 900424"/>
              <a:gd name="connsiteY5" fmla="*/ 689243 h 923534"/>
              <a:gd name="connsiteX6" fmla="*/ 529392 w 900424"/>
              <a:gd name="connsiteY6" fmla="*/ 718755 h 923534"/>
              <a:gd name="connsiteX7" fmla="*/ 752690 w 900424"/>
              <a:gd name="connsiteY7" fmla="*/ 718755 h 923534"/>
              <a:gd name="connsiteX8" fmla="*/ 752690 w 900424"/>
              <a:gd name="connsiteY8" fmla="*/ 689243 h 923534"/>
              <a:gd name="connsiteX9" fmla="*/ 523025 w 900424"/>
              <a:gd name="connsiteY9" fmla="*/ 689243 h 923534"/>
              <a:gd name="connsiteX10" fmla="*/ 260828 w 900424"/>
              <a:gd name="connsiteY10" fmla="*/ 689243 h 923534"/>
              <a:gd name="connsiteX11" fmla="*/ 260828 w 900424"/>
              <a:gd name="connsiteY11" fmla="*/ 718755 h 923534"/>
              <a:gd name="connsiteX12" fmla="*/ 520342 w 900424"/>
              <a:gd name="connsiteY12" fmla="*/ 718755 h 923534"/>
              <a:gd name="connsiteX13" fmla="*/ 427300 w 900424"/>
              <a:gd name="connsiteY13" fmla="*/ 689243 h 923534"/>
              <a:gd name="connsiteX14" fmla="*/ 260828 w 900424"/>
              <a:gd name="connsiteY14" fmla="*/ 689243 h 923534"/>
              <a:gd name="connsiteX15" fmla="*/ 506777 w 900424"/>
              <a:gd name="connsiteY15" fmla="*/ 613925 h 923534"/>
              <a:gd name="connsiteX16" fmla="*/ 513144 w 900424"/>
              <a:gd name="connsiteY16" fmla="*/ 643437 h 923534"/>
              <a:gd name="connsiteX17" fmla="*/ 752690 w 900424"/>
              <a:gd name="connsiteY17" fmla="*/ 643437 h 923534"/>
              <a:gd name="connsiteX18" fmla="*/ 752690 w 900424"/>
              <a:gd name="connsiteY18" fmla="*/ 613925 h 923534"/>
              <a:gd name="connsiteX19" fmla="*/ 506777 w 900424"/>
              <a:gd name="connsiteY19" fmla="*/ 613925 h 923534"/>
              <a:gd name="connsiteX20" fmla="*/ 260828 w 900424"/>
              <a:gd name="connsiteY20" fmla="*/ 613925 h 923534"/>
              <a:gd name="connsiteX21" fmla="*/ 260828 w 900424"/>
              <a:gd name="connsiteY21" fmla="*/ 643437 h 923534"/>
              <a:gd name="connsiteX22" fmla="*/ 334546 w 900424"/>
              <a:gd name="connsiteY22" fmla="*/ 643437 h 923534"/>
              <a:gd name="connsiteX23" fmla="*/ 307478 w 900424"/>
              <a:gd name="connsiteY23" fmla="*/ 613925 h 923534"/>
              <a:gd name="connsiteX24" fmla="*/ 260828 w 900424"/>
              <a:gd name="connsiteY24" fmla="*/ 613925 h 923534"/>
              <a:gd name="connsiteX25" fmla="*/ 467940 w 900424"/>
              <a:gd name="connsiteY25" fmla="*/ 571317 h 923534"/>
              <a:gd name="connsiteX26" fmla="*/ 385032 w 900424"/>
              <a:gd name="connsiteY26" fmla="*/ 646579 h 923534"/>
              <a:gd name="connsiteX27" fmla="*/ 506739 w 900424"/>
              <a:gd name="connsiteY27" fmla="*/ 697043 h 923534"/>
              <a:gd name="connsiteX28" fmla="*/ 467940 w 900424"/>
              <a:gd name="connsiteY28" fmla="*/ 571317 h 923534"/>
              <a:gd name="connsiteX29" fmla="*/ 260828 w 900424"/>
              <a:gd name="connsiteY29" fmla="*/ 563064 h 923534"/>
              <a:gd name="connsiteX30" fmla="*/ 260828 w 900424"/>
              <a:gd name="connsiteY30" fmla="*/ 568120 h 923534"/>
              <a:gd name="connsiteX31" fmla="*/ 265465 w 900424"/>
              <a:gd name="connsiteY31" fmla="*/ 568120 h 923534"/>
              <a:gd name="connsiteX32" fmla="*/ 260828 w 900424"/>
              <a:gd name="connsiteY32" fmla="*/ 563064 h 923534"/>
              <a:gd name="connsiteX33" fmla="*/ 477023 w 900424"/>
              <a:gd name="connsiteY33" fmla="*/ 538609 h 923534"/>
              <a:gd name="connsiteX34" fmla="*/ 477810 w 900424"/>
              <a:gd name="connsiteY34" fmla="*/ 539466 h 923534"/>
              <a:gd name="connsiteX35" fmla="*/ 481962 w 900424"/>
              <a:gd name="connsiteY35" fmla="*/ 568120 h 923534"/>
              <a:gd name="connsiteX36" fmla="*/ 752690 w 900424"/>
              <a:gd name="connsiteY36" fmla="*/ 568120 h 923534"/>
              <a:gd name="connsiteX37" fmla="*/ 752690 w 900424"/>
              <a:gd name="connsiteY37" fmla="*/ 538609 h 923534"/>
              <a:gd name="connsiteX38" fmla="*/ 477023 w 900424"/>
              <a:gd name="connsiteY38" fmla="*/ 538609 h 923534"/>
              <a:gd name="connsiteX39" fmla="*/ 407941 w 900424"/>
              <a:gd name="connsiteY39" fmla="*/ 463291 h 923534"/>
              <a:gd name="connsiteX40" fmla="*/ 435010 w 900424"/>
              <a:gd name="connsiteY40" fmla="*/ 492803 h 923534"/>
              <a:gd name="connsiteX41" fmla="*/ 752690 w 900424"/>
              <a:gd name="connsiteY41" fmla="*/ 492803 h 923534"/>
              <a:gd name="connsiteX42" fmla="*/ 752690 w 900424"/>
              <a:gd name="connsiteY42" fmla="*/ 463291 h 923534"/>
              <a:gd name="connsiteX43" fmla="*/ 407941 w 900424"/>
              <a:gd name="connsiteY43" fmla="*/ 463291 h 923534"/>
              <a:gd name="connsiteX44" fmla="*/ 338860 w 900424"/>
              <a:gd name="connsiteY44" fmla="*/ 387973 h 923534"/>
              <a:gd name="connsiteX45" fmla="*/ 365929 w 900424"/>
              <a:gd name="connsiteY45" fmla="*/ 417485 h 923534"/>
              <a:gd name="connsiteX46" fmla="*/ 752690 w 900424"/>
              <a:gd name="connsiteY46" fmla="*/ 417485 h 923534"/>
              <a:gd name="connsiteX47" fmla="*/ 752690 w 900424"/>
              <a:gd name="connsiteY47" fmla="*/ 387973 h 923534"/>
              <a:gd name="connsiteX48" fmla="*/ 338860 w 900424"/>
              <a:gd name="connsiteY48" fmla="*/ 387973 h 923534"/>
              <a:gd name="connsiteX49" fmla="*/ 208773 w 900424"/>
              <a:gd name="connsiteY49" fmla="*/ 287844 h 923534"/>
              <a:gd name="connsiteX50" fmla="*/ 191984 w 900424"/>
              <a:gd name="connsiteY50" fmla="*/ 292482 h 923534"/>
              <a:gd name="connsiteX51" fmla="*/ 127335 w 900424"/>
              <a:gd name="connsiteY51" fmla="*/ 351778 h 923534"/>
              <a:gd name="connsiteX52" fmla="*/ 129474 w 900424"/>
              <a:gd name="connsiteY52" fmla="*/ 386557 h 923534"/>
              <a:gd name="connsiteX53" fmla="*/ 350534 w 900424"/>
              <a:gd name="connsiteY53" fmla="*/ 627573 h 923534"/>
              <a:gd name="connsiteX54" fmla="*/ 384998 w 900424"/>
              <a:gd name="connsiteY54" fmla="*/ 632703 h 923534"/>
              <a:gd name="connsiteX55" fmla="*/ 449647 w 900424"/>
              <a:gd name="connsiteY55" fmla="*/ 573407 h 923534"/>
              <a:gd name="connsiteX56" fmla="*/ 447509 w 900424"/>
              <a:gd name="connsiteY56" fmla="*/ 538629 h 923534"/>
              <a:gd name="connsiteX57" fmla="*/ 226448 w 900424"/>
              <a:gd name="connsiteY57" fmla="*/ 297612 h 923534"/>
              <a:gd name="connsiteX58" fmla="*/ 208773 w 900424"/>
              <a:gd name="connsiteY58" fmla="*/ 287844 h 923534"/>
              <a:gd name="connsiteX59" fmla="*/ 260828 w 900424"/>
              <a:gd name="connsiteY59" fmla="*/ 270130 h 923534"/>
              <a:gd name="connsiteX60" fmla="*/ 260828 w 900424"/>
              <a:gd name="connsiteY60" fmla="*/ 302896 h 923534"/>
              <a:gd name="connsiteX61" fmla="*/ 266867 w 900424"/>
              <a:gd name="connsiteY61" fmla="*/ 309479 h 923534"/>
              <a:gd name="connsiteX62" fmla="*/ 555945 w 900424"/>
              <a:gd name="connsiteY62" fmla="*/ 309479 h 923534"/>
              <a:gd name="connsiteX63" fmla="*/ 555945 w 900424"/>
              <a:gd name="connsiteY63" fmla="*/ 270130 h 923534"/>
              <a:gd name="connsiteX64" fmla="*/ 260828 w 900424"/>
              <a:gd name="connsiteY64" fmla="*/ 270130 h 923534"/>
              <a:gd name="connsiteX65" fmla="*/ 593007 w 900424"/>
              <a:gd name="connsiteY65" fmla="*/ 118999 h 923534"/>
              <a:gd name="connsiteX66" fmla="*/ 593004 w 900424"/>
              <a:gd name="connsiteY66" fmla="*/ 272708 h 923534"/>
              <a:gd name="connsiteX67" fmla="*/ 636152 w 900424"/>
              <a:gd name="connsiteY67" fmla="*/ 321246 h 923534"/>
              <a:gd name="connsiteX68" fmla="*/ 797949 w 900424"/>
              <a:gd name="connsiteY68" fmla="*/ 323942 h 923534"/>
              <a:gd name="connsiteX69" fmla="*/ 593007 w 900424"/>
              <a:gd name="connsiteY69" fmla="*/ 118999 h 923534"/>
              <a:gd name="connsiteX70" fmla="*/ 655342 w 900424"/>
              <a:gd name="connsiteY70" fmla="*/ 99358 h 923534"/>
              <a:gd name="connsiteX71" fmla="*/ 721150 w 900424"/>
              <a:gd name="connsiteY71" fmla="*/ 99358 h 923534"/>
              <a:gd name="connsiteX72" fmla="*/ 900424 w 900424"/>
              <a:gd name="connsiteY72" fmla="*/ 280970 h 923534"/>
              <a:gd name="connsiteX73" fmla="*/ 900424 w 900424"/>
              <a:gd name="connsiteY73" fmla="*/ 853426 h 923534"/>
              <a:gd name="connsiteX74" fmla="*/ 852052 w 900424"/>
              <a:gd name="connsiteY74" fmla="*/ 905466 h 923534"/>
              <a:gd name="connsiteX75" fmla="*/ 828360 w 900424"/>
              <a:gd name="connsiteY75" fmla="*/ 905466 h 923534"/>
              <a:gd name="connsiteX76" fmla="*/ 849187 w 900424"/>
              <a:gd name="connsiteY76" fmla="*/ 863377 h 923534"/>
              <a:gd name="connsiteX77" fmla="*/ 849187 w 900424"/>
              <a:gd name="connsiteY77" fmla="*/ 293203 h 923534"/>
              <a:gd name="connsiteX78" fmla="*/ 655342 w 900424"/>
              <a:gd name="connsiteY78" fmla="*/ 99358 h 923534"/>
              <a:gd name="connsiteX79" fmla="*/ 284672 w 900424"/>
              <a:gd name="connsiteY79" fmla="*/ 26454 h 923534"/>
              <a:gd name="connsiteX80" fmla="*/ 306902 w 900424"/>
              <a:gd name="connsiteY80" fmla="*/ 26454 h 923534"/>
              <a:gd name="connsiteX81" fmla="*/ 312459 w 900424"/>
              <a:gd name="connsiteY81" fmla="*/ 32011 h 923534"/>
              <a:gd name="connsiteX82" fmla="*/ 312459 w 900424"/>
              <a:gd name="connsiteY82" fmla="*/ 71044 h 923534"/>
              <a:gd name="connsiteX83" fmla="*/ 341829 w 900424"/>
              <a:gd name="connsiteY83" fmla="*/ 71044 h 923534"/>
              <a:gd name="connsiteX84" fmla="*/ 341829 w 900424"/>
              <a:gd name="connsiteY84" fmla="*/ 32011 h 923534"/>
              <a:gd name="connsiteX85" fmla="*/ 347386 w 900424"/>
              <a:gd name="connsiteY85" fmla="*/ 26454 h 923534"/>
              <a:gd name="connsiteX86" fmla="*/ 369616 w 900424"/>
              <a:gd name="connsiteY86" fmla="*/ 26454 h 923534"/>
              <a:gd name="connsiteX87" fmla="*/ 375173 w 900424"/>
              <a:gd name="connsiteY87" fmla="*/ 32011 h 923534"/>
              <a:gd name="connsiteX88" fmla="*/ 375173 w 900424"/>
              <a:gd name="connsiteY88" fmla="*/ 71044 h 923534"/>
              <a:gd name="connsiteX89" fmla="*/ 404543 w 900424"/>
              <a:gd name="connsiteY89" fmla="*/ 71044 h 923534"/>
              <a:gd name="connsiteX90" fmla="*/ 404543 w 900424"/>
              <a:gd name="connsiteY90" fmla="*/ 32011 h 923534"/>
              <a:gd name="connsiteX91" fmla="*/ 410100 w 900424"/>
              <a:gd name="connsiteY91" fmla="*/ 26454 h 923534"/>
              <a:gd name="connsiteX92" fmla="*/ 432330 w 900424"/>
              <a:gd name="connsiteY92" fmla="*/ 26454 h 923534"/>
              <a:gd name="connsiteX93" fmla="*/ 437887 w 900424"/>
              <a:gd name="connsiteY93" fmla="*/ 32011 h 923534"/>
              <a:gd name="connsiteX94" fmla="*/ 437887 w 900424"/>
              <a:gd name="connsiteY94" fmla="*/ 71044 h 923534"/>
              <a:gd name="connsiteX95" fmla="*/ 467255 w 900424"/>
              <a:gd name="connsiteY95" fmla="*/ 71044 h 923534"/>
              <a:gd name="connsiteX96" fmla="*/ 467255 w 900424"/>
              <a:gd name="connsiteY96" fmla="*/ 32011 h 923534"/>
              <a:gd name="connsiteX97" fmla="*/ 472813 w 900424"/>
              <a:gd name="connsiteY97" fmla="*/ 26454 h 923534"/>
              <a:gd name="connsiteX98" fmla="*/ 495042 w 900424"/>
              <a:gd name="connsiteY98" fmla="*/ 26454 h 923534"/>
              <a:gd name="connsiteX99" fmla="*/ 500600 w 900424"/>
              <a:gd name="connsiteY99" fmla="*/ 32011 h 923534"/>
              <a:gd name="connsiteX100" fmla="*/ 500600 w 900424"/>
              <a:gd name="connsiteY100" fmla="*/ 71044 h 923534"/>
              <a:gd name="connsiteX101" fmla="*/ 606532 w 900424"/>
              <a:gd name="connsiteY101" fmla="*/ 71044 h 923534"/>
              <a:gd name="connsiteX102" fmla="*/ 833814 w 900424"/>
              <a:gd name="connsiteY102" fmla="*/ 298326 h 923534"/>
              <a:gd name="connsiteX103" fmla="*/ 833814 w 900424"/>
              <a:gd name="connsiteY103" fmla="*/ 868500 h 923534"/>
              <a:gd name="connsiteX104" fmla="*/ 778780 w 900424"/>
              <a:gd name="connsiteY104" fmla="*/ 923534 h 923534"/>
              <a:gd name="connsiteX105" fmla="*/ 239864 w 900424"/>
              <a:gd name="connsiteY105" fmla="*/ 923534 h 923534"/>
              <a:gd name="connsiteX106" fmla="*/ 184830 w 900424"/>
              <a:gd name="connsiteY106" fmla="*/ 868500 h 923534"/>
              <a:gd name="connsiteX107" fmla="*/ 184830 w 900424"/>
              <a:gd name="connsiteY107" fmla="*/ 480204 h 923534"/>
              <a:gd name="connsiteX108" fmla="*/ 108913 w 900424"/>
              <a:gd name="connsiteY108" fmla="*/ 397433 h 923534"/>
              <a:gd name="connsiteX109" fmla="*/ 110701 w 900424"/>
              <a:gd name="connsiteY109" fmla="*/ 356021 h 923534"/>
              <a:gd name="connsiteX110" fmla="*/ 184830 w 900424"/>
              <a:gd name="connsiteY110" fmla="*/ 288031 h 923534"/>
              <a:gd name="connsiteX111" fmla="*/ 184830 w 900424"/>
              <a:gd name="connsiteY111" fmla="*/ 255689 h 923534"/>
              <a:gd name="connsiteX112" fmla="*/ 182259 w 900424"/>
              <a:gd name="connsiteY112" fmla="*/ 258049 h 923534"/>
              <a:gd name="connsiteX113" fmla="*/ 181841 w 900424"/>
              <a:gd name="connsiteY113" fmla="*/ 251257 h 923534"/>
              <a:gd name="connsiteX114" fmla="*/ 140694 w 900424"/>
              <a:gd name="connsiteY114" fmla="*/ 206396 h 923534"/>
              <a:gd name="connsiteX115" fmla="*/ 121321 w 900424"/>
              <a:gd name="connsiteY115" fmla="*/ 203511 h 923534"/>
              <a:gd name="connsiteX116" fmla="*/ 42515 w 900424"/>
              <a:gd name="connsiteY116" fmla="*/ 275789 h 923534"/>
              <a:gd name="connsiteX117" fmla="*/ 43718 w 900424"/>
              <a:gd name="connsiteY117" fmla="*/ 295339 h 923534"/>
              <a:gd name="connsiteX118" fmla="*/ 84866 w 900424"/>
              <a:gd name="connsiteY118" fmla="*/ 340201 h 923534"/>
              <a:gd name="connsiteX119" fmla="*/ 91596 w 900424"/>
              <a:gd name="connsiteY119" fmla="*/ 341203 h 923534"/>
              <a:gd name="connsiteX120" fmla="*/ 83614 w 900424"/>
              <a:gd name="connsiteY120" fmla="*/ 348524 h 923534"/>
              <a:gd name="connsiteX121" fmla="*/ 60335 w 900424"/>
              <a:gd name="connsiteY121" fmla="*/ 347519 h 923534"/>
              <a:gd name="connsiteX122" fmla="*/ 15793 w 900424"/>
              <a:gd name="connsiteY122" fmla="*/ 298955 h 923534"/>
              <a:gd name="connsiteX123" fmla="*/ 16799 w 900424"/>
              <a:gd name="connsiteY123" fmla="*/ 275676 h 923534"/>
              <a:gd name="connsiteX124" fmla="*/ 122114 w 900424"/>
              <a:gd name="connsiteY124" fmla="*/ 179082 h 923534"/>
              <a:gd name="connsiteX125" fmla="*/ 145393 w 900424"/>
              <a:gd name="connsiteY125" fmla="*/ 180087 h 923534"/>
              <a:gd name="connsiteX126" fmla="*/ 184830 w 900424"/>
              <a:gd name="connsiteY126" fmla="*/ 223084 h 923534"/>
              <a:gd name="connsiteX127" fmla="*/ 184830 w 900424"/>
              <a:gd name="connsiteY127" fmla="*/ 126079 h 923534"/>
              <a:gd name="connsiteX128" fmla="*/ 239864 w 900424"/>
              <a:gd name="connsiteY128" fmla="*/ 71044 h 923534"/>
              <a:gd name="connsiteX129" fmla="*/ 279115 w 900424"/>
              <a:gd name="connsiteY129" fmla="*/ 71044 h 923534"/>
              <a:gd name="connsiteX130" fmla="*/ 279115 w 900424"/>
              <a:gd name="connsiteY130" fmla="*/ 32011 h 923534"/>
              <a:gd name="connsiteX131" fmla="*/ 284672 w 900424"/>
              <a:gd name="connsiteY131" fmla="*/ 26454 h 923534"/>
              <a:gd name="connsiteX132" fmla="*/ 69366 w 900424"/>
              <a:gd name="connsiteY132" fmla="*/ 97655 h 923534"/>
              <a:gd name="connsiteX133" fmla="*/ 185239 w 900424"/>
              <a:gd name="connsiteY133" fmla="*/ 0 h 923534"/>
              <a:gd name="connsiteX134" fmla="*/ 69385 w 900424"/>
              <a:gd name="connsiteY134" fmla="*/ 97673 h 923534"/>
              <a:gd name="connsiteX135" fmla="*/ 0 w 900424"/>
              <a:gd name="connsiteY135" fmla="*/ 195309 h 923534"/>
              <a:gd name="connsiteX136" fmla="*/ 0 w 900424"/>
              <a:gd name="connsiteY136" fmla="*/ 195263 h 923534"/>
              <a:gd name="connsiteX137" fmla="*/ 69366 w 900424"/>
              <a:gd name="connsiteY137" fmla="*/ 97655 h 923534"/>
              <a:gd name="connsiteX0" fmla="*/ 260828 w 900424"/>
              <a:gd name="connsiteY0" fmla="*/ 738104 h 897080"/>
              <a:gd name="connsiteX1" fmla="*/ 260828 w 900424"/>
              <a:gd name="connsiteY1" fmla="*/ 767616 h 897080"/>
              <a:gd name="connsiteX2" fmla="*/ 752690 w 900424"/>
              <a:gd name="connsiteY2" fmla="*/ 767616 h 897080"/>
              <a:gd name="connsiteX3" fmla="*/ 752690 w 900424"/>
              <a:gd name="connsiteY3" fmla="*/ 738104 h 897080"/>
              <a:gd name="connsiteX4" fmla="*/ 260828 w 900424"/>
              <a:gd name="connsiteY4" fmla="*/ 738104 h 897080"/>
              <a:gd name="connsiteX5" fmla="*/ 523025 w 900424"/>
              <a:gd name="connsiteY5" fmla="*/ 662789 h 897080"/>
              <a:gd name="connsiteX6" fmla="*/ 529392 w 900424"/>
              <a:gd name="connsiteY6" fmla="*/ 692301 h 897080"/>
              <a:gd name="connsiteX7" fmla="*/ 752690 w 900424"/>
              <a:gd name="connsiteY7" fmla="*/ 692301 h 897080"/>
              <a:gd name="connsiteX8" fmla="*/ 752690 w 900424"/>
              <a:gd name="connsiteY8" fmla="*/ 662789 h 897080"/>
              <a:gd name="connsiteX9" fmla="*/ 523025 w 900424"/>
              <a:gd name="connsiteY9" fmla="*/ 662789 h 897080"/>
              <a:gd name="connsiteX10" fmla="*/ 260828 w 900424"/>
              <a:gd name="connsiteY10" fmla="*/ 662789 h 897080"/>
              <a:gd name="connsiteX11" fmla="*/ 260828 w 900424"/>
              <a:gd name="connsiteY11" fmla="*/ 692301 h 897080"/>
              <a:gd name="connsiteX12" fmla="*/ 520342 w 900424"/>
              <a:gd name="connsiteY12" fmla="*/ 692301 h 897080"/>
              <a:gd name="connsiteX13" fmla="*/ 427300 w 900424"/>
              <a:gd name="connsiteY13" fmla="*/ 662789 h 897080"/>
              <a:gd name="connsiteX14" fmla="*/ 260828 w 900424"/>
              <a:gd name="connsiteY14" fmla="*/ 662789 h 897080"/>
              <a:gd name="connsiteX15" fmla="*/ 506777 w 900424"/>
              <a:gd name="connsiteY15" fmla="*/ 587471 h 897080"/>
              <a:gd name="connsiteX16" fmla="*/ 513144 w 900424"/>
              <a:gd name="connsiteY16" fmla="*/ 616983 h 897080"/>
              <a:gd name="connsiteX17" fmla="*/ 752690 w 900424"/>
              <a:gd name="connsiteY17" fmla="*/ 616983 h 897080"/>
              <a:gd name="connsiteX18" fmla="*/ 752690 w 900424"/>
              <a:gd name="connsiteY18" fmla="*/ 587471 h 897080"/>
              <a:gd name="connsiteX19" fmla="*/ 506777 w 900424"/>
              <a:gd name="connsiteY19" fmla="*/ 587471 h 897080"/>
              <a:gd name="connsiteX20" fmla="*/ 260828 w 900424"/>
              <a:gd name="connsiteY20" fmla="*/ 587471 h 897080"/>
              <a:gd name="connsiteX21" fmla="*/ 260828 w 900424"/>
              <a:gd name="connsiteY21" fmla="*/ 616983 h 897080"/>
              <a:gd name="connsiteX22" fmla="*/ 334546 w 900424"/>
              <a:gd name="connsiteY22" fmla="*/ 616983 h 897080"/>
              <a:gd name="connsiteX23" fmla="*/ 307478 w 900424"/>
              <a:gd name="connsiteY23" fmla="*/ 587471 h 897080"/>
              <a:gd name="connsiteX24" fmla="*/ 260828 w 900424"/>
              <a:gd name="connsiteY24" fmla="*/ 587471 h 897080"/>
              <a:gd name="connsiteX25" fmla="*/ 467940 w 900424"/>
              <a:gd name="connsiteY25" fmla="*/ 544863 h 897080"/>
              <a:gd name="connsiteX26" fmla="*/ 385032 w 900424"/>
              <a:gd name="connsiteY26" fmla="*/ 620125 h 897080"/>
              <a:gd name="connsiteX27" fmla="*/ 506739 w 900424"/>
              <a:gd name="connsiteY27" fmla="*/ 670589 h 897080"/>
              <a:gd name="connsiteX28" fmla="*/ 467940 w 900424"/>
              <a:gd name="connsiteY28" fmla="*/ 544863 h 897080"/>
              <a:gd name="connsiteX29" fmla="*/ 260828 w 900424"/>
              <a:gd name="connsiteY29" fmla="*/ 536610 h 897080"/>
              <a:gd name="connsiteX30" fmla="*/ 260828 w 900424"/>
              <a:gd name="connsiteY30" fmla="*/ 541666 h 897080"/>
              <a:gd name="connsiteX31" fmla="*/ 265465 w 900424"/>
              <a:gd name="connsiteY31" fmla="*/ 541666 h 897080"/>
              <a:gd name="connsiteX32" fmla="*/ 260828 w 900424"/>
              <a:gd name="connsiteY32" fmla="*/ 536610 h 897080"/>
              <a:gd name="connsiteX33" fmla="*/ 477023 w 900424"/>
              <a:gd name="connsiteY33" fmla="*/ 512155 h 897080"/>
              <a:gd name="connsiteX34" fmla="*/ 477810 w 900424"/>
              <a:gd name="connsiteY34" fmla="*/ 513012 h 897080"/>
              <a:gd name="connsiteX35" fmla="*/ 481962 w 900424"/>
              <a:gd name="connsiteY35" fmla="*/ 541666 h 897080"/>
              <a:gd name="connsiteX36" fmla="*/ 752690 w 900424"/>
              <a:gd name="connsiteY36" fmla="*/ 541666 h 897080"/>
              <a:gd name="connsiteX37" fmla="*/ 752690 w 900424"/>
              <a:gd name="connsiteY37" fmla="*/ 512155 h 897080"/>
              <a:gd name="connsiteX38" fmla="*/ 477023 w 900424"/>
              <a:gd name="connsiteY38" fmla="*/ 512155 h 897080"/>
              <a:gd name="connsiteX39" fmla="*/ 407941 w 900424"/>
              <a:gd name="connsiteY39" fmla="*/ 436837 h 897080"/>
              <a:gd name="connsiteX40" fmla="*/ 435010 w 900424"/>
              <a:gd name="connsiteY40" fmla="*/ 466349 h 897080"/>
              <a:gd name="connsiteX41" fmla="*/ 752690 w 900424"/>
              <a:gd name="connsiteY41" fmla="*/ 466349 h 897080"/>
              <a:gd name="connsiteX42" fmla="*/ 752690 w 900424"/>
              <a:gd name="connsiteY42" fmla="*/ 436837 h 897080"/>
              <a:gd name="connsiteX43" fmla="*/ 407941 w 900424"/>
              <a:gd name="connsiteY43" fmla="*/ 436837 h 897080"/>
              <a:gd name="connsiteX44" fmla="*/ 338860 w 900424"/>
              <a:gd name="connsiteY44" fmla="*/ 361519 h 897080"/>
              <a:gd name="connsiteX45" fmla="*/ 365929 w 900424"/>
              <a:gd name="connsiteY45" fmla="*/ 391031 h 897080"/>
              <a:gd name="connsiteX46" fmla="*/ 752690 w 900424"/>
              <a:gd name="connsiteY46" fmla="*/ 391031 h 897080"/>
              <a:gd name="connsiteX47" fmla="*/ 752690 w 900424"/>
              <a:gd name="connsiteY47" fmla="*/ 361519 h 897080"/>
              <a:gd name="connsiteX48" fmla="*/ 338860 w 900424"/>
              <a:gd name="connsiteY48" fmla="*/ 361519 h 897080"/>
              <a:gd name="connsiteX49" fmla="*/ 208773 w 900424"/>
              <a:gd name="connsiteY49" fmla="*/ 261390 h 897080"/>
              <a:gd name="connsiteX50" fmla="*/ 191984 w 900424"/>
              <a:gd name="connsiteY50" fmla="*/ 266028 h 897080"/>
              <a:gd name="connsiteX51" fmla="*/ 127335 w 900424"/>
              <a:gd name="connsiteY51" fmla="*/ 325324 h 897080"/>
              <a:gd name="connsiteX52" fmla="*/ 129474 w 900424"/>
              <a:gd name="connsiteY52" fmla="*/ 360103 h 897080"/>
              <a:gd name="connsiteX53" fmla="*/ 350534 w 900424"/>
              <a:gd name="connsiteY53" fmla="*/ 601119 h 897080"/>
              <a:gd name="connsiteX54" fmla="*/ 384998 w 900424"/>
              <a:gd name="connsiteY54" fmla="*/ 606249 h 897080"/>
              <a:gd name="connsiteX55" fmla="*/ 449647 w 900424"/>
              <a:gd name="connsiteY55" fmla="*/ 546953 h 897080"/>
              <a:gd name="connsiteX56" fmla="*/ 447509 w 900424"/>
              <a:gd name="connsiteY56" fmla="*/ 512175 h 897080"/>
              <a:gd name="connsiteX57" fmla="*/ 226448 w 900424"/>
              <a:gd name="connsiteY57" fmla="*/ 271158 h 897080"/>
              <a:gd name="connsiteX58" fmla="*/ 208773 w 900424"/>
              <a:gd name="connsiteY58" fmla="*/ 261390 h 897080"/>
              <a:gd name="connsiteX59" fmla="*/ 260828 w 900424"/>
              <a:gd name="connsiteY59" fmla="*/ 243676 h 897080"/>
              <a:gd name="connsiteX60" fmla="*/ 260828 w 900424"/>
              <a:gd name="connsiteY60" fmla="*/ 276442 h 897080"/>
              <a:gd name="connsiteX61" fmla="*/ 266867 w 900424"/>
              <a:gd name="connsiteY61" fmla="*/ 283025 h 897080"/>
              <a:gd name="connsiteX62" fmla="*/ 555945 w 900424"/>
              <a:gd name="connsiteY62" fmla="*/ 283025 h 897080"/>
              <a:gd name="connsiteX63" fmla="*/ 555945 w 900424"/>
              <a:gd name="connsiteY63" fmla="*/ 243676 h 897080"/>
              <a:gd name="connsiteX64" fmla="*/ 260828 w 900424"/>
              <a:gd name="connsiteY64" fmla="*/ 243676 h 897080"/>
              <a:gd name="connsiteX65" fmla="*/ 593007 w 900424"/>
              <a:gd name="connsiteY65" fmla="*/ 92545 h 897080"/>
              <a:gd name="connsiteX66" fmla="*/ 593004 w 900424"/>
              <a:gd name="connsiteY66" fmla="*/ 246254 h 897080"/>
              <a:gd name="connsiteX67" fmla="*/ 636152 w 900424"/>
              <a:gd name="connsiteY67" fmla="*/ 294792 h 897080"/>
              <a:gd name="connsiteX68" fmla="*/ 797949 w 900424"/>
              <a:gd name="connsiteY68" fmla="*/ 297488 h 897080"/>
              <a:gd name="connsiteX69" fmla="*/ 593007 w 900424"/>
              <a:gd name="connsiteY69" fmla="*/ 92545 h 897080"/>
              <a:gd name="connsiteX70" fmla="*/ 655342 w 900424"/>
              <a:gd name="connsiteY70" fmla="*/ 72904 h 897080"/>
              <a:gd name="connsiteX71" fmla="*/ 721150 w 900424"/>
              <a:gd name="connsiteY71" fmla="*/ 72904 h 897080"/>
              <a:gd name="connsiteX72" fmla="*/ 900424 w 900424"/>
              <a:gd name="connsiteY72" fmla="*/ 254516 h 897080"/>
              <a:gd name="connsiteX73" fmla="*/ 900424 w 900424"/>
              <a:gd name="connsiteY73" fmla="*/ 826972 h 897080"/>
              <a:gd name="connsiteX74" fmla="*/ 852052 w 900424"/>
              <a:gd name="connsiteY74" fmla="*/ 879012 h 897080"/>
              <a:gd name="connsiteX75" fmla="*/ 828360 w 900424"/>
              <a:gd name="connsiteY75" fmla="*/ 879012 h 897080"/>
              <a:gd name="connsiteX76" fmla="*/ 849187 w 900424"/>
              <a:gd name="connsiteY76" fmla="*/ 836923 h 897080"/>
              <a:gd name="connsiteX77" fmla="*/ 849187 w 900424"/>
              <a:gd name="connsiteY77" fmla="*/ 266749 h 897080"/>
              <a:gd name="connsiteX78" fmla="*/ 655342 w 900424"/>
              <a:gd name="connsiteY78" fmla="*/ 72904 h 897080"/>
              <a:gd name="connsiteX79" fmla="*/ 284672 w 900424"/>
              <a:gd name="connsiteY79" fmla="*/ 0 h 897080"/>
              <a:gd name="connsiteX80" fmla="*/ 306902 w 900424"/>
              <a:gd name="connsiteY80" fmla="*/ 0 h 897080"/>
              <a:gd name="connsiteX81" fmla="*/ 312459 w 900424"/>
              <a:gd name="connsiteY81" fmla="*/ 5557 h 897080"/>
              <a:gd name="connsiteX82" fmla="*/ 312459 w 900424"/>
              <a:gd name="connsiteY82" fmla="*/ 44590 h 897080"/>
              <a:gd name="connsiteX83" fmla="*/ 341829 w 900424"/>
              <a:gd name="connsiteY83" fmla="*/ 44590 h 897080"/>
              <a:gd name="connsiteX84" fmla="*/ 341829 w 900424"/>
              <a:gd name="connsiteY84" fmla="*/ 5557 h 897080"/>
              <a:gd name="connsiteX85" fmla="*/ 347386 w 900424"/>
              <a:gd name="connsiteY85" fmla="*/ 0 h 897080"/>
              <a:gd name="connsiteX86" fmla="*/ 369616 w 900424"/>
              <a:gd name="connsiteY86" fmla="*/ 0 h 897080"/>
              <a:gd name="connsiteX87" fmla="*/ 375173 w 900424"/>
              <a:gd name="connsiteY87" fmla="*/ 5557 h 897080"/>
              <a:gd name="connsiteX88" fmla="*/ 375173 w 900424"/>
              <a:gd name="connsiteY88" fmla="*/ 44590 h 897080"/>
              <a:gd name="connsiteX89" fmla="*/ 404543 w 900424"/>
              <a:gd name="connsiteY89" fmla="*/ 44590 h 897080"/>
              <a:gd name="connsiteX90" fmla="*/ 404543 w 900424"/>
              <a:gd name="connsiteY90" fmla="*/ 5557 h 897080"/>
              <a:gd name="connsiteX91" fmla="*/ 410100 w 900424"/>
              <a:gd name="connsiteY91" fmla="*/ 0 h 897080"/>
              <a:gd name="connsiteX92" fmla="*/ 432330 w 900424"/>
              <a:gd name="connsiteY92" fmla="*/ 0 h 897080"/>
              <a:gd name="connsiteX93" fmla="*/ 437887 w 900424"/>
              <a:gd name="connsiteY93" fmla="*/ 5557 h 897080"/>
              <a:gd name="connsiteX94" fmla="*/ 437887 w 900424"/>
              <a:gd name="connsiteY94" fmla="*/ 44590 h 897080"/>
              <a:gd name="connsiteX95" fmla="*/ 467255 w 900424"/>
              <a:gd name="connsiteY95" fmla="*/ 44590 h 897080"/>
              <a:gd name="connsiteX96" fmla="*/ 467255 w 900424"/>
              <a:gd name="connsiteY96" fmla="*/ 5557 h 897080"/>
              <a:gd name="connsiteX97" fmla="*/ 472813 w 900424"/>
              <a:gd name="connsiteY97" fmla="*/ 0 h 897080"/>
              <a:gd name="connsiteX98" fmla="*/ 495042 w 900424"/>
              <a:gd name="connsiteY98" fmla="*/ 0 h 897080"/>
              <a:gd name="connsiteX99" fmla="*/ 500600 w 900424"/>
              <a:gd name="connsiteY99" fmla="*/ 5557 h 897080"/>
              <a:gd name="connsiteX100" fmla="*/ 500600 w 900424"/>
              <a:gd name="connsiteY100" fmla="*/ 44590 h 897080"/>
              <a:gd name="connsiteX101" fmla="*/ 606532 w 900424"/>
              <a:gd name="connsiteY101" fmla="*/ 44590 h 897080"/>
              <a:gd name="connsiteX102" fmla="*/ 833814 w 900424"/>
              <a:gd name="connsiteY102" fmla="*/ 271872 h 897080"/>
              <a:gd name="connsiteX103" fmla="*/ 833814 w 900424"/>
              <a:gd name="connsiteY103" fmla="*/ 842046 h 897080"/>
              <a:gd name="connsiteX104" fmla="*/ 778780 w 900424"/>
              <a:gd name="connsiteY104" fmla="*/ 897080 h 897080"/>
              <a:gd name="connsiteX105" fmla="*/ 239864 w 900424"/>
              <a:gd name="connsiteY105" fmla="*/ 897080 h 897080"/>
              <a:gd name="connsiteX106" fmla="*/ 184830 w 900424"/>
              <a:gd name="connsiteY106" fmla="*/ 842046 h 897080"/>
              <a:gd name="connsiteX107" fmla="*/ 184830 w 900424"/>
              <a:gd name="connsiteY107" fmla="*/ 453750 h 897080"/>
              <a:gd name="connsiteX108" fmla="*/ 108913 w 900424"/>
              <a:gd name="connsiteY108" fmla="*/ 370979 h 897080"/>
              <a:gd name="connsiteX109" fmla="*/ 110701 w 900424"/>
              <a:gd name="connsiteY109" fmla="*/ 329567 h 897080"/>
              <a:gd name="connsiteX110" fmla="*/ 184830 w 900424"/>
              <a:gd name="connsiteY110" fmla="*/ 261577 h 897080"/>
              <a:gd name="connsiteX111" fmla="*/ 184830 w 900424"/>
              <a:gd name="connsiteY111" fmla="*/ 229235 h 897080"/>
              <a:gd name="connsiteX112" fmla="*/ 182259 w 900424"/>
              <a:gd name="connsiteY112" fmla="*/ 231595 h 897080"/>
              <a:gd name="connsiteX113" fmla="*/ 181841 w 900424"/>
              <a:gd name="connsiteY113" fmla="*/ 224803 h 897080"/>
              <a:gd name="connsiteX114" fmla="*/ 140694 w 900424"/>
              <a:gd name="connsiteY114" fmla="*/ 179942 h 897080"/>
              <a:gd name="connsiteX115" fmla="*/ 121321 w 900424"/>
              <a:gd name="connsiteY115" fmla="*/ 177057 h 897080"/>
              <a:gd name="connsiteX116" fmla="*/ 42515 w 900424"/>
              <a:gd name="connsiteY116" fmla="*/ 249335 h 897080"/>
              <a:gd name="connsiteX117" fmla="*/ 43718 w 900424"/>
              <a:gd name="connsiteY117" fmla="*/ 268885 h 897080"/>
              <a:gd name="connsiteX118" fmla="*/ 84866 w 900424"/>
              <a:gd name="connsiteY118" fmla="*/ 313747 h 897080"/>
              <a:gd name="connsiteX119" fmla="*/ 91596 w 900424"/>
              <a:gd name="connsiteY119" fmla="*/ 314749 h 897080"/>
              <a:gd name="connsiteX120" fmla="*/ 83614 w 900424"/>
              <a:gd name="connsiteY120" fmla="*/ 322070 h 897080"/>
              <a:gd name="connsiteX121" fmla="*/ 60335 w 900424"/>
              <a:gd name="connsiteY121" fmla="*/ 321065 h 897080"/>
              <a:gd name="connsiteX122" fmla="*/ 15793 w 900424"/>
              <a:gd name="connsiteY122" fmla="*/ 272501 h 897080"/>
              <a:gd name="connsiteX123" fmla="*/ 16799 w 900424"/>
              <a:gd name="connsiteY123" fmla="*/ 249222 h 897080"/>
              <a:gd name="connsiteX124" fmla="*/ 122114 w 900424"/>
              <a:gd name="connsiteY124" fmla="*/ 152628 h 897080"/>
              <a:gd name="connsiteX125" fmla="*/ 145393 w 900424"/>
              <a:gd name="connsiteY125" fmla="*/ 153633 h 897080"/>
              <a:gd name="connsiteX126" fmla="*/ 184830 w 900424"/>
              <a:gd name="connsiteY126" fmla="*/ 196630 h 897080"/>
              <a:gd name="connsiteX127" fmla="*/ 184830 w 900424"/>
              <a:gd name="connsiteY127" fmla="*/ 99625 h 897080"/>
              <a:gd name="connsiteX128" fmla="*/ 239864 w 900424"/>
              <a:gd name="connsiteY128" fmla="*/ 44590 h 897080"/>
              <a:gd name="connsiteX129" fmla="*/ 279115 w 900424"/>
              <a:gd name="connsiteY129" fmla="*/ 44590 h 897080"/>
              <a:gd name="connsiteX130" fmla="*/ 279115 w 900424"/>
              <a:gd name="connsiteY130" fmla="*/ 5557 h 897080"/>
              <a:gd name="connsiteX131" fmla="*/ 284672 w 900424"/>
              <a:gd name="connsiteY131" fmla="*/ 0 h 897080"/>
              <a:gd name="connsiteX132" fmla="*/ 69366 w 900424"/>
              <a:gd name="connsiteY132" fmla="*/ 71201 h 897080"/>
              <a:gd name="connsiteX133" fmla="*/ 69385 w 900424"/>
              <a:gd name="connsiteY133" fmla="*/ 71219 h 897080"/>
              <a:gd name="connsiteX134" fmla="*/ 0 w 900424"/>
              <a:gd name="connsiteY134" fmla="*/ 168855 h 897080"/>
              <a:gd name="connsiteX135" fmla="*/ 0 w 900424"/>
              <a:gd name="connsiteY135" fmla="*/ 168809 h 897080"/>
              <a:gd name="connsiteX136" fmla="*/ 69366 w 900424"/>
              <a:gd name="connsiteY136" fmla="*/ 71201 h 897080"/>
              <a:gd name="connsiteX0" fmla="*/ 260828 w 900424"/>
              <a:gd name="connsiteY0" fmla="*/ 738104 h 897080"/>
              <a:gd name="connsiteX1" fmla="*/ 260828 w 900424"/>
              <a:gd name="connsiteY1" fmla="*/ 767616 h 897080"/>
              <a:gd name="connsiteX2" fmla="*/ 752690 w 900424"/>
              <a:gd name="connsiteY2" fmla="*/ 767616 h 897080"/>
              <a:gd name="connsiteX3" fmla="*/ 752690 w 900424"/>
              <a:gd name="connsiteY3" fmla="*/ 738104 h 897080"/>
              <a:gd name="connsiteX4" fmla="*/ 260828 w 900424"/>
              <a:gd name="connsiteY4" fmla="*/ 738104 h 897080"/>
              <a:gd name="connsiteX5" fmla="*/ 523025 w 900424"/>
              <a:gd name="connsiteY5" fmla="*/ 662789 h 897080"/>
              <a:gd name="connsiteX6" fmla="*/ 529392 w 900424"/>
              <a:gd name="connsiteY6" fmla="*/ 692301 h 897080"/>
              <a:gd name="connsiteX7" fmla="*/ 752690 w 900424"/>
              <a:gd name="connsiteY7" fmla="*/ 692301 h 897080"/>
              <a:gd name="connsiteX8" fmla="*/ 752690 w 900424"/>
              <a:gd name="connsiteY8" fmla="*/ 662789 h 897080"/>
              <a:gd name="connsiteX9" fmla="*/ 523025 w 900424"/>
              <a:gd name="connsiteY9" fmla="*/ 662789 h 897080"/>
              <a:gd name="connsiteX10" fmla="*/ 260828 w 900424"/>
              <a:gd name="connsiteY10" fmla="*/ 662789 h 897080"/>
              <a:gd name="connsiteX11" fmla="*/ 260828 w 900424"/>
              <a:gd name="connsiteY11" fmla="*/ 692301 h 897080"/>
              <a:gd name="connsiteX12" fmla="*/ 520342 w 900424"/>
              <a:gd name="connsiteY12" fmla="*/ 692301 h 897080"/>
              <a:gd name="connsiteX13" fmla="*/ 427300 w 900424"/>
              <a:gd name="connsiteY13" fmla="*/ 662789 h 897080"/>
              <a:gd name="connsiteX14" fmla="*/ 260828 w 900424"/>
              <a:gd name="connsiteY14" fmla="*/ 662789 h 897080"/>
              <a:gd name="connsiteX15" fmla="*/ 506777 w 900424"/>
              <a:gd name="connsiteY15" fmla="*/ 587471 h 897080"/>
              <a:gd name="connsiteX16" fmla="*/ 513144 w 900424"/>
              <a:gd name="connsiteY16" fmla="*/ 616983 h 897080"/>
              <a:gd name="connsiteX17" fmla="*/ 752690 w 900424"/>
              <a:gd name="connsiteY17" fmla="*/ 616983 h 897080"/>
              <a:gd name="connsiteX18" fmla="*/ 752690 w 900424"/>
              <a:gd name="connsiteY18" fmla="*/ 587471 h 897080"/>
              <a:gd name="connsiteX19" fmla="*/ 506777 w 900424"/>
              <a:gd name="connsiteY19" fmla="*/ 587471 h 897080"/>
              <a:gd name="connsiteX20" fmla="*/ 260828 w 900424"/>
              <a:gd name="connsiteY20" fmla="*/ 587471 h 897080"/>
              <a:gd name="connsiteX21" fmla="*/ 260828 w 900424"/>
              <a:gd name="connsiteY21" fmla="*/ 616983 h 897080"/>
              <a:gd name="connsiteX22" fmla="*/ 334546 w 900424"/>
              <a:gd name="connsiteY22" fmla="*/ 616983 h 897080"/>
              <a:gd name="connsiteX23" fmla="*/ 307478 w 900424"/>
              <a:gd name="connsiteY23" fmla="*/ 587471 h 897080"/>
              <a:gd name="connsiteX24" fmla="*/ 260828 w 900424"/>
              <a:gd name="connsiteY24" fmla="*/ 587471 h 897080"/>
              <a:gd name="connsiteX25" fmla="*/ 467940 w 900424"/>
              <a:gd name="connsiteY25" fmla="*/ 544863 h 897080"/>
              <a:gd name="connsiteX26" fmla="*/ 385032 w 900424"/>
              <a:gd name="connsiteY26" fmla="*/ 620125 h 897080"/>
              <a:gd name="connsiteX27" fmla="*/ 506739 w 900424"/>
              <a:gd name="connsiteY27" fmla="*/ 670589 h 897080"/>
              <a:gd name="connsiteX28" fmla="*/ 467940 w 900424"/>
              <a:gd name="connsiteY28" fmla="*/ 544863 h 897080"/>
              <a:gd name="connsiteX29" fmla="*/ 260828 w 900424"/>
              <a:gd name="connsiteY29" fmla="*/ 536610 h 897080"/>
              <a:gd name="connsiteX30" fmla="*/ 260828 w 900424"/>
              <a:gd name="connsiteY30" fmla="*/ 541666 h 897080"/>
              <a:gd name="connsiteX31" fmla="*/ 265465 w 900424"/>
              <a:gd name="connsiteY31" fmla="*/ 541666 h 897080"/>
              <a:gd name="connsiteX32" fmla="*/ 260828 w 900424"/>
              <a:gd name="connsiteY32" fmla="*/ 536610 h 897080"/>
              <a:gd name="connsiteX33" fmla="*/ 477023 w 900424"/>
              <a:gd name="connsiteY33" fmla="*/ 512155 h 897080"/>
              <a:gd name="connsiteX34" fmla="*/ 477810 w 900424"/>
              <a:gd name="connsiteY34" fmla="*/ 513012 h 897080"/>
              <a:gd name="connsiteX35" fmla="*/ 481962 w 900424"/>
              <a:gd name="connsiteY35" fmla="*/ 541666 h 897080"/>
              <a:gd name="connsiteX36" fmla="*/ 752690 w 900424"/>
              <a:gd name="connsiteY36" fmla="*/ 541666 h 897080"/>
              <a:gd name="connsiteX37" fmla="*/ 752690 w 900424"/>
              <a:gd name="connsiteY37" fmla="*/ 512155 h 897080"/>
              <a:gd name="connsiteX38" fmla="*/ 477023 w 900424"/>
              <a:gd name="connsiteY38" fmla="*/ 512155 h 897080"/>
              <a:gd name="connsiteX39" fmla="*/ 407941 w 900424"/>
              <a:gd name="connsiteY39" fmla="*/ 436837 h 897080"/>
              <a:gd name="connsiteX40" fmla="*/ 435010 w 900424"/>
              <a:gd name="connsiteY40" fmla="*/ 466349 h 897080"/>
              <a:gd name="connsiteX41" fmla="*/ 752690 w 900424"/>
              <a:gd name="connsiteY41" fmla="*/ 466349 h 897080"/>
              <a:gd name="connsiteX42" fmla="*/ 752690 w 900424"/>
              <a:gd name="connsiteY42" fmla="*/ 436837 h 897080"/>
              <a:gd name="connsiteX43" fmla="*/ 407941 w 900424"/>
              <a:gd name="connsiteY43" fmla="*/ 436837 h 897080"/>
              <a:gd name="connsiteX44" fmla="*/ 338860 w 900424"/>
              <a:gd name="connsiteY44" fmla="*/ 361519 h 897080"/>
              <a:gd name="connsiteX45" fmla="*/ 365929 w 900424"/>
              <a:gd name="connsiteY45" fmla="*/ 391031 h 897080"/>
              <a:gd name="connsiteX46" fmla="*/ 752690 w 900424"/>
              <a:gd name="connsiteY46" fmla="*/ 391031 h 897080"/>
              <a:gd name="connsiteX47" fmla="*/ 752690 w 900424"/>
              <a:gd name="connsiteY47" fmla="*/ 361519 h 897080"/>
              <a:gd name="connsiteX48" fmla="*/ 338860 w 900424"/>
              <a:gd name="connsiteY48" fmla="*/ 361519 h 897080"/>
              <a:gd name="connsiteX49" fmla="*/ 208773 w 900424"/>
              <a:gd name="connsiteY49" fmla="*/ 261390 h 897080"/>
              <a:gd name="connsiteX50" fmla="*/ 191984 w 900424"/>
              <a:gd name="connsiteY50" fmla="*/ 266028 h 897080"/>
              <a:gd name="connsiteX51" fmla="*/ 127335 w 900424"/>
              <a:gd name="connsiteY51" fmla="*/ 325324 h 897080"/>
              <a:gd name="connsiteX52" fmla="*/ 129474 w 900424"/>
              <a:gd name="connsiteY52" fmla="*/ 360103 h 897080"/>
              <a:gd name="connsiteX53" fmla="*/ 350534 w 900424"/>
              <a:gd name="connsiteY53" fmla="*/ 601119 h 897080"/>
              <a:gd name="connsiteX54" fmla="*/ 384998 w 900424"/>
              <a:gd name="connsiteY54" fmla="*/ 606249 h 897080"/>
              <a:gd name="connsiteX55" fmla="*/ 449647 w 900424"/>
              <a:gd name="connsiteY55" fmla="*/ 546953 h 897080"/>
              <a:gd name="connsiteX56" fmla="*/ 447509 w 900424"/>
              <a:gd name="connsiteY56" fmla="*/ 512175 h 897080"/>
              <a:gd name="connsiteX57" fmla="*/ 226448 w 900424"/>
              <a:gd name="connsiteY57" fmla="*/ 271158 h 897080"/>
              <a:gd name="connsiteX58" fmla="*/ 208773 w 900424"/>
              <a:gd name="connsiteY58" fmla="*/ 261390 h 897080"/>
              <a:gd name="connsiteX59" fmla="*/ 260828 w 900424"/>
              <a:gd name="connsiteY59" fmla="*/ 243676 h 897080"/>
              <a:gd name="connsiteX60" fmla="*/ 260828 w 900424"/>
              <a:gd name="connsiteY60" fmla="*/ 276442 h 897080"/>
              <a:gd name="connsiteX61" fmla="*/ 266867 w 900424"/>
              <a:gd name="connsiteY61" fmla="*/ 283025 h 897080"/>
              <a:gd name="connsiteX62" fmla="*/ 555945 w 900424"/>
              <a:gd name="connsiteY62" fmla="*/ 283025 h 897080"/>
              <a:gd name="connsiteX63" fmla="*/ 555945 w 900424"/>
              <a:gd name="connsiteY63" fmla="*/ 243676 h 897080"/>
              <a:gd name="connsiteX64" fmla="*/ 260828 w 900424"/>
              <a:gd name="connsiteY64" fmla="*/ 243676 h 897080"/>
              <a:gd name="connsiteX65" fmla="*/ 593007 w 900424"/>
              <a:gd name="connsiteY65" fmla="*/ 92545 h 897080"/>
              <a:gd name="connsiteX66" fmla="*/ 593004 w 900424"/>
              <a:gd name="connsiteY66" fmla="*/ 246254 h 897080"/>
              <a:gd name="connsiteX67" fmla="*/ 636152 w 900424"/>
              <a:gd name="connsiteY67" fmla="*/ 294792 h 897080"/>
              <a:gd name="connsiteX68" fmla="*/ 797949 w 900424"/>
              <a:gd name="connsiteY68" fmla="*/ 297488 h 897080"/>
              <a:gd name="connsiteX69" fmla="*/ 593007 w 900424"/>
              <a:gd name="connsiteY69" fmla="*/ 92545 h 897080"/>
              <a:gd name="connsiteX70" fmla="*/ 655342 w 900424"/>
              <a:gd name="connsiteY70" fmla="*/ 72904 h 897080"/>
              <a:gd name="connsiteX71" fmla="*/ 721150 w 900424"/>
              <a:gd name="connsiteY71" fmla="*/ 72904 h 897080"/>
              <a:gd name="connsiteX72" fmla="*/ 900424 w 900424"/>
              <a:gd name="connsiteY72" fmla="*/ 254516 h 897080"/>
              <a:gd name="connsiteX73" fmla="*/ 900424 w 900424"/>
              <a:gd name="connsiteY73" fmla="*/ 826972 h 897080"/>
              <a:gd name="connsiteX74" fmla="*/ 852052 w 900424"/>
              <a:gd name="connsiteY74" fmla="*/ 879012 h 897080"/>
              <a:gd name="connsiteX75" fmla="*/ 828360 w 900424"/>
              <a:gd name="connsiteY75" fmla="*/ 879012 h 897080"/>
              <a:gd name="connsiteX76" fmla="*/ 849187 w 900424"/>
              <a:gd name="connsiteY76" fmla="*/ 836923 h 897080"/>
              <a:gd name="connsiteX77" fmla="*/ 849187 w 900424"/>
              <a:gd name="connsiteY77" fmla="*/ 266749 h 897080"/>
              <a:gd name="connsiteX78" fmla="*/ 655342 w 900424"/>
              <a:gd name="connsiteY78" fmla="*/ 72904 h 897080"/>
              <a:gd name="connsiteX79" fmla="*/ 284672 w 900424"/>
              <a:gd name="connsiteY79" fmla="*/ 0 h 897080"/>
              <a:gd name="connsiteX80" fmla="*/ 306902 w 900424"/>
              <a:gd name="connsiteY80" fmla="*/ 0 h 897080"/>
              <a:gd name="connsiteX81" fmla="*/ 312459 w 900424"/>
              <a:gd name="connsiteY81" fmla="*/ 5557 h 897080"/>
              <a:gd name="connsiteX82" fmla="*/ 312459 w 900424"/>
              <a:gd name="connsiteY82" fmla="*/ 44590 h 897080"/>
              <a:gd name="connsiteX83" fmla="*/ 341829 w 900424"/>
              <a:gd name="connsiteY83" fmla="*/ 44590 h 897080"/>
              <a:gd name="connsiteX84" fmla="*/ 341829 w 900424"/>
              <a:gd name="connsiteY84" fmla="*/ 5557 h 897080"/>
              <a:gd name="connsiteX85" fmla="*/ 347386 w 900424"/>
              <a:gd name="connsiteY85" fmla="*/ 0 h 897080"/>
              <a:gd name="connsiteX86" fmla="*/ 369616 w 900424"/>
              <a:gd name="connsiteY86" fmla="*/ 0 h 897080"/>
              <a:gd name="connsiteX87" fmla="*/ 375173 w 900424"/>
              <a:gd name="connsiteY87" fmla="*/ 5557 h 897080"/>
              <a:gd name="connsiteX88" fmla="*/ 375173 w 900424"/>
              <a:gd name="connsiteY88" fmla="*/ 44590 h 897080"/>
              <a:gd name="connsiteX89" fmla="*/ 404543 w 900424"/>
              <a:gd name="connsiteY89" fmla="*/ 44590 h 897080"/>
              <a:gd name="connsiteX90" fmla="*/ 404543 w 900424"/>
              <a:gd name="connsiteY90" fmla="*/ 5557 h 897080"/>
              <a:gd name="connsiteX91" fmla="*/ 410100 w 900424"/>
              <a:gd name="connsiteY91" fmla="*/ 0 h 897080"/>
              <a:gd name="connsiteX92" fmla="*/ 432330 w 900424"/>
              <a:gd name="connsiteY92" fmla="*/ 0 h 897080"/>
              <a:gd name="connsiteX93" fmla="*/ 437887 w 900424"/>
              <a:gd name="connsiteY93" fmla="*/ 5557 h 897080"/>
              <a:gd name="connsiteX94" fmla="*/ 437887 w 900424"/>
              <a:gd name="connsiteY94" fmla="*/ 44590 h 897080"/>
              <a:gd name="connsiteX95" fmla="*/ 467255 w 900424"/>
              <a:gd name="connsiteY95" fmla="*/ 44590 h 897080"/>
              <a:gd name="connsiteX96" fmla="*/ 467255 w 900424"/>
              <a:gd name="connsiteY96" fmla="*/ 5557 h 897080"/>
              <a:gd name="connsiteX97" fmla="*/ 472813 w 900424"/>
              <a:gd name="connsiteY97" fmla="*/ 0 h 897080"/>
              <a:gd name="connsiteX98" fmla="*/ 495042 w 900424"/>
              <a:gd name="connsiteY98" fmla="*/ 0 h 897080"/>
              <a:gd name="connsiteX99" fmla="*/ 500600 w 900424"/>
              <a:gd name="connsiteY99" fmla="*/ 5557 h 897080"/>
              <a:gd name="connsiteX100" fmla="*/ 500600 w 900424"/>
              <a:gd name="connsiteY100" fmla="*/ 44590 h 897080"/>
              <a:gd name="connsiteX101" fmla="*/ 606532 w 900424"/>
              <a:gd name="connsiteY101" fmla="*/ 44590 h 897080"/>
              <a:gd name="connsiteX102" fmla="*/ 833814 w 900424"/>
              <a:gd name="connsiteY102" fmla="*/ 271872 h 897080"/>
              <a:gd name="connsiteX103" fmla="*/ 833814 w 900424"/>
              <a:gd name="connsiteY103" fmla="*/ 842046 h 897080"/>
              <a:gd name="connsiteX104" fmla="*/ 778780 w 900424"/>
              <a:gd name="connsiteY104" fmla="*/ 897080 h 897080"/>
              <a:gd name="connsiteX105" fmla="*/ 239864 w 900424"/>
              <a:gd name="connsiteY105" fmla="*/ 897080 h 897080"/>
              <a:gd name="connsiteX106" fmla="*/ 184830 w 900424"/>
              <a:gd name="connsiteY106" fmla="*/ 842046 h 897080"/>
              <a:gd name="connsiteX107" fmla="*/ 184830 w 900424"/>
              <a:gd name="connsiteY107" fmla="*/ 453750 h 897080"/>
              <a:gd name="connsiteX108" fmla="*/ 108913 w 900424"/>
              <a:gd name="connsiteY108" fmla="*/ 370979 h 897080"/>
              <a:gd name="connsiteX109" fmla="*/ 110701 w 900424"/>
              <a:gd name="connsiteY109" fmla="*/ 329567 h 897080"/>
              <a:gd name="connsiteX110" fmla="*/ 184830 w 900424"/>
              <a:gd name="connsiteY110" fmla="*/ 261577 h 897080"/>
              <a:gd name="connsiteX111" fmla="*/ 184830 w 900424"/>
              <a:gd name="connsiteY111" fmla="*/ 229235 h 897080"/>
              <a:gd name="connsiteX112" fmla="*/ 182259 w 900424"/>
              <a:gd name="connsiteY112" fmla="*/ 231595 h 897080"/>
              <a:gd name="connsiteX113" fmla="*/ 181841 w 900424"/>
              <a:gd name="connsiteY113" fmla="*/ 224803 h 897080"/>
              <a:gd name="connsiteX114" fmla="*/ 140694 w 900424"/>
              <a:gd name="connsiteY114" fmla="*/ 179942 h 897080"/>
              <a:gd name="connsiteX115" fmla="*/ 121321 w 900424"/>
              <a:gd name="connsiteY115" fmla="*/ 177057 h 897080"/>
              <a:gd name="connsiteX116" fmla="*/ 42515 w 900424"/>
              <a:gd name="connsiteY116" fmla="*/ 249335 h 897080"/>
              <a:gd name="connsiteX117" fmla="*/ 43718 w 900424"/>
              <a:gd name="connsiteY117" fmla="*/ 268885 h 897080"/>
              <a:gd name="connsiteX118" fmla="*/ 84866 w 900424"/>
              <a:gd name="connsiteY118" fmla="*/ 313747 h 897080"/>
              <a:gd name="connsiteX119" fmla="*/ 91596 w 900424"/>
              <a:gd name="connsiteY119" fmla="*/ 314749 h 897080"/>
              <a:gd name="connsiteX120" fmla="*/ 83614 w 900424"/>
              <a:gd name="connsiteY120" fmla="*/ 322070 h 897080"/>
              <a:gd name="connsiteX121" fmla="*/ 60335 w 900424"/>
              <a:gd name="connsiteY121" fmla="*/ 321065 h 897080"/>
              <a:gd name="connsiteX122" fmla="*/ 15793 w 900424"/>
              <a:gd name="connsiteY122" fmla="*/ 272501 h 897080"/>
              <a:gd name="connsiteX123" fmla="*/ 16799 w 900424"/>
              <a:gd name="connsiteY123" fmla="*/ 249222 h 897080"/>
              <a:gd name="connsiteX124" fmla="*/ 122114 w 900424"/>
              <a:gd name="connsiteY124" fmla="*/ 152628 h 897080"/>
              <a:gd name="connsiteX125" fmla="*/ 145393 w 900424"/>
              <a:gd name="connsiteY125" fmla="*/ 153633 h 897080"/>
              <a:gd name="connsiteX126" fmla="*/ 184830 w 900424"/>
              <a:gd name="connsiteY126" fmla="*/ 196630 h 897080"/>
              <a:gd name="connsiteX127" fmla="*/ 184830 w 900424"/>
              <a:gd name="connsiteY127" fmla="*/ 99625 h 897080"/>
              <a:gd name="connsiteX128" fmla="*/ 239864 w 900424"/>
              <a:gd name="connsiteY128" fmla="*/ 44590 h 897080"/>
              <a:gd name="connsiteX129" fmla="*/ 279115 w 900424"/>
              <a:gd name="connsiteY129" fmla="*/ 44590 h 897080"/>
              <a:gd name="connsiteX130" fmla="*/ 279115 w 900424"/>
              <a:gd name="connsiteY130" fmla="*/ 5557 h 897080"/>
              <a:gd name="connsiteX131" fmla="*/ 284672 w 900424"/>
              <a:gd name="connsiteY131" fmla="*/ 0 h 897080"/>
              <a:gd name="connsiteX132" fmla="*/ 0 w 900424"/>
              <a:gd name="connsiteY132" fmla="*/ 168809 h 897080"/>
              <a:gd name="connsiteX133" fmla="*/ 69385 w 900424"/>
              <a:gd name="connsiteY133" fmla="*/ 71219 h 897080"/>
              <a:gd name="connsiteX134" fmla="*/ 0 w 900424"/>
              <a:gd name="connsiteY134" fmla="*/ 168855 h 897080"/>
              <a:gd name="connsiteX135" fmla="*/ 0 w 900424"/>
              <a:gd name="connsiteY135" fmla="*/ 168809 h 897080"/>
              <a:gd name="connsiteX0" fmla="*/ 260828 w 900424"/>
              <a:gd name="connsiteY0" fmla="*/ 738104 h 897080"/>
              <a:gd name="connsiteX1" fmla="*/ 260828 w 900424"/>
              <a:gd name="connsiteY1" fmla="*/ 767616 h 897080"/>
              <a:gd name="connsiteX2" fmla="*/ 752690 w 900424"/>
              <a:gd name="connsiteY2" fmla="*/ 767616 h 897080"/>
              <a:gd name="connsiteX3" fmla="*/ 752690 w 900424"/>
              <a:gd name="connsiteY3" fmla="*/ 738104 h 897080"/>
              <a:gd name="connsiteX4" fmla="*/ 260828 w 900424"/>
              <a:gd name="connsiteY4" fmla="*/ 738104 h 897080"/>
              <a:gd name="connsiteX5" fmla="*/ 523025 w 900424"/>
              <a:gd name="connsiteY5" fmla="*/ 662789 h 897080"/>
              <a:gd name="connsiteX6" fmla="*/ 529392 w 900424"/>
              <a:gd name="connsiteY6" fmla="*/ 692301 h 897080"/>
              <a:gd name="connsiteX7" fmla="*/ 752690 w 900424"/>
              <a:gd name="connsiteY7" fmla="*/ 692301 h 897080"/>
              <a:gd name="connsiteX8" fmla="*/ 752690 w 900424"/>
              <a:gd name="connsiteY8" fmla="*/ 662789 h 897080"/>
              <a:gd name="connsiteX9" fmla="*/ 523025 w 900424"/>
              <a:gd name="connsiteY9" fmla="*/ 662789 h 897080"/>
              <a:gd name="connsiteX10" fmla="*/ 260828 w 900424"/>
              <a:gd name="connsiteY10" fmla="*/ 662789 h 897080"/>
              <a:gd name="connsiteX11" fmla="*/ 260828 w 900424"/>
              <a:gd name="connsiteY11" fmla="*/ 692301 h 897080"/>
              <a:gd name="connsiteX12" fmla="*/ 520342 w 900424"/>
              <a:gd name="connsiteY12" fmla="*/ 692301 h 897080"/>
              <a:gd name="connsiteX13" fmla="*/ 427300 w 900424"/>
              <a:gd name="connsiteY13" fmla="*/ 662789 h 897080"/>
              <a:gd name="connsiteX14" fmla="*/ 260828 w 900424"/>
              <a:gd name="connsiteY14" fmla="*/ 662789 h 897080"/>
              <a:gd name="connsiteX15" fmla="*/ 506777 w 900424"/>
              <a:gd name="connsiteY15" fmla="*/ 587471 h 897080"/>
              <a:gd name="connsiteX16" fmla="*/ 513144 w 900424"/>
              <a:gd name="connsiteY16" fmla="*/ 616983 h 897080"/>
              <a:gd name="connsiteX17" fmla="*/ 752690 w 900424"/>
              <a:gd name="connsiteY17" fmla="*/ 616983 h 897080"/>
              <a:gd name="connsiteX18" fmla="*/ 752690 w 900424"/>
              <a:gd name="connsiteY18" fmla="*/ 587471 h 897080"/>
              <a:gd name="connsiteX19" fmla="*/ 506777 w 900424"/>
              <a:gd name="connsiteY19" fmla="*/ 587471 h 897080"/>
              <a:gd name="connsiteX20" fmla="*/ 260828 w 900424"/>
              <a:gd name="connsiteY20" fmla="*/ 587471 h 897080"/>
              <a:gd name="connsiteX21" fmla="*/ 260828 w 900424"/>
              <a:gd name="connsiteY21" fmla="*/ 616983 h 897080"/>
              <a:gd name="connsiteX22" fmla="*/ 334546 w 900424"/>
              <a:gd name="connsiteY22" fmla="*/ 616983 h 897080"/>
              <a:gd name="connsiteX23" fmla="*/ 307478 w 900424"/>
              <a:gd name="connsiteY23" fmla="*/ 587471 h 897080"/>
              <a:gd name="connsiteX24" fmla="*/ 260828 w 900424"/>
              <a:gd name="connsiteY24" fmla="*/ 587471 h 897080"/>
              <a:gd name="connsiteX25" fmla="*/ 467940 w 900424"/>
              <a:gd name="connsiteY25" fmla="*/ 544863 h 897080"/>
              <a:gd name="connsiteX26" fmla="*/ 385032 w 900424"/>
              <a:gd name="connsiteY26" fmla="*/ 620125 h 897080"/>
              <a:gd name="connsiteX27" fmla="*/ 506739 w 900424"/>
              <a:gd name="connsiteY27" fmla="*/ 670589 h 897080"/>
              <a:gd name="connsiteX28" fmla="*/ 467940 w 900424"/>
              <a:gd name="connsiteY28" fmla="*/ 544863 h 897080"/>
              <a:gd name="connsiteX29" fmla="*/ 260828 w 900424"/>
              <a:gd name="connsiteY29" fmla="*/ 536610 h 897080"/>
              <a:gd name="connsiteX30" fmla="*/ 260828 w 900424"/>
              <a:gd name="connsiteY30" fmla="*/ 541666 h 897080"/>
              <a:gd name="connsiteX31" fmla="*/ 265465 w 900424"/>
              <a:gd name="connsiteY31" fmla="*/ 541666 h 897080"/>
              <a:gd name="connsiteX32" fmla="*/ 260828 w 900424"/>
              <a:gd name="connsiteY32" fmla="*/ 536610 h 897080"/>
              <a:gd name="connsiteX33" fmla="*/ 477023 w 900424"/>
              <a:gd name="connsiteY33" fmla="*/ 512155 h 897080"/>
              <a:gd name="connsiteX34" fmla="*/ 477810 w 900424"/>
              <a:gd name="connsiteY34" fmla="*/ 513012 h 897080"/>
              <a:gd name="connsiteX35" fmla="*/ 481962 w 900424"/>
              <a:gd name="connsiteY35" fmla="*/ 541666 h 897080"/>
              <a:gd name="connsiteX36" fmla="*/ 752690 w 900424"/>
              <a:gd name="connsiteY36" fmla="*/ 541666 h 897080"/>
              <a:gd name="connsiteX37" fmla="*/ 752690 w 900424"/>
              <a:gd name="connsiteY37" fmla="*/ 512155 h 897080"/>
              <a:gd name="connsiteX38" fmla="*/ 477023 w 900424"/>
              <a:gd name="connsiteY38" fmla="*/ 512155 h 897080"/>
              <a:gd name="connsiteX39" fmla="*/ 407941 w 900424"/>
              <a:gd name="connsiteY39" fmla="*/ 436837 h 897080"/>
              <a:gd name="connsiteX40" fmla="*/ 435010 w 900424"/>
              <a:gd name="connsiteY40" fmla="*/ 466349 h 897080"/>
              <a:gd name="connsiteX41" fmla="*/ 752690 w 900424"/>
              <a:gd name="connsiteY41" fmla="*/ 466349 h 897080"/>
              <a:gd name="connsiteX42" fmla="*/ 752690 w 900424"/>
              <a:gd name="connsiteY42" fmla="*/ 436837 h 897080"/>
              <a:gd name="connsiteX43" fmla="*/ 407941 w 900424"/>
              <a:gd name="connsiteY43" fmla="*/ 436837 h 897080"/>
              <a:gd name="connsiteX44" fmla="*/ 338860 w 900424"/>
              <a:gd name="connsiteY44" fmla="*/ 361519 h 897080"/>
              <a:gd name="connsiteX45" fmla="*/ 365929 w 900424"/>
              <a:gd name="connsiteY45" fmla="*/ 391031 h 897080"/>
              <a:gd name="connsiteX46" fmla="*/ 752690 w 900424"/>
              <a:gd name="connsiteY46" fmla="*/ 391031 h 897080"/>
              <a:gd name="connsiteX47" fmla="*/ 752690 w 900424"/>
              <a:gd name="connsiteY47" fmla="*/ 361519 h 897080"/>
              <a:gd name="connsiteX48" fmla="*/ 338860 w 900424"/>
              <a:gd name="connsiteY48" fmla="*/ 361519 h 897080"/>
              <a:gd name="connsiteX49" fmla="*/ 208773 w 900424"/>
              <a:gd name="connsiteY49" fmla="*/ 261390 h 897080"/>
              <a:gd name="connsiteX50" fmla="*/ 191984 w 900424"/>
              <a:gd name="connsiteY50" fmla="*/ 266028 h 897080"/>
              <a:gd name="connsiteX51" fmla="*/ 127335 w 900424"/>
              <a:gd name="connsiteY51" fmla="*/ 325324 h 897080"/>
              <a:gd name="connsiteX52" fmla="*/ 129474 w 900424"/>
              <a:gd name="connsiteY52" fmla="*/ 360103 h 897080"/>
              <a:gd name="connsiteX53" fmla="*/ 350534 w 900424"/>
              <a:gd name="connsiteY53" fmla="*/ 601119 h 897080"/>
              <a:gd name="connsiteX54" fmla="*/ 384998 w 900424"/>
              <a:gd name="connsiteY54" fmla="*/ 606249 h 897080"/>
              <a:gd name="connsiteX55" fmla="*/ 449647 w 900424"/>
              <a:gd name="connsiteY55" fmla="*/ 546953 h 897080"/>
              <a:gd name="connsiteX56" fmla="*/ 447509 w 900424"/>
              <a:gd name="connsiteY56" fmla="*/ 512175 h 897080"/>
              <a:gd name="connsiteX57" fmla="*/ 226448 w 900424"/>
              <a:gd name="connsiteY57" fmla="*/ 271158 h 897080"/>
              <a:gd name="connsiteX58" fmla="*/ 208773 w 900424"/>
              <a:gd name="connsiteY58" fmla="*/ 261390 h 897080"/>
              <a:gd name="connsiteX59" fmla="*/ 260828 w 900424"/>
              <a:gd name="connsiteY59" fmla="*/ 243676 h 897080"/>
              <a:gd name="connsiteX60" fmla="*/ 260828 w 900424"/>
              <a:gd name="connsiteY60" fmla="*/ 276442 h 897080"/>
              <a:gd name="connsiteX61" fmla="*/ 266867 w 900424"/>
              <a:gd name="connsiteY61" fmla="*/ 283025 h 897080"/>
              <a:gd name="connsiteX62" fmla="*/ 555945 w 900424"/>
              <a:gd name="connsiteY62" fmla="*/ 283025 h 897080"/>
              <a:gd name="connsiteX63" fmla="*/ 555945 w 900424"/>
              <a:gd name="connsiteY63" fmla="*/ 243676 h 897080"/>
              <a:gd name="connsiteX64" fmla="*/ 260828 w 900424"/>
              <a:gd name="connsiteY64" fmla="*/ 243676 h 897080"/>
              <a:gd name="connsiteX65" fmla="*/ 593007 w 900424"/>
              <a:gd name="connsiteY65" fmla="*/ 92545 h 897080"/>
              <a:gd name="connsiteX66" fmla="*/ 593004 w 900424"/>
              <a:gd name="connsiteY66" fmla="*/ 246254 h 897080"/>
              <a:gd name="connsiteX67" fmla="*/ 636152 w 900424"/>
              <a:gd name="connsiteY67" fmla="*/ 294792 h 897080"/>
              <a:gd name="connsiteX68" fmla="*/ 797949 w 900424"/>
              <a:gd name="connsiteY68" fmla="*/ 297488 h 897080"/>
              <a:gd name="connsiteX69" fmla="*/ 593007 w 900424"/>
              <a:gd name="connsiteY69" fmla="*/ 92545 h 897080"/>
              <a:gd name="connsiteX70" fmla="*/ 655342 w 900424"/>
              <a:gd name="connsiteY70" fmla="*/ 72904 h 897080"/>
              <a:gd name="connsiteX71" fmla="*/ 721150 w 900424"/>
              <a:gd name="connsiteY71" fmla="*/ 72904 h 897080"/>
              <a:gd name="connsiteX72" fmla="*/ 900424 w 900424"/>
              <a:gd name="connsiteY72" fmla="*/ 254516 h 897080"/>
              <a:gd name="connsiteX73" fmla="*/ 900424 w 900424"/>
              <a:gd name="connsiteY73" fmla="*/ 826972 h 897080"/>
              <a:gd name="connsiteX74" fmla="*/ 852052 w 900424"/>
              <a:gd name="connsiteY74" fmla="*/ 879012 h 897080"/>
              <a:gd name="connsiteX75" fmla="*/ 828360 w 900424"/>
              <a:gd name="connsiteY75" fmla="*/ 879012 h 897080"/>
              <a:gd name="connsiteX76" fmla="*/ 849187 w 900424"/>
              <a:gd name="connsiteY76" fmla="*/ 836923 h 897080"/>
              <a:gd name="connsiteX77" fmla="*/ 849187 w 900424"/>
              <a:gd name="connsiteY77" fmla="*/ 266749 h 897080"/>
              <a:gd name="connsiteX78" fmla="*/ 655342 w 900424"/>
              <a:gd name="connsiteY78" fmla="*/ 72904 h 897080"/>
              <a:gd name="connsiteX79" fmla="*/ 284672 w 900424"/>
              <a:gd name="connsiteY79" fmla="*/ 0 h 897080"/>
              <a:gd name="connsiteX80" fmla="*/ 306902 w 900424"/>
              <a:gd name="connsiteY80" fmla="*/ 0 h 897080"/>
              <a:gd name="connsiteX81" fmla="*/ 312459 w 900424"/>
              <a:gd name="connsiteY81" fmla="*/ 5557 h 897080"/>
              <a:gd name="connsiteX82" fmla="*/ 312459 w 900424"/>
              <a:gd name="connsiteY82" fmla="*/ 44590 h 897080"/>
              <a:gd name="connsiteX83" fmla="*/ 341829 w 900424"/>
              <a:gd name="connsiteY83" fmla="*/ 44590 h 897080"/>
              <a:gd name="connsiteX84" fmla="*/ 341829 w 900424"/>
              <a:gd name="connsiteY84" fmla="*/ 5557 h 897080"/>
              <a:gd name="connsiteX85" fmla="*/ 347386 w 900424"/>
              <a:gd name="connsiteY85" fmla="*/ 0 h 897080"/>
              <a:gd name="connsiteX86" fmla="*/ 369616 w 900424"/>
              <a:gd name="connsiteY86" fmla="*/ 0 h 897080"/>
              <a:gd name="connsiteX87" fmla="*/ 375173 w 900424"/>
              <a:gd name="connsiteY87" fmla="*/ 5557 h 897080"/>
              <a:gd name="connsiteX88" fmla="*/ 375173 w 900424"/>
              <a:gd name="connsiteY88" fmla="*/ 44590 h 897080"/>
              <a:gd name="connsiteX89" fmla="*/ 404543 w 900424"/>
              <a:gd name="connsiteY89" fmla="*/ 44590 h 897080"/>
              <a:gd name="connsiteX90" fmla="*/ 404543 w 900424"/>
              <a:gd name="connsiteY90" fmla="*/ 5557 h 897080"/>
              <a:gd name="connsiteX91" fmla="*/ 410100 w 900424"/>
              <a:gd name="connsiteY91" fmla="*/ 0 h 897080"/>
              <a:gd name="connsiteX92" fmla="*/ 432330 w 900424"/>
              <a:gd name="connsiteY92" fmla="*/ 0 h 897080"/>
              <a:gd name="connsiteX93" fmla="*/ 437887 w 900424"/>
              <a:gd name="connsiteY93" fmla="*/ 5557 h 897080"/>
              <a:gd name="connsiteX94" fmla="*/ 437887 w 900424"/>
              <a:gd name="connsiteY94" fmla="*/ 44590 h 897080"/>
              <a:gd name="connsiteX95" fmla="*/ 467255 w 900424"/>
              <a:gd name="connsiteY95" fmla="*/ 44590 h 897080"/>
              <a:gd name="connsiteX96" fmla="*/ 467255 w 900424"/>
              <a:gd name="connsiteY96" fmla="*/ 5557 h 897080"/>
              <a:gd name="connsiteX97" fmla="*/ 472813 w 900424"/>
              <a:gd name="connsiteY97" fmla="*/ 0 h 897080"/>
              <a:gd name="connsiteX98" fmla="*/ 495042 w 900424"/>
              <a:gd name="connsiteY98" fmla="*/ 0 h 897080"/>
              <a:gd name="connsiteX99" fmla="*/ 500600 w 900424"/>
              <a:gd name="connsiteY99" fmla="*/ 5557 h 897080"/>
              <a:gd name="connsiteX100" fmla="*/ 500600 w 900424"/>
              <a:gd name="connsiteY100" fmla="*/ 44590 h 897080"/>
              <a:gd name="connsiteX101" fmla="*/ 606532 w 900424"/>
              <a:gd name="connsiteY101" fmla="*/ 44590 h 897080"/>
              <a:gd name="connsiteX102" fmla="*/ 833814 w 900424"/>
              <a:gd name="connsiteY102" fmla="*/ 271872 h 897080"/>
              <a:gd name="connsiteX103" fmla="*/ 833814 w 900424"/>
              <a:gd name="connsiteY103" fmla="*/ 842046 h 897080"/>
              <a:gd name="connsiteX104" fmla="*/ 778780 w 900424"/>
              <a:gd name="connsiteY104" fmla="*/ 897080 h 897080"/>
              <a:gd name="connsiteX105" fmla="*/ 239864 w 900424"/>
              <a:gd name="connsiteY105" fmla="*/ 897080 h 897080"/>
              <a:gd name="connsiteX106" fmla="*/ 184830 w 900424"/>
              <a:gd name="connsiteY106" fmla="*/ 842046 h 897080"/>
              <a:gd name="connsiteX107" fmla="*/ 184830 w 900424"/>
              <a:gd name="connsiteY107" fmla="*/ 453750 h 897080"/>
              <a:gd name="connsiteX108" fmla="*/ 108913 w 900424"/>
              <a:gd name="connsiteY108" fmla="*/ 370979 h 897080"/>
              <a:gd name="connsiteX109" fmla="*/ 110701 w 900424"/>
              <a:gd name="connsiteY109" fmla="*/ 329567 h 897080"/>
              <a:gd name="connsiteX110" fmla="*/ 184830 w 900424"/>
              <a:gd name="connsiteY110" fmla="*/ 261577 h 897080"/>
              <a:gd name="connsiteX111" fmla="*/ 184830 w 900424"/>
              <a:gd name="connsiteY111" fmla="*/ 229235 h 897080"/>
              <a:gd name="connsiteX112" fmla="*/ 182259 w 900424"/>
              <a:gd name="connsiteY112" fmla="*/ 231595 h 897080"/>
              <a:gd name="connsiteX113" fmla="*/ 181841 w 900424"/>
              <a:gd name="connsiteY113" fmla="*/ 224803 h 897080"/>
              <a:gd name="connsiteX114" fmla="*/ 140694 w 900424"/>
              <a:gd name="connsiteY114" fmla="*/ 179942 h 897080"/>
              <a:gd name="connsiteX115" fmla="*/ 121321 w 900424"/>
              <a:gd name="connsiteY115" fmla="*/ 177057 h 897080"/>
              <a:gd name="connsiteX116" fmla="*/ 42515 w 900424"/>
              <a:gd name="connsiteY116" fmla="*/ 249335 h 897080"/>
              <a:gd name="connsiteX117" fmla="*/ 43718 w 900424"/>
              <a:gd name="connsiteY117" fmla="*/ 268885 h 897080"/>
              <a:gd name="connsiteX118" fmla="*/ 84866 w 900424"/>
              <a:gd name="connsiteY118" fmla="*/ 313747 h 897080"/>
              <a:gd name="connsiteX119" fmla="*/ 91596 w 900424"/>
              <a:gd name="connsiteY119" fmla="*/ 314749 h 897080"/>
              <a:gd name="connsiteX120" fmla="*/ 83614 w 900424"/>
              <a:gd name="connsiteY120" fmla="*/ 322070 h 897080"/>
              <a:gd name="connsiteX121" fmla="*/ 60335 w 900424"/>
              <a:gd name="connsiteY121" fmla="*/ 321065 h 897080"/>
              <a:gd name="connsiteX122" fmla="*/ 15793 w 900424"/>
              <a:gd name="connsiteY122" fmla="*/ 272501 h 897080"/>
              <a:gd name="connsiteX123" fmla="*/ 16799 w 900424"/>
              <a:gd name="connsiteY123" fmla="*/ 249222 h 897080"/>
              <a:gd name="connsiteX124" fmla="*/ 122114 w 900424"/>
              <a:gd name="connsiteY124" fmla="*/ 152628 h 897080"/>
              <a:gd name="connsiteX125" fmla="*/ 145393 w 900424"/>
              <a:gd name="connsiteY125" fmla="*/ 153633 h 897080"/>
              <a:gd name="connsiteX126" fmla="*/ 184830 w 900424"/>
              <a:gd name="connsiteY126" fmla="*/ 196630 h 897080"/>
              <a:gd name="connsiteX127" fmla="*/ 184830 w 900424"/>
              <a:gd name="connsiteY127" fmla="*/ 99625 h 897080"/>
              <a:gd name="connsiteX128" fmla="*/ 239864 w 900424"/>
              <a:gd name="connsiteY128" fmla="*/ 44590 h 897080"/>
              <a:gd name="connsiteX129" fmla="*/ 279115 w 900424"/>
              <a:gd name="connsiteY129" fmla="*/ 44590 h 897080"/>
              <a:gd name="connsiteX130" fmla="*/ 279115 w 900424"/>
              <a:gd name="connsiteY130" fmla="*/ 5557 h 897080"/>
              <a:gd name="connsiteX131" fmla="*/ 284672 w 900424"/>
              <a:gd name="connsiteY131" fmla="*/ 0 h 897080"/>
              <a:gd name="connsiteX132" fmla="*/ 0 w 900424"/>
              <a:gd name="connsiteY132" fmla="*/ 168855 h 897080"/>
              <a:gd name="connsiteX133" fmla="*/ 69385 w 900424"/>
              <a:gd name="connsiteY133" fmla="*/ 71219 h 897080"/>
              <a:gd name="connsiteX134" fmla="*/ 0 w 900424"/>
              <a:gd name="connsiteY134" fmla="*/ 168855 h 897080"/>
              <a:gd name="connsiteX0" fmla="*/ 249370 w 888966"/>
              <a:gd name="connsiteY0" fmla="*/ 738104 h 897080"/>
              <a:gd name="connsiteX1" fmla="*/ 249370 w 888966"/>
              <a:gd name="connsiteY1" fmla="*/ 767616 h 897080"/>
              <a:gd name="connsiteX2" fmla="*/ 741232 w 888966"/>
              <a:gd name="connsiteY2" fmla="*/ 767616 h 897080"/>
              <a:gd name="connsiteX3" fmla="*/ 741232 w 888966"/>
              <a:gd name="connsiteY3" fmla="*/ 738104 h 897080"/>
              <a:gd name="connsiteX4" fmla="*/ 249370 w 888966"/>
              <a:gd name="connsiteY4" fmla="*/ 738104 h 897080"/>
              <a:gd name="connsiteX5" fmla="*/ 511567 w 888966"/>
              <a:gd name="connsiteY5" fmla="*/ 662789 h 897080"/>
              <a:gd name="connsiteX6" fmla="*/ 517934 w 888966"/>
              <a:gd name="connsiteY6" fmla="*/ 692301 h 897080"/>
              <a:gd name="connsiteX7" fmla="*/ 741232 w 888966"/>
              <a:gd name="connsiteY7" fmla="*/ 692301 h 897080"/>
              <a:gd name="connsiteX8" fmla="*/ 741232 w 888966"/>
              <a:gd name="connsiteY8" fmla="*/ 662789 h 897080"/>
              <a:gd name="connsiteX9" fmla="*/ 511567 w 888966"/>
              <a:gd name="connsiteY9" fmla="*/ 662789 h 897080"/>
              <a:gd name="connsiteX10" fmla="*/ 249370 w 888966"/>
              <a:gd name="connsiteY10" fmla="*/ 662789 h 897080"/>
              <a:gd name="connsiteX11" fmla="*/ 249370 w 888966"/>
              <a:gd name="connsiteY11" fmla="*/ 692301 h 897080"/>
              <a:gd name="connsiteX12" fmla="*/ 508884 w 888966"/>
              <a:gd name="connsiteY12" fmla="*/ 692301 h 897080"/>
              <a:gd name="connsiteX13" fmla="*/ 415842 w 888966"/>
              <a:gd name="connsiteY13" fmla="*/ 662789 h 897080"/>
              <a:gd name="connsiteX14" fmla="*/ 249370 w 888966"/>
              <a:gd name="connsiteY14" fmla="*/ 662789 h 897080"/>
              <a:gd name="connsiteX15" fmla="*/ 495319 w 888966"/>
              <a:gd name="connsiteY15" fmla="*/ 587471 h 897080"/>
              <a:gd name="connsiteX16" fmla="*/ 501686 w 888966"/>
              <a:gd name="connsiteY16" fmla="*/ 616983 h 897080"/>
              <a:gd name="connsiteX17" fmla="*/ 741232 w 888966"/>
              <a:gd name="connsiteY17" fmla="*/ 616983 h 897080"/>
              <a:gd name="connsiteX18" fmla="*/ 741232 w 888966"/>
              <a:gd name="connsiteY18" fmla="*/ 587471 h 897080"/>
              <a:gd name="connsiteX19" fmla="*/ 495319 w 888966"/>
              <a:gd name="connsiteY19" fmla="*/ 587471 h 897080"/>
              <a:gd name="connsiteX20" fmla="*/ 249370 w 888966"/>
              <a:gd name="connsiteY20" fmla="*/ 587471 h 897080"/>
              <a:gd name="connsiteX21" fmla="*/ 249370 w 888966"/>
              <a:gd name="connsiteY21" fmla="*/ 616983 h 897080"/>
              <a:gd name="connsiteX22" fmla="*/ 323088 w 888966"/>
              <a:gd name="connsiteY22" fmla="*/ 616983 h 897080"/>
              <a:gd name="connsiteX23" fmla="*/ 296020 w 888966"/>
              <a:gd name="connsiteY23" fmla="*/ 587471 h 897080"/>
              <a:gd name="connsiteX24" fmla="*/ 249370 w 888966"/>
              <a:gd name="connsiteY24" fmla="*/ 587471 h 897080"/>
              <a:gd name="connsiteX25" fmla="*/ 456482 w 888966"/>
              <a:gd name="connsiteY25" fmla="*/ 544863 h 897080"/>
              <a:gd name="connsiteX26" fmla="*/ 373574 w 888966"/>
              <a:gd name="connsiteY26" fmla="*/ 620125 h 897080"/>
              <a:gd name="connsiteX27" fmla="*/ 495281 w 888966"/>
              <a:gd name="connsiteY27" fmla="*/ 670589 h 897080"/>
              <a:gd name="connsiteX28" fmla="*/ 456482 w 888966"/>
              <a:gd name="connsiteY28" fmla="*/ 544863 h 897080"/>
              <a:gd name="connsiteX29" fmla="*/ 249370 w 888966"/>
              <a:gd name="connsiteY29" fmla="*/ 536610 h 897080"/>
              <a:gd name="connsiteX30" fmla="*/ 249370 w 888966"/>
              <a:gd name="connsiteY30" fmla="*/ 541666 h 897080"/>
              <a:gd name="connsiteX31" fmla="*/ 254007 w 888966"/>
              <a:gd name="connsiteY31" fmla="*/ 541666 h 897080"/>
              <a:gd name="connsiteX32" fmla="*/ 249370 w 888966"/>
              <a:gd name="connsiteY32" fmla="*/ 536610 h 897080"/>
              <a:gd name="connsiteX33" fmla="*/ 465565 w 888966"/>
              <a:gd name="connsiteY33" fmla="*/ 512155 h 897080"/>
              <a:gd name="connsiteX34" fmla="*/ 466352 w 888966"/>
              <a:gd name="connsiteY34" fmla="*/ 513012 h 897080"/>
              <a:gd name="connsiteX35" fmla="*/ 470504 w 888966"/>
              <a:gd name="connsiteY35" fmla="*/ 541666 h 897080"/>
              <a:gd name="connsiteX36" fmla="*/ 741232 w 888966"/>
              <a:gd name="connsiteY36" fmla="*/ 541666 h 897080"/>
              <a:gd name="connsiteX37" fmla="*/ 741232 w 888966"/>
              <a:gd name="connsiteY37" fmla="*/ 512155 h 897080"/>
              <a:gd name="connsiteX38" fmla="*/ 465565 w 888966"/>
              <a:gd name="connsiteY38" fmla="*/ 512155 h 897080"/>
              <a:gd name="connsiteX39" fmla="*/ 396483 w 888966"/>
              <a:gd name="connsiteY39" fmla="*/ 436837 h 897080"/>
              <a:gd name="connsiteX40" fmla="*/ 423552 w 888966"/>
              <a:gd name="connsiteY40" fmla="*/ 466349 h 897080"/>
              <a:gd name="connsiteX41" fmla="*/ 741232 w 888966"/>
              <a:gd name="connsiteY41" fmla="*/ 466349 h 897080"/>
              <a:gd name="connsiteX42" fmla="*/ 741232 w 888966"/>
              <a:gd name="connsiteY42" fmla="*/ 436837 h 897080"/>
              <a:gd name="connsiteX43" fmla="*/ 396483 w 888966"/>
              <a:gd name="connsiteY43" fmla="*/ 436837 h 897080"/>
              <a:gd name="connsiteX44" fmla="*/ 327402 w 888966"/>
              <a:gd name="connsiteY44" fmla="*/ 361519 h 897080"/>
              <a:gd name="connsiteX45" fmla="*/ 354471 w 888966"/>
              <a:gd name="connsiteY45" fmla="*/ 391031 h 897080"/>
              <a:gd name="connsiteX46" fmla="*/ 741232 w 888966"/>
              <a:gd name="connsiteY46" fmla="*/ 391031 h 897080"/>
              <a:gd name="connsiteX47" fmla="*/ 741232 w 888966"/>
              <a:gd name="connsiteY47" fmla="*/ 361519 h 897080"/>
              <a:gd name="connsiteX48" fmla="*/ 327402 w 888966"/>
              <a:gd name="connsiteY48" fmla="*/ 361519 h 897080"/>
              <a:gd name="connsiteX49" fmla="*/ 197315 w 888966"/>
              <a:gd name="connsiteY49" fmla="*/ 261390 h 897080"/>
              <a:gd name="connsiteX50" fmla="*/ 180526 w 888966"/>
              <a:gd name="connsiteY50" fmla="*/ 266028 h 897080"/>
              <a:gd name="connsiteX51" fmla="*/ 115877 w 888966"/>
              <a:gd name="connsiteY51" fmla="*/ 325324 h 897080"/>
              <a:gd name="connsiteX52" fmla="*/ 118016 w 888966"/>
              <a:gd name="connsiteY52" fmla="*/ 360103 h 897080"/>
              <a:gd name="connsiteX53" fmla="*/ 339076 w 888966"/>
              <a:gd name="connsiteY53" fmla="*/ 601119 h 897080"/>
              <a:gd name="connsiteX54" fmla="*/ 373540 w 888966"/>
              <a:gd name="connsiteY54" fmla="*/ 606249 h 897080"/>
              <a:gd name="connsiteX55" fmla="*/ 438189 w 888966"/>
              <a:gd name="connsiteY55" fmla="*/ 546953 h 897080"/>
              <a:gd name="connsiteX56" fmla="*/ 436051 w 888966"/>
              <a:gd name="connsiteY56" fmla="*/ 512175 h 897080"/>
              <a:gd name="connsiteX57" fmla="*/ 214990 w 888966"/>
              <a:gd name="connsiteY57" fmla="*/ 271158 h 897080"/>
              <a:gd name="connsiteX58" fmla="*/ 197315 w 888966"/>
              <a:gd name="connsiteY58" fmla="*/ 261390 h 897080"/>
              <a:gd name="connsiteX59" fmla="*/ 249370 w 888966"/>
              <a:gd name="connsiteY59" fmla="*/ 243676 h 897080"/>
              <a:gd name="connsiteX60" fmla="*/ 249370 w 888966"/>
              <a:gd name="connsiteY60" fmla="*/ 276442 h 897080"/>
              <a:gd name="connsiteX61" fmla="*/ 255409 w 888966"/>
              <a:gd name="connsiteY61" fmla="*/ 283025 h 897080"/>
              <a:gd name="connsiteX62" fmla="*/ 544487 w 888966"/>
              <a:gd name="connsiteY62" fmla="*/ 283025 h 897080"/>
              <a:gd name="connsiteX63" fmla="*/ 544487 w 888966"/>
              <a:gd name="connsiteY63" fmla="*/ 243676 h 897080"/>
              <a:gd name="connsiteX64" fmla="*/ 249370 w 888966"/>
              <a:gd name="connsiteY64" fmla="*/ 243676 h 897080"/>
              <a:gd name="connsiteX65" fmla="*/ 581549 w 888966"/>
              <a:gd name="connsiteY65" fmla="*/ 92545 h 897080"/>
              <a:gd name="connsiteX66" fmla="*/ 581546 w 888966"/>
              <a:gd name="connsiteY66" fmla="*/ 246254 h 897080"/>
              <a:gd name="connsiteX67" fmla="*/ 624694 w 888966"/>
              <a:gd name="connsiteY67" fmla="*/ 294792 h 897080"/>
              <a:gd name="connsiteX68" fmla="*/ 786491 w 888966"/>
              <a:gd name="connsiteY68" fmla="*/ 297488 h 897080"/>
              <a:gd name="connsiteX69" fmla="*/ 581549 w 888966"/>
              <a:gd name="connsiteY69" fmla="*/ 92545 h 897080"/>
              <a:gd name="connsiteX70" fmla="*/ 643884 w 888966"/>
              <a:gd name="connsiteY70" fmla="*/ 72904 h 897080"/>
              <a:gd name="connsiteX71" fmla="*/ 709692 w 888966"/>
              <a:gd name="connsiteY71" fmla="*/ 72904 h 897080"/>
              <a:gd name="connsiteX72" fmla="*/ 888966 w 888966"/>
              <a:gd name="connsiteY72" fmla="*/ 254516 h 897080"/>
              <a:gd name="connsiteX73" fmla="*/ 888966 w 888966"/>
              <a:gd name="connsiteY73" fmla="*/ 826972 h 897080"/>
              <a:gd name="connsiteX74" fmla="*/ 840594 w 888966"/>
              <a:gd name="connsiteY74" fmla="*/ 879012 h 897080"/>
              <a:gd name="connsiteX75" fmla="*/ 816902 w 888966"/>
              <a:gd name="connsiteY75" fmla="*/ 879012 h 897080"/>
              <a:gd name="connsiteX76" fmla="*/ 837729 w 888966"/>
              <a:gd name="connsiteY76" fmla="*/ 836923 h 897080"/>
              <a:gd name="connsiteX77" fmla="*/ 837729 w 888966"/>
              <a:gd name="connsiteY77" fmla="*/ 266749 h 897080"/>
              <a:gd name="connsiteX78" fmla="*/ 643884 w 888966"/>
              <a:gd name="connsiteY78" fmla="*/ 72904 h 897080"/>
              <a:gd name="connsiteX79" fmla="*/ 273214 w 888966"/>
              <a:gd name="connsiteY79" fmla="*/ 0 h 897080"/>
              <a:gd name="connsiteX80" fmla="*/ 295444 w 888966"/>
              <a:gd name="connsiteY80" fmla="*/ 0 h 897080"/>
              <a:gd name="connsiteX81" fmla="*/ 301001 w 888966"/>
              <a:gd name="connsiteY81" fmla="*/ 5557 h 897080"/>
              <a:gd name="connsiteX82" fmla="*/ 301001 w 888966"/>
              <a:gd name="connsiteY82" fmla="*/ 44590 h 897080"/>
              <a:gd name="connsiteX83" fmla="*/ 330371 w 888966"/>
              <a:gd name="connsiteY83" fmla="*/ 44590 h 897080"/>
              <a:gd name="connsiteX84" fmla="*/ 330371 w 888966"/>
              <a:gd name="connsiteY84" fmla="*/ 5557 h 897080"/>
              <a:gd name="connsiteX85" fmla="*/ 335928 w 888966"/>
              <a:gd name="connsiteY85" fmla="*/ 0 h 897080"/>
              <a:gd name="connsiteX86" fmla="*/ 358158 w 888966"/>
              <a:gd name="connsiteY86" fmla="*/ 0 h 897080"/>
              <a:gd name="connsiteX87" fmla="*/ 363715 w 888966"/>
              <a:gd name="connsiteY87" fmla="*/ 5557 h 897080"/>
              <a:gd name="connsiteX88" fmla="*/ 363715 w 888966"/>
              <a:gd name="connsiteY88" fmla="*/ 44590 h 897080"/>
              <a:gd name="connsiteX89" fmla="*/ 393085 w 888966"/>
              <a:gd name="connsiteY89" fmla="*/ 44590 h 897080"/>
              <a:gd name="connsiteX90" fmla="*/ 393085 w 888966"/>
              <a:gd name="connsiteY90" fmla="*/ 5557 h 897080"/>
              <a:gd name="connsiteX91" fmla="*/ 398642 w 888966"/>
              <a:gd name="connsiteY91" fmla="*/ 0 h 897080"/>
              <a:gd name="connsiteX92" fmla="*/ 420872 w 888966"/>
              <a:gd name="connsiteY92" fmla="*/ 0 h 897080"/>
              <a:gd name="connsiteX93" fmla="*/ 426429 w 888966"/>
              <a:gd name="connsiteY93" fmla="*/ 5557 h 897080"/>
              <a:gd name="connsiteX94" fmla="*/ 426429 w 888966"/>
              <a:gd name="connsiteY94" fmla="*/ 44590 h 897080"/>
              <a:gd name="connsiteX95" fmla="*/ 455797 w 888966"/>
              <a:gd name="connsiteY95" fmla="*/ 44590 h 897080"/>
              <a:gd name="connsiteX96" fmla="*/ 455797 w 888966"/>
              <a:gd name="connsiteY96" fmla="*/ 5557 h 897080"/>
              <a:gd name="connsiteX97" fmla="*/ 461355 w 888966"/>
              <a:gd name="connsiteY97" fmla="*/ 0 h 897080"/>
              <a:gd name="connsiteX98" fmla="*/ 483584 w 888966"/>
              <a:gd name="connsiteY98" fmla="*/ 0 h 897080"/>
              <a:gd name="connsiteX99" fmla="*/ 489142 w 888966"/>
              <a:gd name="connsiteY99" fmla="*/ 5557 h 897080"/>
              <a:gd name="connsiteX100" fmla="*/ 489142 w 888966"/>
              <a:gd name="connsiteY100" fmla="*/ 44590 h 897080"/>
              <a:gd name="connsiteX101" fmla="*/ 595074 w 888966"/>
              <a:gd name="connsiteY101" fmla="*/ 44590 h 897080"/>
              <a:gd name="connsiteX102" fmla="*/ 822356 w 888966"/>
              <a:gd name="connsiteY102" fmla="*/ 271872 h 897080"/>
              <a:gd name="connsiteX103" fmla="*/ 822356 w 888966"/>
              <a:gd name="connsiteY103" fmla="*/ 842046 h 897080"/>
              <a:gd name="connsiteX104" fmla="*/ 767322 w 888966"/>
              <a:gd name="connsiteY104" fmla="*/ 897080 h 897080"/>
              <a:gd name="connsiteX105" fmla="*/ 228406 w 888966"/>
              <a:gd name="connsiteY105" fmla="*/ 897080 h 897080"/>
              <a:gd name="connsiteX106" fmla="*/ 173372 w 888966"/>
              <a:gd name="connsiteY106" fmla="*/ 842046 h 897080"/>
              <a:gd name="connsiteX107" fmla="*/ 173372 w 888966"/>
              <a:gd name="connsiteY107" fmla="*/ 453750 h 897080"/>
              <a:gd name="connsiteX108" fmla="*/ 97455 w 888966"/>
              <a:gd name="connsiteY108" fmla="*/ 370979 h 897080"/>
              <a:gd name="connsiteX109" fmla="*/ 99243 w 888966"/>
              <a:gd name="connsiteY109" fmla="*/ 329567 h 897080"/>
              <a:gd name="connsiteX110" fmla="*/ 173372 w 888966"/>
              <a:gd name="connsiteY110" fmla="*/ 261577 h 897080"/>
              <a:gd name="connsiteX111" fmla="*/ 173372 w 888966"/>
              <a:gd name="connsiteY111" fmla="*/ 229235 h 897080"/>
              <a:gd name="connsiteX112" fmla="*/ 170801 w 888966"/>
              <a:gd name="connsiteY112" fmla="*/ 231595 h 897080"/>
              <a:gd name="connsiteX113" fmla="*/ 170383 w 888966"/>
              <a:gd name="connsiteY113" fmla="*/ 224803 h 897080"/>
              <a:gd name="connsiteX114" fmla="*/ 129236 w 888966"/>
              <a:gd name="connsiteY114" fmla="*/ 179942 h 897080"/>
              <a:gd name="connsiteX115" fmla="*/ 109863 w 888966"/>
              <a:gd name="connsiteY115" fmla="*/ 177057 h 897080"/>
              <a:gd name="connsiteX116" fmla="*/ 31057 w 888966"/>
              <a:gd name="connsiteY116" fmla="*/ 249335 h 897080"/>
              <a:gd name="connsiteX117" fmla="*/ 32260 w 888966"/>
              <a:gd name="connsiteY117" fmla="*/ 268885 h 897080"/>
              <a:gd name="connsiteX118" fmla="*/ 73408 w 888966"/>
              <a:gd name="connsiteY118" fmla="*/ 313747 h 897080"/>
              <a:gd name="connsiteX119" fmla="*/ 80138 w 888966"/>
              <a:gd name="connsiteY119" fmla="*/ 314749 h 897080"/>
              <a:gd name="connsiteX120" fmla="*/ 72156 w 888966"/>
              <a:gd name="connsiteY120" fmla="*/ 322070 h 897080"/>
              <a:gd name="connsiteX121" fmla="*/ 48877 w 888966"/>
              <a:gd name="connsiteY121" fmla="*/ 321065 h 897080"/>
              <a:gd name="connsiteX122" fmla="*/ 4335 w 888966"/>
              <a:gd name="connsiteY122" fmla="*/ 272501 h 897080"/>
              <a:gd name="connsiteX123" fmla="*/ 5341 w 888966"/>
              <a:gd name="connsiteY123" fmla="*/ 249222 h 897080"/>
              <a:gd name="connsiteX124" fmla="*/ 110656 w 888966"/>
              <a:gd name="connsiteY124" fmla="*/ 152628 h 897080"/>
              <a:gd name="connsiteX125" fmla="*/ 133935 w 888966"/>
              <a:gd name="connsiteY125" fmla="*/ 153633 h 897080"/>
              <a:gd name="connsiteX126" fmla="*/ 173372 w 888966"/>
              <a:gd name="connsiteY126" fmla="*/ 196630 h 897080"/>
              <a:gd name="connsiteX127" fmla="*/ 173372 w 888966"/>
              <a:gd name="connsiteY127" fmla="*/ 99625 h 897080"/>
              <a:gd name="connsiteX128" fmla="*/ 228406 w 888966"/>
              <a:gd name="connsiteY128" fmla="*/ 44590 h 897080"/>
              <a:gd name="connsiteX129" fmla="*/ 267657 w 888966"/>
              <a:gd name="connsiteY129" fmla="*/ 44590 h 897080"/>
              <a:gd name="connsiteX130" fmla="*/ 267657 w 888966"/>
              <a:gd name="connsiteY130" fmla="*/ 5557 h 897080"/>
              <a:gd name="connsiteX131" fmla="*/ 273214 w 888966"/>
              <a:gd name="connsiteY131" fmla="*/ 0 h 897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Lst>
            <a:rect l="l" t="t" r="r" b="b"/>
            <a:pathLst>
              <a:path w="888966" h="897080">
                <a:moveTo>
                  <a:pt x="249370" y="738104"/>
                </a:moveTo>
                <a:lnTo>
                  <a:pt x="249370" y="767616"/>
                </a:lnTo>
                <a:lnTo>
                  <a:pt x="741232" y="767616"/>
                </a:lnTo>
                <a:lnTo>
                  <a:pt x="741232" y="738104"/>
                </a:lnTo>
                <a:lnTo>
                  <a:pt x="249370" y="738104"/>
                </a:lnTo>
                <a:close/>
                <a:moveTo>
                  <a:pt x="511567" y="662789"/>
                </a:moveTo>
                <a:lnTo>
                  <a:pt x="517934" y="692301"/>
                </a:lnTo>
                <a:lnTo>
                  <a:pt x="741232" y="692301"/>
                </a:lnTo>
                <a:lnTo>
                  <a:pt x="741232" y="662789"/>
                </a:lnTo>
                <a:lnTo>
                  <a:pt x="511567" y="662789"/>
                </a:lnTo>
                <a:close/>
                <a:moveTo>
                  <a:pt x="249370" y="662789"/>
                </a:moveTo>
                <a:lnTo>
                  <a:pt x="249370" y="692301"/>
                </a:lnTo>
                <a:lnTo>
                  <a:pt x="508884" y="692301"/>
                </a:lnTo>
                <a:lnTo>
                  <a:pt x="415842" y="662789"/>
                </a:lnTo>
                <a:lnTo>
                  <a:pt x="249370" y="662789"/>
                </a:lnTo>
                <a:close/>
                <a:moveTo>
                  <a:pt x="495319" y="587471"/>
                </a:moveTo>
                <a:lnTo>
                  <a:pt x="501686" y="616983"/>
                </a:lnTo>
                <a:lnTo>
                  <a:pt x="741232" y="616983"/>
                </a:lnTo>
                <a:lnTo>
                  <a:pt x="741232" y="587471"/>
                </a:lnTo>
                <a:lnTo>
                  <a:pt x="495319" y="587471"/>
                </a:lnTo>
                <a:close/>
                <a:moveTo>
                  <a:pt x="249370" y="587471"/>
                </a:moveTo>
                <a:lnTo>
                  <a:pt x="249370" y="616983"/>
                </a:lnTo>
                <a:lnTo>
                  <a:pt x="323088" y="616983"/>
                </a:lnTo>
                <a:lnTo>
                  <a:pt x="296020" y="587471"/>
                </a:lnTo>
                <a:lnTo>
                  <a:pt x="249370" y="587471"/>
                </a:lnTo>
                <a:close/>
                <a:moveTo>
                  <a:pt x="456482" y="544863"/>
                </a:moveTo>
                <a:lnTo>
                  <a:pt x="373574" y="620125"/>
                </a:lnTo>
                <a:lnTo>
                  <a:pt x="495281" y="670589"/>
                </a:lnTo>
                <a:lnTo>
                  <a:pt x="456482" y="544863"/>
                </a:lnTo>
                <a:close/>
                <a:moveTo>
                  <a:pt x="249370" y="536610"/>
                </a:moveTo>
                <a:lnTo>
                  <a:pt x="249370" y="541666"/>
                </a:lnTo>
                <a:lnTo>
                  <a:pt x="254007" y="541666"/>
                </a:lnTo>
                <a:lnTo>
                  <a:pt x="249370" y="536610"/>
                </a:lnTo>
                <a:close/>
                <a:moveTo>
                  <a:pt x="465565" y="512155"/>
                </a:moveTo>
                <a:lnTo>
                  <a:pt x="466352" y="513012"/>
                </a:lnTo>
                <a:cubicBezTo>
                  <a:pt x="473866" y="521204"/>
                  <a:pt x="475841" y="532516"/>
                  <a:pt x="470504" y="541666"/>
                </a:cubicBezTo>
                <a:lnTo>
                  <a:pt x="741232" y="541666"/>
                </a:lnTo>
                <a:lnTo>
                  <a:pt x="741232" y="512155"/>
                </a:lnTo>
                <a:lnTo>
                  <a:pt x="465565" y="512155"/>
                </a:lnTo>
                <a:close/>
                <a:moveTo>
                  <a:pt x="396483" y="436837"/>
                </a:moveTo>
                <a:lnTo>
                  <a:pt x="423552" y="466349"/>
                </a:lnTo>
                <a:lnTo>
                  <a:pt x="741232" y="466349"/>
                </a:lnTo>
                <a:lnTo>
                  <a:pt x="741232" y="436837"/>
                </a:lnTo>
                <a:lnTo>
                  <a:pt x="396483" y="436837"/>
                </a:lnTo>
                <a:close/>
                <a:moveTo>
                  <a:pt x="327402" y="361519"/>
                </a:moveTo>
                <a:lnTo>
                  <a:pt x="354471" y="391031"/>
                </a:lnTo>
                <a:lnTo>
                  <a:pt x="741232" y="391031"/>
                </a:lnTo>
                <a:lnTo>
                  <a:pt x="741232" y="361519"/>
                </a:lnTo>
                <a:lnTo>
                  <a:pt x="327402" y="361519"/>
                </a:lnTo>
                <a:close/>
                <a:moveTo>
                  <a:pt x="197315" y="261390"/>
                </a:moveTo>
                <a:cubicBezTo>
                  <a:pt x="191078" y="260462"/>
                  <a:pt x="184990" y="261934"/>
                  <a:pt x="180526" y="266028"/>
                </a:cubicBezTo>
                <a:lnTo>
                  <a:pt x="115877" y="325324"/>
                </a:lnTo>
                <a:cubicBezTo>
                  <a:pt x="106950" y="333512"/>
                  <a:pt x="107908" y="349083"/>
                  <a:pt x="118016" y="360103"/>
                </a:cubicBezTo>
                <a:lnTo>
                  <a:pt x="339076" y="601119"/>
                </a:lnTo>
                <a:cubicBezTo>
                  <a:pt x="349185" y="612140"/>
                  <a:pt x="364614" y="614437"/>
                  <a:pt x="373540" y="606249"/>
                </a:cubicBezTo>
                <a:lnTo>
                  <a:pt x="438189" y="546953"/>
                </a:lnTo>
                <a:cubicBezTo>
                  <a:pt x="447116" y="538766"/>
                  <a:pt x="446158" y="523195"/>
                  <a:pt x="436051" y="512175"/>
                </a:cubicBezTo>
                <a:lnTo>
                  <a:pt x="214990" y="271158"/>
                </a:lnTo>
                <a:cubicBezTo>
                  <a:pt x="209936" y="265648"/>
                  <a:pt x="203552" y="262320"/>
                  <a:pt x="197315" y="261390"/>
                </a:cubicBezTo>
                <a:close/>
                <a:moveTo>
                  <a:pt x="249370" y="243676"/>
                </a:moveTo>
                <a:lnTo>
                  <a:pt x="249370" y="276442"/>
                </a:lnTo>
                <a:lnTo>
                  <a:pt x="255409" y="283025"/>
                </a:lnTo>
                <a:lnTo>
                  <a:pt x="544487" y="283025"/>
                </a:lnTo>
                <a:lnTo>
                  <a:pt x="544487" y="243676"/>
                </a:lnTo>
                <a:lnTo>
                  <a:pt x="249370" y="243676"/>
                </a:lnTo>
                <a:close/>
                <a:moveTo>
                  <a:pt x="581549" y="92545"/>
                </a:moveTo>
                <a:cubicBezTo>
                  <a:pt x="581549" y="143782"/>
                  <a:pt x="581546" y="195017"/>
                  <a:pt x="581546" y="246254"/>
                </a:cubicBezTo>
                <a:cubicBezTo>
                  <a:pt x="580561" y="275242"/>
                  <a:pt x="607752" y="291422"/>
                  <a:pt x="624694" y="294792"/>
                </a:cubicBezTo>
                <a:lnTo>
                  <a:pt x="786491" y="297488"/>
                </a:lnTo>
                <a:lnTo>
                  <a:pt x="581549" y="92545"/>
                </a:lnTo>
                <a:close/>
                <a:moveTo>
                  <a:pt x="643884" y="72904"/>
                </a:moveTo>
                <a:lnTo>
                  <a:pt x="709692" y="72904"/>
                </a:lnTo>
                <a:lnTo>
                  <a:pt x="888966" y="254516"/>
                </a:lnTo>
                <a:lnTo>
                  <a:pt x="888966" y="826972"/>
                </a:lnTo>
                <a:cubicBezTo>
                  <a:pt x="888966" y="855713"/>
                  <a:pt x="867310" y="879012"/>
                  <a:pt x="840594" y="879012"/>
                </a:cubicBezTo>
                <a:lnTo>
                  <a:pt x="816902" y="879012"/>
                </a:lnTo>
                <a:cubicBezTo>
                  <a:pt x="829807" y="869541"/>
                  <a:pt x="837729" y="854157"/>
                  <a:pt x="837729" y="836923"/>
                </a:cubicBezTo>
                <a:lnTo>
                  <a:pt x="837729" y="266749"/>
                </a:lnTo>
                <a:lnTo>
                  <a:pt x="643884" y="72904"/>
                </a:lnTo>
                <a:close/>
                <a:moveTo>
                  <a:pt x="273214" y="0"/>
                </a:moveTo>
                <a:lnTo>
                  <a:pt x="295444" y="0"/>
                </a:lnTo>
                <a:cubicBezTo>
                  <a:pt x="298513" y="0"/>
                  <a:pt x="301001" y="2488"/>
                  <a:pt x="301001" y="5557"/>
                </a:cubicBezTo>
                <a:lnTo>
                  <a:pt x="301001" y="44590"/>
                </a:lnTo>
                <a:lnTo>
                  <a:pt x="330371" y="44590"/>
                </a:lnTo>
                <a:lnTo>
                  <a:pt x="330371" y="5557"/>
                </a:lnTo>
                <a:lnTo>
                  <a:pt x="335928" y="0"/>
                </a:lnTo>
                <a:lnTo>
                  <a:pt x="358158" y="0"/>
                </a:lnTo>
                <a:cubicBezTo>
                  <a:pt x="361227" y="0"/>
                  <a:pt x="363715" y="2488"/>
                  <a:pt x="363715" y="5557"/>
                </a:cubicBezTo>
                <a:lnTo>
                  <a:pt x="363715" y="44590"/>
                </a:lnTo>
                <a:lnTo>
                  <a:pt x="393085" y="44590"/>
                </a:lnTo>
                <a:lnTo>
                  <a:pt x="393085" y="5557"/>
                </a:lnTo>
                <a:lnTo>
                  <a:pt x="398642" y="0"/>
                </a:lnTo>
                <a:lnTo>
                  <a:pt x="420872" y="0"/>
                </a:lnTo>
                <a:cubicBezTo>
                  <a:pt x="423941" y="0"/>
                  <a:pt x="426429" y="2488"/>
                  <a:pt x="426429" y="5557"/>
                </a:cubicBezTo>
                <a:lnTo>
                  <a:pt x="426429" y="44590"/>
                </a:lnTo>
                <a:lnTo>
                  <a:pt x="455797" y="44590"/>
                </a:lnTo>
                <a:lnTo>
                  <a:pt x="455797" y="5557"/>
                </a:lnTo>
                <a:lnTo>
                  <a:pt x="461355" y="0"/>
                </a:lnTo>
                <a:lnTo>
                  <a:pt x="483584" y="0"/>
                </a:lnTo>
                <a:cubicBezTo>
                  <a:pt x="486654" y="0"/>
                  <a:pt x="489142" y="2488"/>
                  <a:pt x="489142" y="5557"/>
                </a:cubicBezTo>
                <a:lnTo>
                  <a:pt x="489142" y="44590"/>
                </a:lnTo>
                <a:lnTo>
                  <a:pt x="595074" y="44590"/>
                </a:lnTo>
                <a:lnTo>
                  <a:pt x="822356" y="271872"/>
                </a:lnTo>
                <a:lnTo>
                  <a:pt x="822356" y="842046"/>
                </a:lnTo>
                <a:cubicBezTo>
                  <a:pt x="822356" y="872441"/>
                  <a:pt x="797716" y="897080"/>
                  <a:pt x="767322" y="897080"/>
                </a:cubicBezTo>
                <a:lnTo>
                  <a:pt x="228406" y="897080"/>
                </a:lnTo>
                <a:cubicBezTo>
                  <a:pt x="198010" y="897080"/>
                  <a:pt x="173372" y="872441"/>
                  <a:pt x="173372" y="842046"/>
                </a:cubicBezTo>
                <a:lnTo>
                  <a:pt x="173372" y="453750"/>
                </a:lnTo>
                <a:lnTo>
                  <a:pt x="97455" y="370979"/>
                </a:lnTo>
                <a:cubicBezTo>
                  <a:pt x="86512" y="359050"/>
                  <a:pt x="87313" y="340510"/>
                  <a:pt x="99243" y="329567"/>
                </a:cubicBezTo>
                <a:lnTo>
                  <a:pt x="173372" y="261577"/>
                </a:lnTo>
                <a:lnTo>
                  <a:pt x="173372" y="229235"/>
                </a:lnTo>
                <a:lnTo>
                  <a:pt x="170801" y="231595"/>
                </a:lnTo>
                <a:cubicBezTo>
                  <a:pt x="170662" y="229331"/>
                  <a:pt x="170522" y="227067"/>
                  <a:pt x="170383" y="224803"/>
                </a:cubicBezTo>
                <a:lnTo>
                  <a:pt x="129236" y="179942"/>
                </a:lnTo>
                <a:cubicBezTo>
                  <a:pt x="123552" y="173745"/>
                  <a:pt x="114879" y="172454"/>
                  <a:pt x="109863" y="177057"/>
                </a:cubicBezTo>
                <a:lnTo>
                  <a:pt x="31057" y="249335"/>
                </a:lnTo>
                <a:cubicBezTo>
                  <a:pt x="26040" y="253937"/>
                  <a:pt x="26578" y="262690"/>
                  <a:pt x="32260" y="268885"/>
                </a:cubicBezTo>
                <a:lnTo>
                  <a:pt x="73408" y="313747"/>
                </a:lnTo>
                <a:cubicBezTo>
                  <a:pt x="74973" y="315454"/>
                  <a:pt x="76765" y="316789"/>
                  <a:pt x="80138" y="314749"/>
                </a:cubicBezTo>
                <a:lnTo>
                  <a:pt x="72156" y="322070"/>
                </a:lnTo>
                <a:cubicBezTo>
                  <a:pt x="65450" y="328221"/>
                  <a:pt x="55029" y="327771"/>
                  <a:pt x="48877" y="321065"/>
                </a:cubicBezTo>
                <a:lnTo>
                  <a:pt x="4335" y="272501"/>
                </a:lnTo>
                <a:cubicBezTo>
                  <a:pt x="-1816" y="265795"/>
                  <a:pt x="-1366" y="255373"/>
                  <a:pt x="5341" y="249222"/>
                </a:cubicBezTo>
                <a:lnTo>
                  <a:pt x="110656" y="152628"/>
                </a:lnTo>
                <a:cubicBezTo>
                  <a:pt x="117361" y="146476"/>
                  <a:pt x="127783" y="146927"/>
                  <a:pt x="133935" y="153633"/>
                </a:cubicBezTo>
                <a:lnTo>
                  <a:pt x="173372" y="196630"/>
                </a:lnTo>
                <a:lnTo>
                  <a:pt x="173372" y="99625"/>
                </a:lnTo>
                <a:cubicBezTo>
                  <a:pt x="173372" y="69230"/>
                  <a:pt x="198010" y="44590"/>
                  <a:pt x="228406" y="44590"/>
                </a:cubicBezTo>
                <a:lnTo>
                  <a:pt x="267657" y="44590"/>
                </a:lnTo>
                <a:lnTo>
                  <a:pt x="267657" y="5557"/>
                </a:lnTo>
                <a:cubicBezTo>
                  <a:pt x="267657" y="2488"/>
                  <a:pt x="270145" y="0"/>
                  <a:pt x="273214" y="0"/>
                </a:cubicBez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3232" tIns="46615" rIns="93232" bIns="46615" rtlCol="0" anchor="ctr">
            <a:noAutofit/>
          </a:bodyPr>
          <a:lstStyle/>
          <a:p>
            <a:pPr algn="ctr"/>
            <a:endParaRPr lang="en-US" sz="2399" dirty="0">
              <a:solidFill>
                <a:prstClr val="white"/>
              </a:solidFill>
            </a:endParaRPr>
          </a:p>
        </p:txBody>
      </p:sp>
    </p:spTree>
    <p:extLst>
      <p:ext uri="{BB962C8B-B14F-4D97-AF65-F5344CB8AC3E}">
        <p14:creationId xmlns:p14="http://schemas.microsoft.com/office/powerpoint/2010/main" val="24249469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wipe(down)">
                                      <p:cBhvr>
                                        <p:cTn id="7" dur="500"/>
                                        <p:tgtEl>
                                          <p:spTgt spid="36"/>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60"/>
                                        </p:tgtEl>
                                        <p:attrNameLst>
                                          <p:attrName>style.visibility</p:attrName>
                                        </p:attrNameLst>
                                      </p:cBhvr>
                                      <p:to>
                                        <p:strVal val="visible"/>
                                      </p:to>
                                    </p:set>
                                    <p:animEffect transition="in" filter="wipe(down)">
                                      <p:cBhvr>
                                        <p:cTn id="10" dur="500"/>
                                        <p:tgtEl>
                                          <p:spTgt spid="60"/>
                                        </p:tgtEl>
                                      </p:cBhvr>
                                    </p:animEffect>
                                  </p:childTnLst>
                                </p:cTn>
                              </p:par>
                              <p:par>
                                <p:cTn id="11" presetID="22" presetClass="entr" presetSubtype="4" fill="hold" grpId="0" nodeType="withEffect">
                                  <p:stCondLst>
                                    <p:cond delay="0"/>
                                  </p:stCondLst>
                                  <p:childTnLst>
                                    <p:set>
                                      <p:cBhvr>
                                        <p:cTn id="12" dur="1" fill="hold">
                                          <p:stCondLst>
                                            <p:cond delay="0"/>
                                          </p:stCondLst>
                                        </p:cTn>
                                        <p:tgtEl>
                                          <p:spTgt spid="37"/>
                                        </p:tgtEl>
                                        <p:attrNameLst>
                                          <p:attrName>style.visibility</p:attrName>
                                        </p:attrNameLst>
                                      </p:cBhvr>
                                      <p:to>
                                        <p:strVal val="visible"/>
                                      </p:to>
                                    </p:set>
                                    <p:animEffect transition="in" filter="wipe(down)">
                                      <p:cBhvr>
                                        <p:cTn id="13" dur="500"/>
                                        <p:tgtEl>
                                          <p:spTgt spid="37"/>
                                        </p:tgtEl>
                                      </p:cBhvr>
                                    </p:animEffect>
                                  </p:childTnLst>
                                </p:cTn>
                              </p:par>
                            </p:childTnLst>
                          </p:cTn>
                        </p:par>
                        <p:par>
                          <p:cTn id="14" fill="hold">
                            <p:stCondLst>
                              <p:cond delay="500"/>
                            </p:stCondLst>
                            <p:childTnLst>
                              <p:par>
                                <p:cTn id="15" presetID="64" presetClass="path" presetSubtype="0" accel="50000" decel="50000" fill="hold" grpId="1" nodeType="afterEffect">
                                  <p:stCondLst>
                                    <p:cond delay="0"/>
                                  </p:stCondLst>
                                  <p:childTnLst>
                                    <p:animMotion origin="layout" path="M 1.95558E-6 -4.6709E-6 L 1.95558E-6 -0.24988 " pathEditMode="relative" rAng="0" ptsTypes="AA">
                                      <p:cBhvr>
                                        <p:cTn id="16" dur="2000" fill="hold"/>
                                        <p:tgtEl>
                                          <p:spTgt spid="60"/>
                                        </p:tgtEl>
                                        <p:attrNameLst>
                                          <p:attrName>ppt_x</p:attrName>
                                          <p:attrName>ppt_y</p:attrName>
                                        </p:attrNameLst>
                                      </p:cBhvr>
                                      <p:rCtr x="0" y="-12506"/>
                                    </p:animMotion>
                                  </p:childTnLst>
                                </p:cTn>
                              </p:par>
                            </p:childTnLst>
                          </p:cTn>
                        </p:par>
                        <p:par>
                          <p:cTn id="17" fill="hold">
                            <p:stCondLst>
                              <p:cond delay="2500"/>
                            </p:stCondLst>
                            <p:childTnLst>
                              <p:par>
                                <p:cTn id="18" presetID="1" presetClass="exit" presetSubtype="0" fill="hold" grpId="2" nodeType="afterEffect">
                                  <p:stCondLst>
                                    <p:cond delay="0"/>
                                  </p:stCondLst>
                                  <p:childTnLst>
                                    <p:set>
                                      <p:cBhvr>
                                        <p:cTn id="19" dur="1" fill="hold">
                                          <p:stCondLst>
                                            <p:cond delay="0"/>
                                          </p:stCondLst>
                                        </p:cTn>
                                        <p:tgtEl>
                                          <p:spTgt spid="60"/>
                                        </p:tgtEl>
                                        <p:attrNameLst>
                                          <p:attrName>style.visibility</p:attrName>
                                        </p:attrNameLst>
                                      </p:cBhvr>
                                      <p:to>
                                        <p:strVal val="hidden"/>
                                      </p:to>
                                    </p:set>
                                  </p:childTnLst>
                                </p:cTn>
                              </p:par>
                            </p:childTnLst>
                          </p:cTn>
                        </p:par>
                      </p:childTnLst>
                    </p:cTn>
                  </p:par>
                  <p:par>
                    <p:cTn id="20" fill="hold">
                      <p:stCondLst>
                        <p:cond delay="indefinite"/>
                      </p:stCondLst>
                      <p:childTnLst>
                        <p:par>
                          <p:cTn id="21" fill="hold">
                            <p:stCondLst>
                              <p:cond delay="0"/>
                            </p:stCondLst>
                            <p:childTnLst>
                              <p:par>
                                <p:cTn id="22" presetID="22" presetClass="entr" presetSubtype="4" fill="hold" grpId="1" nodeType="clickEffect">
                                  <p:stCondLst>
                                    <p:cond delay="0"/>
                                  </p:stCondLst>
                                  <p:childTnLst>
                                    <p:set>
                                      <p:cBhvr>
                                        <p:cTn id="23" dur="1" fill="hold">
                                          <p:stCondLst>
                                            <p:cond delay="0"/>
                                          </p:stCondLst>
                                        </p:cTn>
                                        <p:tgtEl>
                                          <p:spTgt spid="36"/>
                                        </p:tgtEl>
                                        <p:attrNameLst>
                                          <p:attrName>style.visibility</p:attrName>
                                        </p:attrNameLst>
                                      </p:cBhvr>
                                      <p:to>
                                        <p:strVal val="visible"/>
                                      </p:to>
                                    </p:set>
                                    <p:animEffect transition="in" filter="wipe(down)">
                                      <p:cBhvr>
                                        <p:cTn id="24" dur="500"/>
                                        <p:tgtEl>
                                          <p:spTgt spid="36"/>
                                        </p:tgtEl>
                                      </p:cBhvr>
                                    </p:animEffect>
                                  </p:childTnLst>
                                </p:cTn>
                              </p:par>
                              <p:par>
                                <p:cTn id="25" presetID="22" presetClass="entr" presetSubtype="4" fill="hold" grpId="0" nodeType="withEffect">
                                  <p:stCondLst>
                                    <p:cond delay="0"/>
                                  </p:stCondLst>
                                  <p:childTnLst>
                                    <p:set>
                                      <p:cBhvr>
                                        <p:cTn id="26" dur="1" fill="hold">
                                          <p:stCondLst>
                                            <p:cond delay="0"/>
                                          </p:stCondLst>
                                        </p:cTn>
                                        <p:tgtEl>
                                          <p:spTgt spid="42"/>
                                        </p:tgtEl>
                                        <p:attrNameLst>
                                          <p:attrName>style.visibility</p:attrName>
                                        </p:attrNameLst>
                                      </p:cBhvr>
                                      <p:to>
                                        <p:strVal val="visible"/>
                                      </p:to>
                                    </p:set>
                                    <p:animEffect transition="in" filter="wipe(down)">
                                      <p:cBhvr>
                                        <p:cTn id="27" dur="500"/>
                                        <p:tgtEl>
                                          <p:spTgt spid="42"/>
                                        </p:tgtEl>
                                      </p:cBhvr>
                                    </p:animEffect>
                                  </p:childTnLst>
                                </p:cTn>
                              </p:par>
                              <p:par>
                                <p:cTn id="28" presetID="22" presetClass="entr" presetSubtype="4" fill="hold" grpId="0" nodeType="withEffect">
                                  <p:stCondLst>
                                    <p:cond delay="0"/>
                                  </p:stCondLst>
                                  <p:childTnLst>
                                    <p:set>
                                      <p:cBhvr>
                                        <p:cTn id="29" dur="1" fill="hold">
                                          <p:stCondLst>
                                            <p:cond delay="0"/>
                                          </p:stCondLst>
                                        </p:cTn>
                                        <p:tgtEl>
                                          <p:spTgt spid="41"/>
                                        </p:tgtEl>
                                        <p:attrNameLst>
                                          <p:attrName>style.visibility</p:attrName>
                                        </p:attrNameLst>
                                      </p:cBhvr>
                                      <p:to>
                                        <p:strVal val="visible"/>
                                      </p:to>
                                    </p:set>
                                    <p:animEffect transition="in" filter="wipe(down)">
                                      <p:cBhvr>
                                        <p:cTn id="30" dur="500"/>
                                        <p:tgtEl>
                                          <p:spTgt spid="41"/>
                                        </p:tgtEl>
                                      </p:cBhvr>
                                    </p:animEffect>
                                  </p:childTnLst>
                                </p:cTn>
                              </p:par>
                            </p:childTnLst>
                          </p:cTn>
                        </p:par>
                        <p:par>
                          <p:cTn id="31" fill="hold">
                            <p:stCondLst>
                              <p:cond delay="500"/>
                            </p:stCondLst>
                            <p:childTnLst>
                              <p:par>
                                <p:cTn id="32" presetID="64" presetClass="path" presetSubtype="0" accel="50000" decel="50000" fill="hold" grpId="1" nodeType="afterEffect">
                                  <p:stCondLst>
                                    <p:cond delay="0"/>
                                  </p:stCondLst>
                                  <p:childTnLst>
                                    <p:animMotion origin="layout" path="M 3.71202E-6 3.5497E-6 L 3.71202E-6 -0.24989 " pathEditMode="relative" rAng="0" ptsTypes="AA">
                                      <p:cBhvr>
                                        <p:cTn id="33" dur="2000" fill="hold"/>
                                        <p:tgtEl>
                                          <p:spTgt spid="41"/>
                                        </p:tgtEl>
                                        <p:attrNameLst>
                                          <p:attrName>ppt_x</p:attrName>
                                          <p:attrName>ppt_y</p:attrName>
                                        </p:attrNameLst>
                                      </p:cBhvr>
                                      <p:rCtr x="0" y="-12506"/>
                                    </p:animMotion>
                                  </p:childTnLst>
                                </p:cTn>
                              </p:par>
                            </p:childTnLst>
                          </p:cTn>
                        </p:par>
                        <p:par>
                          <p:cTn id="34" fill="hold">
                            <p:stCondLst>
                              <p:cond delay="2500"/>
                            </p:stCondLst>
                            <p:childTnLst>
                              <p:par>
                                <p:cTn id="35" presetID="1" presetClass="exit" presetSubtype="0" fill="hold" grpId="2" nodeType="afterEffect">
                                  <p:stCondLst>
                                    <p:cond delay="0"/>
                                  </p:stCondLst>
                                  <p:childTnLst>
                                    <p:set>
                                      <p:cBhvr>
                                        <p:cTn id="36" dur="1" fill="hold">
                                          <p:stCondLst>
                                            <p:cond delay="0"/>
                                          </p:stCondLst>
                                        </p:cTn>
                                        <p:tgtEl>
                                          <p:spTgt spid="41"/>
                                        </p:tgtEl>
                                        <p:attrNameLst>
                                          <p:attrName>style.visibility</p:attrName>
                                        </p:attrNameLst>
                                      </p:cBhvr>
                                      <p:to>
                                        <p:strVal val="hidden"/>
                                      </p:to>
                                    </p:set>
                                  </p:childTnLst>
                                </p:cTn>
                              </p:par>
                              <p:par>
                                <p:cTn id="37" presetID="22" presetClass="entr" presetSubtype="8" fill="hold" grpId="0" nodeType="withEffect">
                                  <p:stCondLst>
                                    <p:cond delay="0"/>
                                  </p:stCondLst>
                                  <p:childTnLst>
                                    <p:set>
                                      <p:cBhvr>
                                        <p:cTn id="38" dur="1" fill="hold">
                                          <p:stCondLst>
                                            <p:cond delay="0"/>
                                          </p:stCondLst>
                                        </p:cTn>
                                        <p:tgtEl>
                                          <p:spTgt spid="38"/>
                                        </p:tgtEl>
                                        <p:attrNameLst>
                                          <p:attrName>style.visibility</p:attrName>
                                        </p:attrNameLst>
                                      </p:cBhvr>
                                      <p:to>
                                        <p:strVal val="visible"/>
                                      </p:to>
                                    </p:set>
                                    <p:animEffect transition="in" filter="wipe(left)">
                                      <p:cBhvr>
                                        <p:cTn id="39" dur="500"/>
                                        <p:tgtEl>
                                          <p:spTgt spid="38"/>
                                        </p:tgtEl>
                                      </p:cBhvr>
                                    </p:animEffect>
                                  </p:childTnLst>
                                </p:cTn>
                              </p:par>
                              <p:par>
                                <p:cTn id="40" presetID="22" presetClass="entr" presetSubtype="8" fill="hold" grpId="0" nodeType="withEffect">
                                  <p:stCondLst>
                                    <p:cond delay="0"/>
                                  </p:stCondLst>
                                  <p:childTnLst>
                                    <p:set>
                                      <p:cBhvr>
                                        <p:cTn id="41" dur="1" fill="hold">
                                          <p:stCondLst>
                                            <p:cond delay="0"/>
                                          </p:stCondLst>
                                        </p:cTn>
                                        <p:tgtEl>
                                          <p:spTgt spid="8"/>
                                        </p:tgtEl>
                                        <p:attrNameLst>
                                          <p:attrName>style.visibility</p:attrName>
                                        </p:attrNameLst>
                                      </p:cBhvr>
                                      <p:to>
                                        <p:strVal val="visible"/>
                                      </p:to>
                                    </p:set>
                                    <p:animEffect transition="in" filter="wipe(left)">
                                      <p:cBhvr>
                                        <p:cTn id="42" dur="500"/>
                                        <p:tgtEl>
                                          <p:spTgt spid="8"/>
                                        </p:tgtEl>
                                      </p:cBhvr>
                                    </p:animEffect>
                                  </p:childTnLst>
                                </p:cTn>
                              </p:par>
                              <p:par>
                                <p:cTn id="43" presetID="22" presetClass="entr" presetSubtype="8" fill="hold" grpId="0" nodeType="withEffect">
                                  <p:stCondLst>
                                    <p:cond delay="0"/>
                                  </p:stCondLst>
                                  <p:childTnLst>
                                    <p:set>
                                      <p:cBhvr>
                                        <p:cTn id="44" dur="1" fill="hold">
                                          <p:stCondLst>
                                            <p:cond delay="0"/>
                                          </p:stCondLst>
                                        </p:cTn>
                                        <p:tgtEl>
                                          <p:spTgt spid="65"/>
                                        </p:tgtEl>
                                        <p:attrNameLst>
                                          <p:attrName>style.visibility</p:attrName>
                                        </p:attrNameLst>
                                      </p:cBhvr>
                                      <p:to>
                                        <p:strVal val="visible"/>
                                      </p:to>
                                    </p:set>
                                    <p:animEffect transition="in" filter="wipe(left)">
                                      <p:cBhvr>
                                        <p:cTn id="45" dur="500"/>
                                        <p:tgtEl>
                                          <p:spTgt spid="65"/>
                                        </p:tgtEl>
                                      </p:cBhvr>
                                    </p:animEffect>
                                  </p:childTnLst>
                                </p:cTn>
                              </p:par>
                            </p:childTnLst>
                          </p:cTn>
                        </p:par>
                        <p:par>
                          <p:cTn id="46" fill="hold">
                            <p:stCondLst>
                              <p:cond delay="3000"/>
                            </p:stCondLst>
                            <p:childTnLst>
                              <p:par>
                                <p:cTn id="47" presetID="63" presetClass="path" presetSubtype="0" accel="50000" decel="50000" fill="hold" grpId="1" nodeType="afterEffect">
                                  <p:stCondLst>
                                    <p:cond delay="0"/>
                                  </p:stCondLst>
                                  <p:childTnLst>
                                    <p:animMotion origin="layout" path="M 6.07608E-7 -6.89968E-7 L 0.2276 -0.00068 " pathEditMode="relative" rAng="0" ptsTypes="AA">
                                      <p:cBhvr>
                                        <p:cTn id="48" dur="2000" fill="hold"/>
                                        <p:tgtEl>
                                          <p:spTgt spid="65"/>
                                        </p:tgtEl>
                                        <p:attrNameLst>
                                          <p:attrName>ppt_x</p:attrName>
                                          <p:attrName>ppt_y</p:attrName>
                                        </p:attrNameLst>
                                      </p:cBhvr>
                                      <p:rCtr x="11373" y="-45"/>
                                    </p:animMotion>
                                  </p:childTnLst>
                                </p:cTn>
                              </p:par>
                            </p:childTnLst>
                          </p:cTn>
                        </p:par>
                        <p:par>
                          <p:cTn id="49" fill="hold">
                            <p:stCondLst>
                              <p:cond delay="5000"/>
                            </p:stCondLst>
                            <p:childTnLst>
                              <p:par>
                                <p:cTn id="50" presetID="1" presetClass="exit" presetSubtype="0" fill="hold" grpId="2" nodeType="afterEffect">
                                  <p:stCondLst>
                                    <p:cond delay="0"/>
                                  </p:stCondLst>
                                  <p:childTnLst>
                                    <p:set>
                                      <p:cBhvr>
                                        <p:cTn id="51" dur="1" fill="hold">
                                          <p:stCondLst>
                                            <p:cond delay="0"/>
                                          </p:stCondLst>
                                        </p:cTn>
                                        <p:tgtEl>
                                          <p:spTgt spid="6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36" grpId="0" animBg="1"/>
      <p:bldP spid="36" grpId="1" animBg="1"/>
      <p:bldP spid="37" grpId="0"/>
      <p:bldP spid="38" grpId="0"/>
      <p:bldP spid="42" grpId="0"/>
      <p:bldP spid="60" grpId="0" animBg="1"/>
      <p:bldP spid="60" grpId="1" animBg="1"/>
      <p:bldP spid="60" grpId="2" animBg="1"/>
      <p:bldP spid="65" grpId="0" animBg="1"/>
      <p:bldP spid="65" grpId="1" animBg="1"/>
      <p:bldP spid="65" grpId="2" animBg="1"/>
      <p:bldP spid="41" grpId="0" animBg="1"/>
      <p:bldP spid="41" grpId="1" animBg="1"/>
      <p:bldP spid="41" grpId="2"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Rounded Rectangle 42"/>
          <p:cNvSpPr/>
          <p:nvPr/>
        </p:nvSpPr>
        <p:spPr bwMode="auto">
          <a:xfrm>
            <a:off x="688027" y="1445870"/>
            <a:ext cx="9276725" cy="3709556"/>
          </a:xfrm>
          <a:prstGeom prst="roundRect">
            <a:avLst>
              <a:gd name="adj" fmla="val 17975"/>
            </a:avLst>
          </a:prstGeom>
          <a:solidFill>
            <a:schemeClr val="accent6">
              <a:alpha val="0"/>
            </a:schemeClr>
          </a:solidFill>
          <a:ln>
            <a:solidFill>
              <a:srgbClr val="00B05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98" tIns="45699" rIns="45699" bIns="91398" numCol="1" spcCol="0" rtlCol="0" fromWordArt="0" anchor="b" anchorCtr="0" forceAA="0" compatLnSpc="1">
            <a:prstTxWarp prst="textNoShape">
              <a:avLst/>
            </a:prstTxWarp>
            <a:noAutofit/>
          </a:bodyPr>
          <a:lstStyle/>
          <a:p>
            <a:pPr algn="ctr" defTabSz="913651" fontAlgn="base">
              <a:spcBef>
                <a:spcPct val="0"/>
              </a:spcBef>
              <a:spcAft>
                <a:spcPct val="0"/>
              </a:spcAft>
            </a:pPr>
            <a:endParaRPr lang="en-US" sz="1799" spc="-5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4" name="Title 1"/>
          <p:cNvSpPr>
            <a:spLocks noGrp="1"/>
          </p:cNvSpPr>
          <p:nvPr>
            <p:ph type="title"/>
          </p:nvPr>
        </p:nvSpPr>
        <p:spPr/>
        <p:txBody>
          <a:bodyPr/>
          <a:lstStyle/>
          <a:p>
            <a:r>
              <a:rPr lang="en-US" dirty="0" smtClean="0"/>
              <a:t>Temporal. Comment </a:t>
            </a:r>
            <a:r>
              <a:rPr lang="en-US" dirty="0" err="1" smtClean="0"/>
              <a:t>ça</a:t>
            </a:r>
            <a:r>
              <a:rPr lang="en-US" dirty="0" smtClean="0"/>
              <a:t> </a:t>
            </a:r>
            <a:r>
              <a:rPr lang="en-US" dirty="0" err="1" smtClean="0"/>
              <a:t>marche</a:t>
            </a:r>
            <a:endParaRPr lang="en-US" dirty="0"/>
          </a:p>
        </p:txBody>
      </p:sp>
      <p:sp>
        <p:nvSpPr>
          <p:cNvPr id="2" name="Text Placeholder 1"/>
          <p:cNvSpPr>
            <a:spLocks noGrp="1"/>
          </p:cNvSpPr>
          <p:nvPr>
            <p:ph type="body" sz="quarter" idx="13"/>
          </p:nvPr>
        </p:nvSpPr>
        <p:spPr/>
        <p:txBody>
          <a:bodyPr/>
          <a:lstStyle/>
          <a:p>
            <a:endParaRPr lang="fr-FR"/>
          </a:p>
        </p:txBody>
      </p:sp>
      <p:sp>
        <p:nvSpPr>
          <p:cNvPr id="3" name="Text Placeholder 2"/>
          <p:cNvSpPr>
            <a:spLocks noGrp="1"/>
          </p:cNvSpPr>
          <p:nvPr>
            <p:ph type="body" sz="quarter" idx="14"/>
          </p:nvPr>
        </p:nvSpPr>
        <p:spPr/>
        <p:txBody>
          <a:bodyPr/>
          <a:lstStyle/>
          <a:p>
            <a:endParaRPr lang="fr-FR"/>
          </a:p>
        </p:txBody>
      </p:sp>
      <p:sp>
        <p:nvSpPr>
          <p:cNvPr id="7" name="Text Placeholder 6"/>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sp>
        <p:nvSpPr>
          <p:cNvPr id="5" name="TextBox 4"/>
          <p:cNvSpPr txBox="1"/>
          <p:nvPr/>
        </p:nvSpPr>
        <p:spPr>
          <a:xfrm>
            <a:off x="1236447" y="1994212"/>
            <a:ext cx="4167071" cy="634218"/>
          </a:xfrm>
          <a:prstGeom prst="rect">
            <a:avLst/>
          </a:prstGeom>
          <a:noFill/>
        </p:spPr>
        <p:txBody>
          <a:bodyPr wrap="none" lIns="182797" tIns="146238" rIns="182797" bIns="146238" rtlCol="0">
            <a:spAutoFit/>
          </a:bodyPr>
          <a:lstStyle/>
          <a:p>
            <a:pPr>
              <a:lnSpc>
                <a:spcPct val="90000"/>
              </a:lnSpc>
            </a:pPr>
            <a:r>
              <a:rPr lang="en-US" sz="2399" spc="-50" dirty="0">
                <a:solidFill>
                  <a:srgbClr val="0DBFF3"/>
                </a:solidFill>
              </a:rPr>
              <a:t>temporal table (current data)</a:t>
            </a:r>
          </a:p>
        </p:txBody>
      </p:sp>
      <p:sp>
        <p:nvSpPr>
          <p:cNvPr id="6" name="TextBox 5"/>
          <p:cNvSpPr txBox="1"/>
          <p:nvPr/>
        </p:nvSpPr>
        <p:spPr>
          <a:xfrm>
            <a:off x="7095392" y="1994212"/>
            <a:ext cx="2007677" cy="634218"/>
          </a:xfrm>
          <a:prstGeom prst="rect">
            <a:avLst/>
          </a:prstGeom>
          <a:noFill/>
        </p:spPr>
        <p:txBody>
          <a:bodyPr wrap="none" lIns="182797" tIns="146238" rIns="182797" bIns="146238" rtlCol="0">
            <a:spAutoFit/>
          </a:bodyPr>
          <a:lstStyle/>
          <a:p>
            <a:pPr>
              <a:lnSpc>
                <a:spcPct val="90000"/>
              </a:lnSpc>
            </a:pPr>
            <a:r>
              <a:rPr lang="en-US" sz="2399" spc="-50" dirty="0">
                <a:solidFill>
                  <a:srgbClr val="0DBFF3"/>
                </a:solidFill>
              </a:rPr>
              <a:t>history table</a:t>
            </a:r>
          </a:p>
        </p:txBody>
      </p:sp>
      <p:grpSp>
        <p:nvGrpSpPr>
          <p:cNvPr id="8" name="Group 7"/>
          <p:cNvGrpSpPr/>
          <p:nvPr/>
        </p:nvGrpSpPr>
        <p:grpSpPr>
          <a:xfrm>
            <a:off x="1638620" y="2734473"/>
            <a:ext cx="2463744" cy="1696382"/>
            <a:chOff x="1664814" y="2639745"/>
            <a:chExt cx="2464736" cy="1697305"/>
          </a:xfrm>
        </p:grpSpPr>
        <p:sp>
          <p:nvSpPr>
            <p:cNvPr id="9" name="Rectangle 8"/>
            <p:cNvSpPr/>
            <p:nvPr/>
          </p:nvSpPr>
          <p:spPr>
            <a:xfrm>
              <a:off x="1664814" y="2639745"/>
              <a:ext cx="2464736" cy="1697305"/>
            </a:xfrm>
            <a:prstGeom prst="rect">
              <a:avLst/>
            </a:prstGeom>
            <a:solidFill>
              <a:srgbClr val="969696"/>
            </a:solidFill>
            <a:ln w="9525" cap="flat" cmpd="sng" algn="ctr">
              <a:solidFill>
                <a:srgbClr val="EFEFEF">
                  <a:lumMod val="10000"/>
                </a:srgbClr>
              </a:solidFill>
              <a:prstDash val="solid"/>
            </a:ln>
            <a:effectLst/>
          </p:spPr>
          <p:txBody>
            <a:bodyPr rtlCol="0" anchor="ctr"/>
            <a:lstStyle/>
            <a:p>
              <a:pPr>
                <a:defRPr/>
              </a:pPr>
              <a:endParaRPr lang="en-US" sz="2399" b="1" kern="0" dirty="0">
                <a:solidFill>
                  <a:srgbClr val="EFEFEF">
                    <a:lumMod val="10000"/>
                  </a:srgbClr>
                </a:solidFill>
                <a:latin typeface="Segoe UI Light"/>
              </a:endParaRPr>
            </a:p>
          </p:txBody>
        </p:sp>
        <p:sp>
          <p:nvSpPr>
            <p:cNvPr id="10" name="Rectangle 9"/>
            <p:cNvSpPr/>
            <p:nvPr/>
          </p:nvSpPr>
          <p:spPr>
            <a:xfrm>
              <a:off x="1723809" y="3085545"/>
              <a:ext cx="2350254" cy="1187315"/>
            </a:xfrm>
            <a:prstGeom prst="rect">
              <a:avLst/>
            </a:prstGeom>
            <a:solidFill>
              <a:srgbClr val="EFEFEF"/>
            </a:solidFill>
            <a:ln w="9525" cap="flat" cmpd="sng" algn="ctr">
              <a:solidFill>
                <a:srgbClr val="EFEFEF">
                  <a:lumMod val="10000"/>
                </a:srgbClr>
              </a:solidFill>
              <a:prstDash val="solid"/>
            </a:ln>
            <a:effectLst/>
          </p:spPr>
          <p:txBody>
            <a:bodyPr rtlCol="0" anchor="ctr"/>
            <a:lstStyle/>
            <a:p>
              <a:pPr>
                <a:defRPr/>
              </a:pPr>
              <a:endParaRPr lang="en-US" sz="2399" b="1" kern="0" dirty="0">
                <a:solidFill>
                  <a:srgbClr val="EFEFEF">
                    <a:lumMod val="10000"/>
                  </a:srgbClr>
                </a:solidFill>
                <a:latin typeface="Segoe UI Light"/>
              </a:endParaRPr>
            </a:p>
          </p:txBody>
        </p:sp>
        <p:cxnSp>
          <p:nvCxnSpPr>
            <p:cNvPr id="11" name="Straight Connector 10"/>
            <p:cNvCxnSpPr/>
            <p:nvPr/>
          </p:nvCxnSpPr>
          <p:spPr>
            <a:xfrm>
              <a:off x="3290645" y="3085545"/>
              <a:ext cx="0" cy="1187315"/>
            </a:xfrm>
            <a:prstGeom prst="line">
              <a:avLst/>
            </a:prstGeom>
            <a:noFill/>
            <a:ln w="3175" cap="flat" cmpd="sng" algn="ctr">
              <a:solidFill>
                <a:srgbClr val="505050"/>
              </a:solidFill>
              <a:prstDash val="solid"/>
              <a:headEnd type="none"/>
              <a:tailEnd type="none"/>
            </a:ln>
            <a:effectLst/>
          </p:spPr>
        </p:cxnSp>
        <p:cxnSp>
          <p:nvCxnSpPr>
            <p:cNvPr id="12" name="Straight Connector 11"/>
            <p:cNvCxnSpPr/>
            <p:nvPr/>
          </p:nvCxnSpPr>
          <p:spPr>
            <a:xfrm>
              <a:off x="1723809" y="3383768"/>
              <a:ext cx="2350254" cy="6493"/>
            </a:xfrm>
            <a:prstGeom prst="line">
              <a:avLst/>
            </a:prstGeom>
            <a:noFill/>
            <a:ln w="3175" cap="flat" cmpd="sng" algn="ctr">
              <a:solidFill>
                <a:srgbClr val="505050"/>
              </a:solidFill>
              <a:prstDash val="solid"/>
              <a:headEnd type="none"/>
              <a:tailEnd type="none"/>
            </a:ln>
            <a:effectLst/>
          </p:spPr>
        </p:cxnSp>
        <p:cxnSp>
          <p:nvCxnSpPr>
            <p:cNvPr id="13" name="Straight Connector 12"/>
            <p:cNvCxnSpPr>
              <a:endCxn id="10" idx="3"/>
            </p:cNvCxnSpPr>
            <p:nvPr/>
          </p:nvCxnSpPr>
          <p:spPr>
            <a:xfrm flipV="1">
              <a:off x="1723809" y="3679203"/>
              <a:ext cx="2350254" cy="7708"/>
            </a:xfrm>
            <a:prstGeom prst="line">
              <a:avLst/>
            </a:prstGeom>
            <a:noFill/>
            <a:ln w="3175" cap="flat" cmpd="sng" algn="ctr">
              <a:solidFill>
                <a:srgbClr val="505050"/>
              </a:solidFill>
              <a:prstDash val="solid"/>
              <a:headEnd type="none"/>
              <a:tailEnd type="none"/>
            </a:ln>
            <a:effectLst/>
          </p:spPr>
        </p:cxnSp>
        <p:cxnSp>
          <p:nvCxnSpPr>
            <p:cNvPr id="14" name="Straight Connector 13"/>
            <p:cNvCxnSpPr/>
            <p:nvPr/>
          </p:nvCxnSpPr>
          <p:spPr>
            <a:xfrm>
              <a:off x="1723809" y="3981784"/>
              <a:ext cx="2350254" cy="0"/>
            </a:xfrm>
            <a:prstGeom prst="line">
              <a:avLst/>
            </a:prstGeom>
            <a:noFill/>
            <a:ln w="3175" cap="flat" cmpd="sng" algn="ctr">
              <a:solidFill>
                <a:srgbClr val="505050"/>
              </a:solidFill>
              <a:prstDash val="solid"/>
              <a:headEnd type="none"/>
              <a:tailEnd type="none"/>
            </a:ln>
            <a:effectLst/>
          </p:spPr>
        </p:cxnSp>
        <p:cxnSp>
          <p:nvCxnSpPr>
            <p:cNvPr id="15" name="Straight Connector 14"/>
            <p:cNvCxnSpPr/>
            <p:nvPr/>
          </p:nvCxnSpPr>
          <p:spPr>
            <a:xfrm flipV="1">
              <a:off x="2507227" y="3085545"/>
              <a:ext cx="0" cy="1187315"/>
            </a:xfrm>
            <a:prstGeom prst="line">
              <a:avLst/>
            </a:prstGeom>
            <a:noFill/>
            <a:ln w="3175" cap="flat" cmpd="sng" algn="ctr">
              <a:solidFill>
                <a:srgbClr val="505050"/>
              </a:solidFill>
              <a:prstDash val="solid"/>
              <a:headEnd type="none"/>
              <a:tailEnd type="none"/>
            </a:ln>
            <a:effectLst/>
          </p:spPr>
        </p:cxnSp>
      </p:grpSp>
      <p:grpSp>
        <p:nvGrpSpPr>
          <p:cNvPr id="16" name="Group 15"/>
          <p:cNvGrpSpPr/>
          <p:nvPr/>
        </p:nvGrpSpPr>
        <p:grpSpPr>
          <a:xfrm>
            <a:off x="7049691" y="2734473"/>
            <a:ext cx="2463744" cy="1696382"/>
            <a:chOff x="1664814" y="2639745"/>
            <a:chExt cx="2464736" cy="1697305"/>
          </a:xfrm>
        </p:grpSpPr>
        <p:sp>
          <p:nvSpPr>
            <p:cNvPr id="17" name="Rectangle 16"/>
            <p:cNvSpPr/>
            <p:nvPr/>
          </p:nvSpPr>
          <p:spPr>
            <a:xfrm>
              <a:off x="1664814" y="2639745"/>
              <a:ext cx="2464736" cy="1697305"/>
            </a:xfrm>
            <a:prstGeom prst="rect">
              <a:avLst/>
            </a:prstGeom>
            <a:solidFill>
              <a:srgbClr val="969696"/>
            </a:solidFill>
            <a:ln w="9525" cap="flat" cmpd="sng" algn="ctr">
              <a:solidFill>
                <a:srgbClr val="EFEFEF">
                  <a:lumMod val="10000"/>
                </a:srgbClr>
              </a:solidFill>
              <a:prstDash val="solid"/>
            </a:ln>
            <a:effectLst/>
          </p:spPr>
          <p:txBody>
            <a:bodyPr rtlCol="0" anchor="ctr"/>
            <a:lstStyle/>
            <a:p>
              <a:pPr>
                <a:defRPr/>
              </a:pPr>
              <a:endParaRPr lang="en-US" sz="2399" b="1" kern="0" dirty="0">
                <a:solidFill>
                  <a:srgbClr val="EFEFEF">
                    <a:lumMod val="10000"/>
                  </a:srgbClr>
                </a:solidFill>
                <a:latin typeface="Segoe UI Light"/>
              </a:endParaRPr>
            </a:p>
          </p:txBody>
        </p:sp>
        <p:sp>
          <p:nvSpPr>
            <p:cNvPr id="18" name="Rectangle 17"/>
            <p:cNvSpPr/>
            <p:nvPr/>
          </p:nvSpPr>
          <p:spPr>
            <a:xfrm>
              <a:off x="1723809" y="3085545"/>
              <a:ext cx="2350254" cy="1187315"/>
            </a:xfrm>
            <a:prstGeom prst="rect">
              <a:avLst/>
            </a:prstGeom>
            <a:solidFill>
              <a:srgbClr val="EFEFEF"/>
            </a:solidFill>
            <a:ln w="9525" cap="flat" cmpd="sng" algn="ctr">
              <a:solidFill>
                <a:srgbClr val="EFEFEF">
                  <a:lumMod val="10000"/>
                </a:srgbClr>
              </a:solidFill>
              <a:prstDash val="solid"/>
            </a:ln>
            <a:effectLst/>
          </p:spPr>
          <p:txBody>
            <a:bodyPr rtlCol="0" anchor="ctr"/>
            <a:lstStyle/>
            <a:p>
              <a:pPr>
                <a:defRPr/>
              </a:pPr>
              <a:endParaRPr lang="en-US" sz="2399" b="1" kern="0" dirty="0">
                <a:solidFill>
                  <a:srgbClr val="EFEFEF">
                    <a:lumMod val="10000"/>
                  </a:srgbClr>
                </a:solidFill>
                <a:latin typeface="Segoe UI Light"/>
              </a:endParaRPr>
            </a:p>
          </p:txBody>
        </p:sp>
        <p:cxnSp>
          <p:nvCxnSpPr>
            <p:cNvPr id="19" name="Straight Connector 18"/>
            <p:cNvCxnSpPr/>
            <p:nvPr/>
          </p:nvCxnSpPr>
          <p:spPr>
            <a:xfrm>
              <a:off x="3290645" y="3085545"/>
              <a:ext cx="0" cy="1187315"/>
            </a:xfrm>
            <a:prstGeom prst="line">
              <a:avLst/>
            </a:prstGeom>
            <a:noFill/>
            <a:ln w="3175" cap="flat" cmpd="sng" algn="ctr">
              <a:solidFill>
                <a:srgbClr val="505050"/>
              </a:solidFill>
              <a:prstDash val="solid"/>
              <a:headEnd type="none"/>
              <a:tailEnd type="none"/>
            </a:ln>
            <a:effectLst/>
          </p:spPr>
        </p:cxnSp>
        <p:cxnSp>
          <p:nvCxnSpPr>
            <p:cNvPr id="20" name="Straight Connector 19"/>
            <p:cNvCxnSpPr/>
            <p:nvPr/>
          </p:nvCxnSpPr>
          <p:spPr>
            <a:xfrm>
              <a:off x="1723809" y="3383768"/>
              <a:ext cx="2350254" cy="6493"/>
            </a:xfrm>
            <a:prstGeom prst="line">
              <a:avLst/>
            </a:prstGeom>
            <a:noFill/>
            <a:ln w="3175" cap="flat" cmpd="sng" algn="ctr">
              <a:solidFill>
                <a:srgbClr val="505050"/>
              </a:solidFill>
              <a:prstDash val="solid"/>
              <a:headEnd type="none"/>
              <a:tailEnd type="none"/>
            </a:ln>
            <a:effectLst/>
          </p:spPr>
        </p:cxnSp>
        <p:cxnSp>
          <p:nvCxnSpPr>
            <p:cNvPr id="21" name="Straight Connector 20"/>
            <p:cNvCxnSpPr>
              <a:endCxn id="18" idx="3"/>
            </p:cNvCxnSpPr>
            <p:nvPr/>
          </p:nvCxnSpPr>
          <p:spPr>
            <a:xfrm flipV="1">
              <a:off x="1723809" y="3679203"/>
              <a:ext cx="2350254" cy="7708"/>
            </a:xfrm>
            <a:prstGeom prst="line">
              <a:avLst/>
            </a:prstGeom>
            <a:noFill/>
            <a:ln w="3175" cap="flat" cmpd="sng" algn="ctr">
              <a:solidFill>
                <a:srgbClr val="505050"/>
              </a:solidFill>
              <a:prstDash val="solid"/>
              <a:headEnd type="none"/>
              <a:tailEnd type="none"/>
            </a:ln>
            <a:effectLst/>
          </p:spPr>
        </p:cxnSp>
        <p:cxnSp>
          <p:nvCxnSpPr>
            <p:cNvPr id="22" name="Straight Connector 21"/>
            <p:cNvCxnSpPr/>
            <p:nvPr/>
          </p:nvCxnSpPr>
          <p:spPr>
            <a:xfrm>
              <a:off x="1723809" y="3981784"/>
              <a:ext cx="2350254" cy="0"/>
            </a:xfrm>
            <a:prstGeom prst="line">
              <a:avLst/>
            </a:prstGeom>
            <a:noFill/>
            <a:ln w="3175" cap="flat" cmpd="sng" algn="ctr">
              <a:solidFill>
                <a:srgbClr val="505050"/>
              </a:solidFill>
              <a:prstDash val="solid"/>
              <a:headEnd type="none"/>
              <a:tailEnd type="none"/>
            </a:ln>
            <a:effectLst/>
          </p:spPr>
        </p:cxnSp>
        <p:cxnSp>
          <p:nvCxnSpPr>
            <p:cNvPr id="23" name="Straight Connector 22"/>
            <p:cNvCxnSpPr/>
            <p:nvPr/>
          </p:nvCxnSpPr>
          <p:spPr>
            <a:xfrm flipV="1">
              <a:off x="2507227" y="3085545"/>
              <a:ext cx="0" cy="1187315"/>
            </a:xfrm>
            <a:prstGeom prst="line">
              <a:avLst/>
            </a:prstGeom>
            <a:noFill/>
            <a:ln w="3175" cap="flat" cmpd="sng" algn="ctr">
              <a:solidFill>
                <a:srgbClr val="505050"/>
              </a:solidFill>
              <a:prstDash val="solid"/>
              <a:headEnd type="none"/>
              <a:tailEnd type="none"/>
            </a:ln>
            <a:effectLst/>
          </p:spPr>
        </p:cxnSp>
      </p:grpSp>
      <p:grpSp>
        <p:nvGrpSpPr>
          <p:cNvPr id="24" name="Group 23"/>
          <p:cNvGrpSpPr/>
          <p:nvPr/>
        </p:nvGrpSpPr>
        <p:grpSpPr>
          <a:xfrm>
            <a:off x="8640106" y="3520430"/>
            <a:ext cx="931386" cy="939088"/>
            <a:chOff x="8569939" y="2535661"/>
            <a:chExt cx="1096861" cy="1106090"/>
          </a:xfrm>
        </p:grpSpPr>
        <p:sp>
          <p:nvSpPr>
            <p:cNvPr id="25" name="Oval 24"/>
            <p:cNvSpPr/>
            <p:nvPr/>
          </p:nvSpPr>
          <p:spPr bwMode="auto">
            <a:xfrm>
              <a:off x="8569939" y="2537951"/>
              <a:ext cx="1095187" cy="1095187"/>
            </a:xfrm>
            <a:prstGeom prst="ellipse">
              <a:avLst/>
            </a:prstGeom>
            <a:solidFill>
              <a:srgbClr val="EFEFEF"/>
            </a:solidFill>
            <a:ln w="63500" cap="flat" cmpd="sng" algn="ctr">
              <a:solidFill>
                <a:srgbClr val="505050"/>
              </a:solidFill>
              <a:prstDash val="solid"/>
              <a:headEnd type="none" w="med" len="med"/>
              <a:tailEnd type="none" w="med" len="med"/>
            </a:ln>
            <a:effectLst/>
          </p:spPr>
          <p:txBody>
            <a:bodyPr rot="0" spcFirstLastPara="0" vertOverflow="overflow" horzOverflow="overflow" vert="horz" wrap="square" lIns="89606" tIns="44802" rIns="89606" bIns="44802" numCol="1" spcCol="0" rtlCol="0" fromWordArt="0" anchor="ctr" anchorCtr="0" forceAA="0" compatLnSpc="1">
              <a:prstTxWarp prst="textNoShape">
                <a:avLst/>
              </a:prstTxWarp>
              <a:noAutofit/>
            </a:bodyPr>
            <a:lstStyle/>
            <a:p>
              <a:pPr algn="ctr" defTabSz="913651" fontAlgn="base">
                <a:lnSpc>
                  <a:spcPct val="90000"/>
                </a:lnSpc>
                <a:spcBef>
                  <a:spcPct val="0"/>
                </a:spcBef>
                <a:spcAft>
                  <a:spcPct val="0"/>
                </a:spcAft>
                <a:defRPr/>
              </a:pPr>
              <a:endParaRPr lang="en-US" sz="1999" kern="0" spc="-50" dirty="0">
                <a:solidFill>
                  <a:srgbClr val="FFFFFF"/>
                </a:solidFill>
              </a:endParaRPr>
            </a:p>
          </p:txBody>
        </p:sp>
        <p:cxnSp>
          <p:nvCxnSpPr>
            <p:cNvPr id="26" name="Straight Connector 25"/>
            <p:cNvCxnSpPr/>
            <p:nvPr/>
          </p:nvCxnSpPr>
          <p:spPr>
            <a:xfrm flipH="1" flipV="1">
              <a:off x="8888038" y="2930591"/>
              <a:ext cx="229496" cy="161725"/>
            </a:xfrm>
            <a:prstGeom prst="line">
              <a:avLst/>
            </a:prstGeom>
            <a:noFill/>
            <a:ln w="57150" cap="rnd" cmpd="sng" algn="ctr">
              <a:solidFill>
                <a:srgbClr val="505050"/>
              </a:solidFill>
              <a:prstDash val="solid"/>
              <a:headEnd type="oval" w="sm" len="sm"/>
              <a:tailEnd type="none" w="sm" len="sm"/>
            </a:ln>
            <a:effectLst/>
          </p:spPr>
        </p:cxnSp>
        <p:cxnSp>
          <p:nvCxnSpPr>
            <p:cNvPr id="27" name="Straight Connector 26"/>
            <p:cNvCxnSpPr/>
            <p:nvPr/>
          </p:nvCxnSpPr>
          <p:spPr>
            <a:xfrm flipV="1">
              <a:off x="9117533" y="2989543"/>
              <a:ext cx="231169" cy="102774"/>
            </a:xfrm>
            <a:prstGeom prst="line">
              <a:avLst/>
            </a:prstGeom>
            <a:noFill/>
            <a:ln w="38100" cap="rnd" cmpd="sng" algn="ctr">
              <a:solidFill>
                <a:srgbClr val="505050"/>
              </a:solidFill>
              <a:prstDash val="solid"/>
              <a:headEnd type="oval" w="sm" len="sm"/>
              <a:tailEnd type="none" w="sm" len="sm"/>
            </a:ln>
            <a:effectLst/>
          </p:spPr>
        </p:cxnSp>
        <p:cxnSp>
          <p:nvCxnSpPr>
            <p:cNvPr id="28" name="Straight Connector 27"/>
            <p:cNvCxnSpPr>
              <a:stCxn id="25" idx="2"/>
            </p:cNvCxnSpPr>
            <p:nvPr/>
          </p:nvCxnSpPr>
          <p:spPr>
            <a:xfrm flipV="1">
              <a:off x="8569939" y="3085544"/>
              <a:ext cx="148611" cy="1"/>
            </a:xfrm>
            <a:prstGeom prst="line">
              <a:avLst/>
            </a:prstGeom>
            <a:noFill/>
            <a:ln w="63500" cap="flat" cmpd="sng" algn="ctr">
              <a:solidFill>
                <a:srgbClr val="505050"/>
              </a:solidFill>
              <a:prstDash val="solid"/>
              <a:headEnd type="none"/>
              <a:tailEnd type="none"/>
            </a:ln>
            <a:effectLst/>
          </p:spPr>
        </p:cxnSp>
        <p:cxnSp>
          <p:nvCxnSpPr>
            <p:cNvPr id="29" name="Straight Connector 28"/>
            <p:cNvCxnSpPr/>
            <p:nvPr/>
          </p:nvCxnSpPr>
          <p:spPr>
            <a:xfrm>
              <a:off x="9117532" y="2535661"/>
              <a:ext cx="0" cy="152603"/>
            </a:xfrm>
            <a:prstGeom prst="line">
              <a:avLst/>
            </a:prstGeom>
            <a:noFill/>
            <a:ln w="63500" cap="flat" cmpd="sng" algn="ctr">
              <a:solidFill>
                <a:srgbClr val="505050"/>
              </a:solidFill>
              <a:prstDash val="solid"/>
              <a:headEnd type="none"/>
              <a:tailEnd type="none"/>
            </a:ln>
            <a:effectLst/>
          </p:spPr>
        </p:cxnSp>
        <p:cxnSp>
          <p:nvCxnSpPr>
            <p:cNvPr id="30" name="Straight Connector 29"/>
            <p:cNvCxnSpPr/>
            <p:nvPr/>
          </p:nvCxnSpPr>
          <p:spPr>
            <a:xfrm flipV="1">
              <a:off x="9518189" y="3092316"/>
              <a:ext cx="148611" cy="1"/>
            </a:xfrm>
            <a:prstGeom prst="line">
              <a:avLst/>
            </a:prstGeom>
            <a:noFill/>
            <a:ln w="63500" cap="flat" cmpd="sng" algn="ctr">
              <a:solidFill>
                <a:srgbClr val="505050"/>
              </a:solidFill>
              <a:prstDash val="solid"/>
              <a:headEnd type="none"/>
              <a:tailEnd type="none"/>
            </a:ln>
            <a:effectLst/>
          </p:spPr>
        </p:cxnSp>
        <p:cxnSp>
          <p:nvCxnSpPr>
            <p:cNvPr id="31" name="Straight Connector 30"/>
            <p:cNvCxnSpPr/>
            <p:nvPr/>
          </p:nvCxnSpPr>
          <p:spPr>
            <a:xfrm>
              <a:off x="9117532" y="3489148"/>
              <a:ext cx="0" cy="152603"/>
            </a:xfrm>
            <a:prstGeom prst="line">
              <a:avLst/>
            </a:prstGeom>
            <a:noFill/>
            <a:ln w="63500" cap="flat" cmpd="sng" algn="ctr">
              <a:solidFill>
                <a:srgbClr val="505050"/>
              </a:solidFill>
              <a:prstDash val="solid"/>
              <a:headEnd type="none"/>
              <a:tailEnd type="none"/>
            </a:ln>
            <a:effectLst/>
          </p:spPr>
        </p:cxnSp>
      </p:grpSp>
      <p:grpSp>
        <p:nvGrpSpPr>
          <p:cNvPr id="32" name="Group 31"/>
          <p:cNvGrpSpPr/>
          <p:nvPr/>
        </p:nvGrpSpPr>
        <p:grpSpPr>
          <a:xfrm>
            <a:off x="7259916" y="3767182"/>
            <a:ext cx="438548" cy="541022"/>
            <a:chOff x="5223802" y="2888228"/>
            <a:chExt cx="705149" cy="931966"/>
          </a:xfrm>
        </p:grpSpPr>
        <p:sp>
          <p:nvSpPr>
            <p:cNvPr id="33" name="Rounded Rectangle 32"/>
            <p:cNvSpPr/>
            <p:nvPr/>
          </p:nvSpPr>
          <p:spPr bwMode="auto">
            <a:xfrm>
              <a:off x="5223802" y="3222179"/>
              <a:ext cx="705149" cy="598015"/>
            </a:xfrm>
            <a:prstGeom prst="roundRect">
              <a:avLst>
                <a:gd name="adj" fmla="val 10842"/>
              </a:avLst>
            </a:prstGeom>
            <a:solidFill>
              <a:srgbClr val="505050"/>
            </a:solidFill>
            <a:ln w="10795" cap="flat" cmpd="sng" algn="ctr">
              <a:noFill/>
              <a:prstDash val="solid"/>
              <a:headEnd type="none" w="med" len="med"/>
              <a:tailEnd type="none" w="med" len="med"/>
            </a:ln>
            <a:effectLst/>
          </p:spPr>
          <p:txBody>
            <a:bodyPr rot="0" spcFirstLastPara="0" vertOverflow="overflow" horzOverflow="overflow" vert="horz" wrap="square" lIns="89606" tIns="44802" rIns="89606" bIns="44802" numCol="1" spcCol="0" rtlCol="0" fromWordArt="0" anchor="ctr" anchorCtr="0" forceAA="0" compatLnSpc="1">
              <a:prstTxWarp prst="textNoShape">
                <a:avLst/>
              </a:prstTxWarp>
              <a:noAutofit/>
            </a:bodyPr>
            <a:lstStyle/>
            <a:p>
              <a:pPr algn="ctr" defTabSz="913651" fontAlgn="base">
                <a:lnSpc>
                  <a:spcPct val="90000"/>
                </a:lnSpc>
                <a:spcBef>
                  <a:spcPct val="0"/>
                </a:spcBef>
                <a:spcAft>
                  <a:spcPct val="0"/>
                </a:spcAft>
                <a:defRPr/>
              </a:pPr>
              <a:endParaRPr lang="en-US" sz="1999" kern="0" spc="-50" dirty="0">
                <a:solidFill>
                  <a:srgbClr val="FFFFFF"/>
                </a:solidFill>
              </a:endParaRPr>
            </a:p>
          </p:txBody>
        </p:sp>
        <p:sp>
          <p:nvSpPr>
            <p:cNvPr id="34" name="Block Arc 33"/>
            <p:cNvSpPr/>
            <p:nvPr/>
          </p:nvSpPr>
          <p:spPr bwMode="auto">
            <a:xfrm>
              <a:off x="5346829" y="2888228"/>
              <a:ext cx="459094" cy="601366"/>
            </a:xfrm>
            <a:prstGeom prst="blockArc">
              <a:avLst>
                <a:gd name="adj1" fmla="val 8823764"/>
                <a:gd name="adj2" fmla="val 2149516"/>
                <a:gd name="adj3" fmla="val 18311"/>
              </a:avLst>
            </a:prstGeom>
            <a:solidFill>
              <a:srgbClr val="505050"/>
            </a:solidFill>
            <a:ln w="10795" cap="flat" cmpd="sng" algn="ctr">
              <a:noFill/>
              <a:prstDash val="solid"/>
              <a:headEnd type="none" w="med" len="med"/>
              <a:tailEnd type="none" w="med" len="med"/>
            </a:ln>
            <a:effectLst/>
          </p:spPr>
          <p:txBody>
            <a:bodyPr rot="0" spcFirstLastPara="0" vertOverflow="overflow" horzOverflow="overflow" vert="horz" wrap="square" lIns="89606" tIns="44802" rIns="89606" bIns="44802" numCol="1" spcCol="0" rtlCol="0" fromWordArt="0" anchor="ctr" anchorCtr="0" forceAA="0" compatLnSpc="1">
              <a:prstTxWarp prst="textNoShape">
                <a:avLst/>
              </a:prstTxWarp>
              <a:noAutofit/>
            </a:bodyPr>
            <a:lstStyle/>
            <a:p>
              <a:pPr algn="ctr" defTabSz="913651" fontAlgn="base">
                <a:lnSpc>
                  <a:spcPct val="90000"/>
                </a:lnSpc>
                <a:spcBef>
                  <a:spcPct val="0"/>
                </a:spcBef>
                <a:spcAft>
                  <a:spcPct val="0"/>
                </a:spcAft>
                <a:defRPr/>
              </a:pPr>
              <a:endParaRPr lang="en-US" sz="1999" kern="0" spc="-50" dirty="0">
                <a:solidFill>
                  <a:srgbClr val="FFFFFF"/>
                </a:solidFill>
              </a:endParaRPr>
            </a:p>
          </p:txBody>
        </p:sp>
      </p:grpSp>
      <p:sp>
        <p:nvSpPr>
          <p:cNvPr id="35" name="Right Arrow 34"/>
          <p:cNvSpPr/>
          <p:nvPr/>
        </p:nvSpPr>
        <p:spPr bwMode="auto">
          <a:xfrm rot="5400000">
            <a:off x="1970090" y="5096767"/>
            <a:ext cx="1678386" cy="307186"/>
          </a:xfrm>
          <a:prstGeom prst="rightArrow">
            <a:avLst/>
          </a:prstGeom>
          <a:solidFill>
            <a:srgbClr val="505050"/>
          </a:solidFill>
          <a:ln w="25400" cap="flat" cmpd="sng" algn="ctr">
            <a:solidFill>
              <a:schemeClr val="tx1"/>
            </a:solidFill>
            <a:prstDash val="solid"/>
            <a:headEnd type="none" w="med" len="med"/>
            <a:tailEnd type="none" w="med" len="med"/>
          </a:ln>
          <a:effectLst/>
        </p:spPr>
        <p:txBody>
          <a:bodyPr rot="0" spcFirstLastPara="0" vertOverflow="overflow" horzOverflow="overflow" vert="horz" wrap="square" lIns="91398" tIns="45699" rIns="91398" bIns="45699" numCol="1" spcCol="0" rtlCol="0" fromWordArt="0" anchor="ctr" anchorCtr="0" forceAA="0" compatLnSpc="1">
            <a:prstTxWarp prst="textNoShape">
              <a:avLst/>
            </a:prstTxWarp>
            <a:noAutofit/>
          </a:bodyPr>
          <a:lstStyle/>
          <a:p>
            <a:pPr algn="ctr" defTabSz="913651" fontAlgn="base">
              <a:lnSpc>
                <a:spcPct val="90000"/>
              </a:lnSpc>
              <a:spcBef>
                <a:spcPct val="0"/>
              </a:spcBef>
              <a:spcAft>
                <a:spcPct val="0"/>
              </a:spcAft>
              <a:defRPr/>
            </a:pPr>
            <a:endParaRPr lang="en-US" sz="1999" kern="0" spc="-50" dirty="0">
              <a:solidFill>
                <a:srgbClr val="FFFFFF"/>
              </a:solidFill>
            </a:endParaRPr>
          </a:p>
        </p:txBody>
      </p:sp>
      <p:sp>
        <p:nvSpPr>
          <p:cNvPr id="38" name="TextBox 37"/>
          <p:cNvSpPr txBox="1"/>
          <p:nvPr/>
        </p:nvSpPr>
        <p:spPr>
          <a:xfrm>
            <a:off x="81492" y="5298847"/>
            <a:ext cx="2574664" cy="1311988"/>
          </a:xfrm>
          <a:prstGeom prst="rect">
            <a:avLst/>
          </a:prstGeom>
          <a:noFill/>
        </p:spPr>
        <p:txBody>
          <a:bodyPr wrap="none" lIns="182797" tIns="146238" rIns="182797" bIns="146238" rtlCol="0">
            <a:spAutoFit/>
          </a:bodyPr>
          <a:lstStyle/>
          <a:p>
            <a:pPr>
              <a:lnSpc>
                <a:spcPct val="90000"/>
              </a:lnSpc>
              <a:defRPr/>
            </a:pPr>
            <a:r>
              <a:rPr lang="en-US" sz="2399" b="1" kern="0" spc="-50" dirty="0"/>
              <a:t>Regular queries</a:t>
            </a:r>
          </a:p>
          <a:p>
            <a:pPr>
              <a:lnSpc>
                <a:spcPct val="90000"/>
              </a:lnSpc>
              <a:defRPr/>
            </a:pPr>
            <a:r>
              <a:rPr lang="en-US" sz="2399" b="1" kern="0" spc="-50" dirty="0"/>
              <a:t>(current data) </a:t>
            </a:r>
            <a:br>
              <a:rPr lang="en-US" sz="2399" b="1" kern="0" spc="-50" dirty="0"/>
            </a:br>
            <a:endParaRPr lang="en-US" sz="2399" b="1" kern="0" spc="-50" dirty="0"/>
          </a:p>
        </p:txBody>
      </p:sp>
      <p:sp>
        <p:nvSpPr>
          <p:cNvPr id="39" name="TextBox 38"/>
          <p:cNvSpPr txBox="1"/>
          <p:nvPr/>
        </p:nvSpPr>
        <p:spPr>
          <a:xfrm>
            <a:off x="4000028" y="3833559"/>
            <a:ext cx="3071679" cy="973103"/>
          </a:xfrm>
          <a:prstGeom prst="rect">
            <a:avLst/>
          </a:prstGeom>
          <a:noFill/>
        </p:spPr>
        <p:txBody>
          <a:bodyPr wrap="none" lIns="182797" tIns="146238" rIns="182797" bIns="146238" rtlCol="0">
            <a:spAutoFit/>
          </a:bodyPr>
          <a:lstStyle/>
          <a:p>
            <a:pPr algn="ctr">
              <a:lnSpc>
                <a:spcPct val="90000"/>
              </a:lnSpc>
              <a:defRPr/>
            </a:pPr>
            <a:r>
              <a:rPr lang="en-US" sz="2399" b="1" kern="0" spc="-50" dirty="0"/>
              <a:t>* Include historical </a:t>
            </a:r>
            <a:br>
              <a:rPr lang="en-US" sz="2399" b="1" kern="0" spc="-50" dirty="0"/>
            </a:br>
            <a:r>
              <a:rPr lang="en-US" sz="2399" b="1" kern="0" spc="-50" dirty="0"/>
              <a:t>versions </a:t>
            </a:r>
          </a:p>
        </p:txBody>
      </p:sp>
      <p:sp>
        <p:nvSpPr>
          <p:cNvPr id="44" name="TextBox 43"/>
          <p:cNvSpPr txBox="1"/>
          <p:nvPr/>
        </p:nvSpPr>
        <p:spPr>
          <a:xfrm>
            <a:off x="4871182" y="5401841"/>
            <a:ext cx="3052060" cy="1311988"/>
          </a:xfrm>
          <a:prstGeom prst="rect">
            <a:avLst/>
          </a:prstGeom>
          <a:noFill/>
        </p:spPr>
        <p:txBody>
          <a:bodyPr wrap="none" lIns="182797" tIns="146238" rIns="182797" bIns="146238" rtlCol="0">
            <a:spAutoFit/>
          </a:bodyPr>
          <a:lstStyle/>
          <a:p>
            <a:pPr>
              <a:lnSpc>
                <a:spcPct val="90000"/>
              </a:lnSpc>
              <a:defRPr/>
            </a:pPr>
            <a:r>
              <a:rPr lang="en-US" sz="2399" b="1" kern="0" spc="-50" dirty="0">
                <a:solidFill>
                  <a:srgbClr val="0DBFF3"/>
                </a:solidFill>
              </a:rPr>
              <a:t>Temporal queries *</a:t>
            </a:r>
          </a:p>
          <a:p>
            <a:pPr>
              <a:lnSpc>
                <a:spcPct val="90000"/>
              </a:lnSpc>
              <a:defRPr/>
            </a:pPr>
            <a:r>
              <a:rPr lang="en-US" sz="2399" b="1" kern="0" spc="-50" dirty="0">
                <a:solidFill>
                  <a:srgbClr val="0DBFF3"/>
                </a:solidFill>
              </a:rPr>
              <a:t>(time travel, etc.)</a:t>
            </a:r>
            <a:r>
              <a:rPr lang="en-US" sz="2399" b="1" kern="0" spc="-50" dirty="0">
                <a:solidFill>
                  <a:schemeClr val="bg1">
                    <a:lumMod val="50000"/>
                  </a:schemeClr>
                </a:solidFill>
              </a:rPr>
              <a:t/>
            </a:r>
            <a:br>
              <a:rPr lang="en-US" sz="2399" b="1" kern="0" spc="-50" dirty="0">
                <a:solidFill>
                  <a:schemeClr val="bg1">
                    <a:lumMod val="50000"/>
                  </a:schemeClr>
                </a:solidFill>
              </a:rPr>
            </a:br>
            <a:endParaRPr lang="en-US" sz="2399" b="1" kern="0" spc="-50" dirty="0">
              <a:solidFill>
                <a:schemeClr val="bg1">
                  <a:lumMod val="50000"/>
                </a:schemeClr>
              </a:solidFill>
            </a:endParaRPr>
          </a:p>
        </p:txBody>
      </p:sp>
      <p:sp>
        <p:nvSpPr>
          <p:cNvPr id="46" name="Bent Arrow 45"/>
          <p:cNvSpPr/>
          <p:nvPr/>
        </p:nvSpPr>
        <p:spPr bwMode="auto">
          <a:xfrm rot="10800000">
            <a:off x="2912652" y="4411166"/>
            <a:ext cx="5590666" cy="617900"/>
          </a:xfrm>
          <a:prstGeom prst="bentArrow">
            <a:avLst/>
          </a:prstGeom>
          <a:solidFill>
            <a:schemeClr val="bg2">
              <a:lumMod val="50000"/>
            </a:schemeClr>
          </a:solidFill>
          <a:ln w="25400">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5" rIns="0" bIns="46615" numCol="1" rtlCol="0" anchor="ctr" anchorCtr="0" compatLnSpc="1">
            <a:prstTxWarp prst="textNoShape">
              <a:avLst/>
            </a:prstTxWarp>
          </a:bodyPr>
          <a:lstStyle/>
          <a:p>
            <a:pPr algn="ctr" defTabSz="931942" fontAlgn="base">
              <a:spcBef>
                <a:spcPct val="0"/>
              </a:spcBef>
              <a:spcAft>
                <a:spcPct val="0"/>
              </a:spcAft>
            </a:pPr>
            <a:endParaRPr lang="en-US" sz="1999" dirty="0">
              <a:gradFill>
                <a:gsLst>
                  <a:gs pos="16814">
                    <a:srgbClr val="FFFFFF"/>
                  </a:gs>
                  <a:gs pos="46000">
                    <a:srgbClr val="FFFFFF"/>
                  </a:gs>
                </a:gsLst>
                <a:lin ang="5400000" scaled="0"/>
              </a:gradFill>
            </a:endParaRPr>
          </a:p>
        </p:txBody>
      </p:sp>
      <p:sp>
        <p:nvSpPr>
          <p:cNvPr id="45" name="Freeform 44"/>
          <p:cNvSpPr/>
          <p:nvPr/>
        </p:nvSpPr>
        <p:spPr>
          <a:xfrm>
            <a:off x="3521814" y="5713083"/>
            <a:ext cx="405781" cy="356268"/>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rgbClr val="FFC000"/>
          </a:solidFill>
          <a:ln w="19050" cap="flat" cmpd="sng" algn="ctr">
            <a:noFill/>
            <a:prstDash val="solid"/>
          </a:ln>
          <a:effectLst/>
        </p:spPr>
        <p:txBody>
          <a:bodyPr lIns="91398" tIns="45699" rIns="91398" bIns="45699" rtlCol="0" anchor="ct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lgn="ctr" defTabSz="913504" fontAlgn="auto">
              <a:spcBef>
                <a:spcPts val="0"/>
              </a:spcBef>
              <a:spcAft>
                <a:spcPts val="0"/>
              </a:spcAft>
              <a:defRPr/>
            </a:pPr>
            <a:endParaRPr lang="en-US" sz="1799" kern="0" dirty="0">
              <a:solidFill>
                <a:sysClr val="window" lastClr="FFFFFF"/>
              </a:solidFill>
              <a:latin typeface="Arial"/>
            </a:endParaRPr>
          </a:p>
        </p:txBody>
      </p:sp>
      <p:sp>
        <p:nvSpPr>
          <p:cNvPr id="49" name="Freeform 48"/>
          <p:cNvSpPr>
            <a:spLocks noEditPoints="1"/>
          </p:cNvSpPr>
          <p:nvPr/>
        </p:nvSpPr>
        <p:spPr bwMode="auto">
          <a:xfrm>
            <a:off x="3156464" y="5687108"/>
            <a:ext cx="313614" cy="398993"/>
          </a:xfrm>
          <a:custGeom>
            <a:avLst/>
            <a:gdLst>
              <a:gd name="T0" fmla="*/ 57 w 290"/>
              <a:gd name="T1" fmla="*/ 95 h 369"/>
              <a:gd name="T2" fmla="*/ 222 w 290"/>
              <a:gd name="T3" fmla="*/ 95 h 369"/>
              <a:gd name="T4" fmla="*/ 222 w 290"/>
              <a:gd name="T5" fmla="*/ 108 h 369"/>
              <a:gd name="T6" fmla="*/ 57 w 290"/>
              <a:gd name="T7" fmla="*/ 108 h 369"/>
              <a:gd name="T8" fmla="*/ 57 w 290"/>
              <a:gd name="T9" fmla="*/ 95 h 369"/>
              <a:gd name="T10" fmla="*/ 57 w 290"/>
              <a:gd name="T11" fmla="*/ 150 h 369"/>
              <a:gd name="T12" fmla="*/ 222 w 290"/>
              <a:gd name="T13" fmla="*/ 150 h 369"/>
              <a:gd name="T14" fmla="*/ 222 w 290"/>
              <a:gd name="T15" fmla="*/ 139 h 369"/>
              <a:gd name="T16" fmla="*/ 57 w 290"/>
              <a:gd name="T17" fmla="*/ 139 h 369"/>
              <a:gd name="T18" fmla="*/ 57 w 290"/>
              <a:gd name="T19" fmla="*/ 150 h 369"/>
              <a:gd name="T20" fmla="*/ 57 w 290"/>
              <a:gd name="T21" fmla="*/ 194 h 369"/>
              <a:gd name="T22" fmla="*/ 222 w 290"/>
              <a:gd name="T23" fmla="*/ 194 h 369"/>
              <a:gd name="T24" fmla="*/ 222 w 290"/>
              <a:gd name="T25" fmla="*/ 181 h 369"/>
              <a:gd name="T26" fmla="*/ 57 w 290"/>
              <a:gd name="T27" fmla="*/ 181 h 369"/>
              <a:gd name="T28" fmla="*/ 57 w 290"/>
              <a:gd name="T29" fmla="*/ 194 h 369"/>
              <a:gd name="T30" fmla="*/ 57 w 290"/>
              <a:gd name="T31" fmla="*/ 236 h 369"/>
              <a:gd name="T32" fmla="*/ 222 w 290"/>
              <a:gd name="T33" fmla="*/ 236 h 369"/>
              <a:gd name="T34" fmla="*/ 222 w 290"/>
              <a:gd name="T35" fmla="*/ 223 h 369"/>
              <a:gd name="T36" fmla="*/ 57 w 290"/>
              <a:gd name="T37" fmla="*/ 223 h 369"/>
              <a:gd name="T38" fmla="*/ 57 w 290"/>
              <a:gd name="T39" fmla="*/ 236 h 369"/>
              <a:gd name="T40" fmla="*/ 290 w 290"/>
              <a:gd name="T41" fmla="*/ 90 h 369"/>
              <a:gd name="T42" fmla="*/ 290 w 290"/>
              <a:gd name="T43" fmla="*/ 369 h 369"/>
              <a:gd name="T44" fmla="*/ 0 w 290"/>
              <a:gd name="T45" fmla="*/ 369 h 369"/>
              <a:gd name="T46" fmla="*/ 0 w 290"/>
              <a:gd name="T47" fmla="*/ 1 h 369"/>
              <a:gd name="T48" fmla="*/ 216 w 290"/>
              <a:gd name="T49" fmla="*/ 1 h 369"/>
              <a:gd name="T50" fmla="*/ 216 w 290"/>
              <a:gd name="T51" fmla="*/ 0 h 369"/>
              <a:gd name="T52" fmla="*/ 290 w 290"/>
              <a:gd name="T53" fmla="*/ 90 h 369"/>
              <a:gd name="T54" fmla="*/ 271 w 290"/>
              <a:gd name="T55" fmla="*/ 79 h 369"/>
              <a:gd name="T56" fmla="*/ 214 w 290"/>
              <a:gd name="T57" fmla="*/ 79 h 369"/>
              <a:gd name="T58" fmla="*/ 216 w 290"/>
              <a:gd name="T59" fmla="*/ 21 h 369"/>
              <a:gd name="T60" fmla="*/ 20 w 290"/>
              <a:gd name="T61" fmla="*/ 21 h 369"/>
              <a:gd name="T62" fmla="*/ 20 w 290"/>
              <a:gd name="T63" fmla="*/ 349 h 369"/>
              <a:gd name="T64" fmla="*/ 271 w 290"/>
              <a:gd name="T65" fmla="*/ 349 h 369"/>
              <a:gd name="T66" fmla="*/ 271 w 290"/>
              <a:gd name="T67" fmla="*/ 7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0" h="369">
                <a:moveTo>
                  <a:pt x="57" y="95"/>
                </a:moveTo>
                <a:lnTo>
                  <a:pt x="222" y="95"/>
                </a:lnTo>
                <a:lnTo>
                  <a:pt x="222" y="108"/>
                </a:lnTo>
                <a:lnTo>
                  <a:pt x="57" y="108"/>
                </a:lnTo>
                <a:lnTo>
                  <a:pt x="57" y="95"/>
                </a:lnTo>
                <a:close/>
                <a:moveTo>
                  <a:pt x="57" y="150"/>
                </a:moveTo>
                <a:lnTo>
                  <a:pt x="222" y="150"/>
                </a:lnTo>
                <a:lnTo>
                  <a:pt x="222" y="139"/>
                </a:lnTo>
                <a:lnTo>
                  <a:pt x="57" y="139"/>
                </a:lnTo>
                <a:lnTo>
                  <a:pt x="57" y="150"/>
                </a:lnTo>
                <a:close/>
                <a:moveTo>
                  <a:pt x="57" y="194"/>
                </a:moveTo>
                <a:lnTo>
                  <a:pt x="222" y="194"/>
                </a:lnTo>
                <a:lnTo>
                  <a:pt x="222" y="181"/>
                </a:lnTo>
                <a:lnTo>
                  <a:pt x="57" y="181"/>
                </a:lnTo>
                <a:lnTo>
                  <a:pt x="57" y="194"/>
                </a:lnTo>
                <a:close/>
                <a:moveTo>
                  <a:pt x="57" y="236"/>
                </a:moveTo>
                <a:lnTo>
                  <a:pt x="222" y="236"/>
                </a:lnTo>
                <a:lnTo>
                  <a:pt x="222" y="223"/>
                </a:lnTo>
                <a:lnTo>
                  <a:pt x="57" y="223"/>
                </a:lnTo>
                <a:lnTo>
                  <a:pt x="57" y="236"/>
                </a:lnTo>
                <a:close/>
                <a:moveTo>
                  <a:pt x="290" y="90"/>
                </a:moveTo>
                <a:lnTo>
                  <a:pt x="290" y="369"/>
                </a:lnTo>
                <a:lnTo>
                  <a:pt x="0" y="369"/>
                </a:lnTo>
                <a:lnTo>
                  <a:pt x="0" y="1"/>
                </a:lnTo>
                <a:lnTo>
                  <a:pt x="216" y="1"/>
                </a:lnTo>
                <a:lnTo>
                  <a:pt x="216" y="0"/>
                </a:lnTo>
                <a:lnTo>
                  <a:pt x="290" y="90"/>
                </a:lnTo>
                <a:close/>
                <a:moveTo>
                  <a:pt x="271" y="79"/>
                </a:moveTo>
                <a:lnTo>
                  <a:pt x="214" y="79"/>
                </a:lnTo>
                <a:lnTo>
                  <a:pt x="216" y="21"/>
                </a:lnTo>
                <a:lnTo>
                  <a:pt x="20" y="21"/>
                </a:lnTo>
                <a:lnTo>
                  <a:pt x="20" y="349"/>
                </a:lnTo>
                <a:lnTo>
                  <a:pt x="271" y="349"/>
                </a:lnTo>
                <a:lnTo>
                  <a:pt x="271" y="79"/>
                </a:lnTo>
                <a:close/>
              </a:path>
            </a:pathLst>
          </a:custGeom>
          <a:solidFill>
            <a:schemeClr val="accent2">
              <a:lumMod val="75000"/>
            </a:schemeClr>
          </a:solidFill>
          <a:ln>
            <a:noFill/>
          </a:ln>
          <a:extLst/>
        </p:spPr>
        <p:txBody>
          <a:bodyPr vert="horz" wrap="square" lIns="91398" tIns="45699" rIns="91398" bIns="45699"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895380" fontAlgn="auto">
              <a:spcBef>
                <a:spcPts val="0"/>
              </a:spcBef>
              <a:spcAft>
                <a:spcPts val="0"/>
              </a:spcAft>
              <a:defRPr/>
            </a:pPr>
            <a:endParaRPr lang="en-US" sz="1699" kern="0" dirty="0">
              <a:solidFill>
                <a:srgbClr val="0DBFF3"/>
              </a:solidFill>
            </a:endParaRPr>
          </a:p>
        </p:txBody>
      </p:sp>
      <p:pic>
        <p:nvPicPr>
          <p:cNvPr id="50" name="Picture 4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087661" y="5369470"/>
            <a:ext cx="891148" cy="878644"/>
          </a:xfrm>
          <a:prstGeom prst="rect">
            <a:avLst/>
          </a:prstGeom>
        </p:spPr>
      </p:pic>
    </p:spTree>
    <p:extLst>
      <p:ext uri="{BB962C8B-B14F-4D97-AF65-F5344CB8AC3E}">
        <p14:creationId xmlns:p14="http://schemas.microsoft.com/office/powerpoint/2010/main" val="26342590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wipe(up)">
                                      <p:cBhvr>
                                        <p:cTn id="7" dur="500"/>
                                        <p:tgtEl>
                                          <p:spTgt spid="35"/>
                                        </p:tgtEl>
                                      </p:cBhvr>
                                    </p:animEffect>
                                  </p:childTnLst>
                                </p:cTn>
                              </p:par>
                              <p:par>
                                <p:cTn id="8" presetID="22" presetClass="entr" presetSubtype="1" fill="hold" grpId="0" nodeType="withEffect">
                                  <p:stCondLst>
                                    <p:cond delay="0"/>
                                  </p:stCondLst>
                                  <p:childTnLst>
                                    <p:set>
                                      <p:cBhvr>
                                        <p:cTn id="9" dur="1" fill="hold">
                                          <p:stCondLst>
                                            <p:cond delay="0"/>
                                          </p:stCondLst>
                                        </p:cTn>
                                        <p:tgtEl>
                                          <p:spTgt spid="49"/>
                                        </p:tgtEl>
                                        <p:attrNameLst>
                                          <p:attrName>style.visibility</p:attrName>
                                        </p:attrNameLst>
                                      </p:cBhvr>
                                      <p:to>
                                        <p:strVal val="visible"/>
                                      </p:to>
                                    </p:set>
                                    <p:animEffect transition="in" filter="wipe(up)">
                                      <p:cBhvr>
                                        <p:cTn id="10" dur="500"/>
                                        <p:tgtEl>
                                          <p:spTgt spid="49"/>
                                        </p:tgtEl>
                                      </p:cBhvr>
                                    </p:animEffect>
                                  </p:childTnLst>
                                </p:cTn>
                              </p:par>
                              <p:par>
                                <p:cTn id="11" presetID="22" presetClass="entr" presetSubtype="1" fill="hold" grpId="0" nodeType="withEffect">
                                  <p:stCondLst>
                                    <p:cond delay="0"/>
                                  </p:stCondLst>
                                  <p:childTnLst>
                                    <p:set>
                                      <p:cBhvr>
                                        <p:cTn id="12" dur="1" fill="hold">
                                          <p:stCondLst>
                                            <p:cond delay="0"/>
                                          </p:stCondLst>
                                        </p:cTn>
                                        <p:tgtEl>
                                          <p:spTgt spid="38"/>
                                        </p:tgtEl>
                                        <p:attrNameLst>
                                          <p:attrName>style.visibility</p:attrName>
                                        </p:attrNameLst>
                                      </p:cBhvr>
                                      <p:to>
                                        <p:strVal val="visible"/>
                                      </p:to>
                                    </p:set>
                                    <p:animEffect transition="in" filter="wipe(up)">
                                      <p:cBhvr>
                                        <p:cTn id="13" dur="500"/>
                                        <p:tgtEl>
                                          <p:spTgt spid="38"/>
                                        </p:tgtEl>
                                      </p:cBhvr>
                                    </p:animEffect>
                                  </p:childTnLst>
                                </p:cTn>
                              </p:par>
                            </p:childTnLst>
                          </p:cTn>
                        </p:par>
                      </p:childTnLst>
                    </p:cTn>
                  </p:par>
                  <p:par>
                    <p:cTn id="14" fill="hold">
                      <p:stCondLst>
                        <p:cond delay="indefinite"/>
                      </p:stCondLst>
                      <p:childTnLst>
                        <p:par>
                          <p:cTn id="15" fill="hold">
                            <p:stCondLst>
                              <p:cond delay="0"/>
                            </p:stCondLst>
                            <p:childTnLst>
                              <p:par>
                                <p:cTn id="16" presetID="22" presetClass="entr" presetSubtype="1" fill="hold" grpId="0" nodeType="clickEffect">
                                  <p:stCondLst>
                                    <p:cond delay="0"/>
                                  </p:stCondLst>
                                  <p:childTnLst>
                                    <p:set>
                                      <p:cBhvr>
                                        <p:cTn id="17" dur="1" fill="hold">
                                          <p:stCondLst>
                                            <p:cond delay="0"/>
                                          </p:stCondLst>
                                        </p:cTn>
                                        <p:tgtEl>
                                          <p:spTgt spid="44"/>
                                        </p:tgtEl>
                                        <p:attrNameLst>
                                          <p:attrName>style.visibility</p:attrName>
                                        </p:attrNameLst>
                                      </p:cBhvr>
                                      <p:to>
                                        <p:strVal val="visible"/>
                                      </p:to>
                                    </p:set>
                                    <p:animEffect transition="in" filter="wipe(up)">
                                      <p:cBhvr>
                                        <p:cTn id="18" dur="500"/>
                                        <p:tgtEl>
                                          <p:spTgt spid="44"/>
                                        </p:tgtEl>
                                      </p:cBhvr>
                                    </p:animEffect>
                                  </p:childTnLst>
                                </p:cTn>
                              </p:par>
                              <p:par>
                                <p:cTn id="19" presetID="1" presetClass="exit" presetSubtype="0" fill="hold" grpId="1" nodeType="withEffect">
                                  <p:stCondLst>
                                    <p:cond delay="0"/>
                                  </p:stCondLst>
                                  <p:childTnLst>
                                    <p:set>
                                      <p:cBhvr>
                                        <p:cTn id="20" dur="1" fill="hold">
                                          <p:stCondLst>
                                            <p:cond delay="0"/>
                                          </p:stCondLst>
                                        </p:cTn>
                                        <p:tgtEl>
                                          <p:spTgt spid="38"/>
                                        </p:tgtEl>
                                        <p:attrNameLst>
                                          <p:attrName>style.visibility</p:attrName>
                                        </p:attrNameLst>
                                      </p:cBhvr>
                                      <p:to>
                                        <p:strVal val="hidden"/>
                                      </p:to>
                                    </p:set>
                                  </p:childTnLst>
                                </p:cTn>
                              </p:par>
                              <p:par>
                                <p:cTn id="21" presetID="1" presetClass="exit" presetSubtype="0" fill="hold" grpId="2" nodeType="withEffect">
                                  <p:stCondLst>
                                    <p:cond delay="0"/>
                                  </p:stCondLst>
                                  <p:childTnLst>
                                    <p:set>
                                      <p:cBhvr>
                                        <p:cTn id="22" dur="1" fill="hold">
                                          <p:stCondLst>
                                            <p:cond delay="0"/>
                                          </p:stCondLst>
                                        </p:cTn>
                                        <p:tgtEl>
                                          <p:spTgt spid="35"/>
                                        </p:tgtEl>
                                        <p:attrNameLst>
                                          <p:attrName>style.visibility</p:attrName>
                                        </p:attrNameLst>
                                      </p:cBhvr>
                                      <p:to>
                                        <p:strVal val="hidden"/>
                                      </p:to>
                                    </p:set>
                                  </p:childTnLst>
                                </p:cTn>
                              </p:par>
                            </p:childTnLst>
                          </p:cTn>
                        </p:par>
                        <p:par>
                          <p:cTn id="23" fill="hold">
                            <p:stCondLst>
                              <p:cond delay="500"/>
                            </p:stCondLst>
                            <p:childTnLst>
                              <p:par>
                                <p:cTn id="24" presetID="22" presetClass="entr" presetSubtype="1" fill="hold" grpId="0" nodeType="afterEffect">
                                  <p:stCondLst>
                                    <p:cond delay="500"/>
                                  </p:stCondLst>
                                  <p:childTnLst>
                                    <p:set>
                                      <p:cBhvr>
                                        <p:cTn id="25" dur="1" fill="hold">
                                          <p:stCondLst>
                                            <p:cond delay="0"/>
                                          </p:stCondLst>
                                        </p:cTn>
                                        <p:tgtEl>
                                          <p:spTgt spid="39"/>
                                        </p:tgtEl>
                                        <p:attrNameLst>
                                          <p:attrName>style.visibility</p:attrName>
                                        </p:attrNameLst>
                                      </p:cBhvr>
                                      <p:to>
                                        <p:strVal val="visible"/>
                                      </p:to>
                                    </p:set>
                                    <p:animEffect transition="in" filter="wipe(up)">
                                      <p:cBhvr>
                                        <p:cTn id="26" dur="500"/>
                                        <p:tgtEl>
                                          <p:spTgt spid="39"/>
                                        </p:tgtEl>
                                      </p:cBhvr>
                                    </p:animEffect>
                                  </p:childTnLst>
                                </p:cTn>
                              </p:par>
                              <p:par>
                                <p:cTn id="27" presetID="22" presetClass="entr" presetSubtype="1" fill="hold" grpId="1" nodeType="withEffect">
                                  <p:stCondLst>
                                    <p:cond delay="500"/>
                                  </p:stCondLst>
                                  <p:childTnLst>
                                    <p:set>
                                      <p:cBhvr>
                                        <p:cTn id="28" dur="1" fill="hold">
                                          <p:stCondLst>
                                            <p:cond delay="0"/>
                                          </p:stCondLst>
                                        </p:cTn>
                                        <p:tgtEl>
                                          <p:spTgt spid="35"/>
                                        </p:tgtEl>
                                        <p:attrNameLst>
                                          <p:attrName>style.visibility</p:attrName>
                                        </p:attrNameLst>
                                      </p:cBhvr>
                                      <p:to>
                                        <p:strVal val="visible"/>
                                      </p:to>
                                    </p:set>
                                    <p:animEffect transition="in" filter="wipe(up)">
                                      <p:cBhvr>
                                        <p:cTn id="29" dur="500"/>
                                        <p:tgtEl>
                                          <p:spTgt spid="35"/>
                                        </p:tgtEl>
                                      </p:cBhvr>
                                    </p:animEffect>
                                  </p:childTnLst>
                                </p:cTn>
                              </p:par>
                              <p:par>
                                <p:cTn id="30" presetID="22" presetClass="entr" presetSubtype="2" fill="hold" grpId="0" nodeType="withEffect">
                                  <p:stCondLst>
                                    <p:cond delay="500"/>
                                  </p:stCondLst>
                                  <p:childTnLst>
                                    <p:set>
                                      <p:cBhvr>
                                        <p:cTn id="31" dur="1" fill="hold">
                                          <p:stCondLst>
                                            <p:cond delay="0"/>
                                          </p:stCondLst>
                                        </p:cTn>
                                        <p:tgtEl>
                                          <p:spTgt spid="46"/>
                                        </p:tgtEl>
                                        <p:attrNameLst>
                                          <p:attrName>style.visibility</p:attrName>
                                        </p:attrNameLst>
                                      </p:cBhvr>
                                      <p:to>
                                        <p:strVal val="visible"/>
                                      </p:to>
                                    </p:set>
                                    <p:animEffect transition="in" filter="wipe(right)">
                                      <p:cBhvr>
                                        <p:cTn id="32" dur="500"/>
                                        <p:tgtEl>
                                          <p:spTgt spid="46"/>
                                        </p:tgtEl>
                                      </p:cBhvr>
                                    </p:animEffect>
                                  </p:childTnLst>
                                </p:cTn>
                              </p:par>
                              <p:par>
                                <p:cTn id="33" presetID="22" presetClass="entr" presetSubtype="1" fill="hold" grpId="0" nodeType="withEffect">
                                  <p:stCondLst>
                                    <p:cond delay="500"/>
                                  </p:stCondLst>
                                  <p:childTnLst>
                                    <p:set>
                                      <p:cBhvr>
                                        <p:cTn id="34" dur="1" fill="hold">
                                          <p:stCondLst>
                                            <p:cond delay="0"/>
                                          </p:stCondLst>
                                        </p:cTn>
                                        <p:tgtEl>
                                          <p:spTgt spid="45"/>
                                        </p:tgtEl>
                                        <p:attrNameLst>
                                          <p:attrName>style.visibility</p:attrName>
                                        </p:attrNameLst>
                                      </p:cBhvr>
                                      <p:to>
                                        <p:strVal val="visible"/>
                                      </p:to>
                                    </p:set>
                                    <p:animEffect transition="in" filter="wipe(up)">
                                      <p:cBhvr>
                                        <p:cTn id="35" dur="5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animBg="1"/>
      <p:bldP spid="35" grpId="1" animBg="1"/>
      <p:bldP spid="35" grpId="2" animBg="1"/>
      <p:bldP spid="38" grpId="0"/>
      <p:bldP spid="38" grpId="1"/>
      <p:bldP spid="39" grpId="0"/>
      <p:bldP spid="44" grpId="0"/>
      <p:bldP spid="46" grpId="0" animBg="1"/>
      <p:bldP spid="45" grpId="0" animBg="1"/>
      <p:bldP spid="49"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smtClean="0"/>
              <a:t>Temporal</a:t>
            </a:r>
            <a:endParaRPr lang="fr-FR" dirty="0"/>
          </a:p>
        </p:txBody>
      </p:sp>
      <p:sp>
        <p:nvSpPr>
          <p:cNvPr id="3" name="Text Placeholder 2"/>
          <p:cNvSpPr>
            <a:spLocks noGrp="1"/>
          </p:cNvSpPr>
          <p:nvPr>
            <p:ph type="body" sz="quarter" idx="13"/>
          </p:nvPr>
        </p:nvSpPr>
        <p:spPr/>
        <p:txBody>
          <a:bodyPr/>
          <a:lstStyle/>
          <a:p>
            <a:r>
              <a:rPr lang="fr-FR" dirty="0" smtClean="0"/>
              <a:t>As of</a:t>
            </a:r>
          </a:p>
          <a:p>
            <a:endParaRPr lang="fr-FR" dirty="0"/>
          </a:p>
          <a:p>
            <a:endParaRPr lang="fr-FR" dirty="0" smtClean="0"/>
          </a:p>
          <a:p>
            <a:r>
              <a:rPr lang="fr-FR" dirty="0" err="1" smtClean="0"/>
              <a:t>From</a:t>
            </a:r>
            <a:r>
              <a:rPr lang="fr-FR" dirty="0" smtClean="0"/>
              <a:t> To</a:t>
            </a:r>
          </a:p>
          <a:p>
            <a:endParaRPr lang="fr-FR" dirty="0"/>
          </a:p>
          <a:p>
            <a:endParaRPr lang="fr-FR" dirty="0" smtClean="0"/>
          </a:p>
          <a:p>
            <a:r>
              <a:rPr lang="fr-FR" dirty="0" err="1" smtClean="0"/>
              <a:t>Between</a:t>
            </a:r>
            <a:r>
              <a:rPr lang="fr-FR" dirty="0" smtClean="0"/>
              <a:t> A and B / </a:t>
            </a:r>
            <a:r>
              <a:rPr lang="fr-FR" dirty="0" err="1" smtClean="0"/>
              <a:t>Contained</a:t>
            </a:r>
            <a:r>
              <a:rPr lang="fr-FR" dirty="0" smtClean="0"/>
              <a:t> In (A,B )</a:t>
            </a:r>
            <a:endParaRPr lang="fr-FR" dirty="0"/>
          </a:p>
        </p:txBody>
      </p:sp>
      <p:sp>
        <p:nvSpPr>
          <p:cNvPr id="6" name="Text Placeholder 5"/>
          <p:cNvSpPr>
            <a:spLocks noGrp="1"/>
          </p:cNvSpPr>
          <p:nvPr>
            <p:ph type="body" sz="quarter" idx="14"/>
          </p:nvPr>
        </p:nvSpPr>
        <p:spPr/>
        <p:txBody>
          <a:bodyPr/>
          <a:lstStyle/>
          <a:p>
            <a:endParaRPr lang="fr-FR"/>
          </a:p>
        </p:txBody>
      </p:sp>
      <p:sp>
        <p:nvSpPr>
          <p:cNvPr id="7" name="Text Placeholder 6"/>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662074" y="1058061"/>
            <a:ext cx="5661237" cy="1906189"/>
          </a:xfrm>
          <a:prstGeom prst="rect">
            <a:avLst/>
          </a:prstGeom>
        </p:spPr>
      </p:pic>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02734" y="3119040"/>
            <a:ext cx="5720577" cy="1726285"/>
          </a:xfrm>
          <a:prstGeom prst="rect">
            <a:avLst/>
          </a:prstGeom>
        </p:spPr>
      </p:pic>
    </p:spTree>
    <p:extLst>
      <p:ext uri="{BB962C8B-B14F-4D97-AF65-F5344CB8AC3E}">
        <p14:creationId xmlns:p14="http://schemas.microsoft.com/office/powerpoint/2010/main" val="3741127385"/>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p:txBody>
          <a:bodyPr/>
          <a:lstStyle/>
          <a:p>
            <a:r>
              <a:rPr lang="fr-FR" dirty="0" smtClean="0"/>
              <a:t>Démonstration</a:t>
            </a:r>
            <a:endParaRPr lang="fr-FR" dirty="0"/>
          </a:p>
        </p:txBody>
      </p:sp>
      <p:sp>
        <p:nvSpPr>
          <p:cNvPr id="8" name="Text Placeholder 7"/>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sp>
        <p:nvSpPr>
          <p:cNvPr id="6" name="Title 5"/>
          <p:cNvSpPr>
            <a:spLocks noGrp="1"/>
          </p:cNvSpPr>
          <p:nvPr>
            <p:ph type="title"/>
          </p:nvPr>
        </p:nvSpPr>
        <p:spPr/>
        <p:txBody>
          <a:bodyPr/>
          <a:lstStyle/>
          <a:p>
            <a:r>
              <a:rPr lang="fr-FR" dirty="0" smtClean="0"/>
              <a:t>Temporal</a:t>
            </a:r>
            <a:endParaRPr lang="fr-FR" dirty="0"/>
          </a:p>
        </p:txBody>
      </p:sp>
    </p:spTree>
    <p:extLst>
      <p:ext uri="{BB962C8B-B14F-4D97-AF65-F5344CB8AC3E}">
        <p14:creationId xmlns:p14="http://schemas.microsoft.com/office/powerpoint/2010/main" val="1587340373"/>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fr-FR" dirty="0" smtClean="0"/>
              <a:t>JSON est une référence partout aujourd’hui</a:t>
            </a:r>
            <a:endParaRPr lang="fr-FR" dirty="0"/>
          </a:p>
        </p:txBody>
      </p:sp>
      <p:sp>
        <p:nvSpPr>
          <p:cNvPr id="6" name="Text Placeholder 5"/>
          <p:cNvSpPr>
            <a:spLocks noGrp="1"/>
          </p:cNvSpPr>
          <p:nvPr>
            <p:ph type="body" sz="quarter" idx="14"/>
          </p:nvPr>
        </p:nvSpPr>
        <p:spPr/>
        <p:txBody>
          <a:bodyPr/>
          <a:lstStyle/>
          <a:p>
            <a:endParaRPr lang="fr-FR"/>
          </a:p>
        </p:txBody>
      </p:sp>
      <p:sp>
        <p:nvSpPr>
          <p:cNvPr id="7" name="Text Placeholder 6"/>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sp>
        <p:nvSpPr>
          <p:cNvPr id="8" name="Rectangle 7"/>
          <p:cNvSpPr/>
          <p:nvPr/>
        </p:nvSpPr>
        <p:spPr bwMode="auto">
          <a:xfrm>
            <a:off x="1099016" y="1841078"/>
            <a:ext cx="2743200" cy="2741854"/>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a:p>
            <a:pPr defTabSz="932472"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p:nvSpPr>
        <p:spPr bwMode="auto">
          <a:xfrm>
            <a:off x="3872696" y="1848436"/>
            <a:ext cx="2743200" cy="274185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a:p>
            <a:pPr defTabSz="932472"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p:nvSpPr>
        <p:spPr bwMode="auto">
          <a:xfrm>
            <a:off x="9327887" y="1841078"/>
            <a:ext cx="2743200" cy="274185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dirty="0">
              <a:gradFill>
                <a:gsLst>
                  <a:gs pos="10236">
                    <a:srgbClr val="505050"/>
                  </a:gs>
                  <a:gs pos="38000">
                    <a:srgbClr val="505050"/>
                  </a:gs>
                </a:gsLst>
                <a:lin ang="5400000" scaled="0"/>
              </a:gradFill>
              <a:ea typeface="Segoe UI" pitchFamily="34" charset="0"/>
              <a:cs typeface="Segoe UI" pitchFamily="34" charset="0"/>
            </a:endParaRPr>
          </a:p>
        </p:txBody>
      </p:sp>
      <p:sp>
        <p:nvSpPr>
          <p:cNvPr id="11" name="TextBox 10"/>
          <p:cNvSpPr txBox="1"/>
          <p:nvPr/>
        </p:nvSpPr>
        <p:spPr>
          <a:xfrm>
            <a:off x="1099015" y="4889078"/>
            <a:ext cx="11283229" cy="804588"/>
          </a:xfrm>
          <a:prstGeom prst="rect">
            <a:avLst/>
          </a:prstGeom>
          <a:noFill/>
        </p:spPr>
        <p:txBody>
          <a:bodyPr wrap="square" lIns="182880" tIns="146304" rIns="182880" bIns="146304" rtlCol="0">
            <a:noAutofit/>
          </a:bodyPr>
          <a:lstStyle/>
          <a:p>
            <a:pPr>
              <a:lnSpc>
                <a:spcPct val="90000"/>
              </a:lnSpc>
              <a:spcAft>
                <a:spcPts val="300"/>
              </a:spcAft>
            </a:pPr>
            <a:r>
              <a:rPr lang="en-US" sz="2800" dirty="0" err="1" smtClean="0">
                <a:gradFill>
                  <a:gsLst>
                    <a:gs pos="1250">
                      <a:schemeClr val="tx1"/>
                    </a:gs>
                    <a:gs pos="99000">
                      <a:schemeClr val="tx1"/>
                    </a:gs>
                  </a:gsLst>
                  <a:lin ang="5400000" scaled="0"/>
                </a:gradFill>
              </a:rPr>
              <a:t>Une</a:t>
            </a:r>
            <a:r>
              <a:rPr lang="en-US" sz="2800" dirty="0" smtClean="0">
                <a:gradFill>
                  <a:gsLst>
                    <a:gs pos="1250">
                      <a:schemeClr val="tx1"/>
                    </a:gs>
                    <a:gs pos="99000">
                      <a:schemeClr val="tx1"/>
                    </a:gs>
                  </a:gsLst>
                  <a:lin ang="5400000" scaled="0"/>
                </a:gradFill>
              </a:rPr>
              <a:t> des TOP </a:t>
            </a:r>
            <a:r>
              <a:rPr lang="en-US" sz="2800" dirty="0" err="1" smtClean="0">
                <a:gradFill>
                  <a:gsLst>
                    <a:gs pos="1250">
                      <a:schemeClr val="tx1"/>
                    </a:gs>
                    <a:gs pos="99000">
                      <a:schemeClr val="tx1"/>
                    </a:gs>
                  </a:gsLst>
                  <a:lin ang="5400000" scaled="0"/>
                </a:gradFill>
              </a:rPr>
              <a:t>demande</a:t>
            </a:r>
            <a:r>
              <a:rPr lang="en-US" sz="2800" dirty="0" smtClean="0">
                <a:gradFill>
                  <a:gsLst>
                    <a:gs pos="1250">
                      <a:schemeClr val="tx1"/>
                    </a:gs>
                    <a:gs pos="99000">
                      <a:schemeClr val="tx1"/>
                    </a:gs>
                  </a:gsLst>
                  <a:lin ang="5400000" scaled="0"/>
                </a:gradFill>
              </a:rPr>
              <a:t> sur MS Connect ( </a:t>
            </a:r>
            <a:r>
              <a:rPr lang="en-US" sz="4000" dirty="0" smtClean="0">
                <a:gradFill>
                  <a:gsLst>
                    <a:gs pos="1250">
                      <a:schemeClr val="tx1"/>
                    </a:gs>
                    <a:gs pos="99000">
                      <a:schemeClr val="tx1"/>
                    </a:gs>
                  </a:gsLst>
                  <a:lin ang="5400000" scaled="0"/>
                </a:gradFill>
              </a:rPr>
              <a:t>&gt;</a:t>
            </a:r>
            <a:r>
              <a:rPr lang="en-US" sz="2800" dirty="0" smtClean="0">
                <a:gradFill>
                  <a:gsLst>
                    <a:gs pos="1250">
                      <a:schemeClr val="tx1"/>
                    </a:gs>
                    <a:gs pos="99000">
                      <a:schemeClr val="tx1"/>
                    </a:gs>
                  </a:gsLst>
                  <a:lin ang="5400000" scaled="0"/>
                </a:gradFill>
              </a:rPr>
              <a:t> </a:t>
            </a:r>
            <a:r>
              <a:rPr lang="en-US" sz="4000" dirty="0">
                <a:gradFill>
                  <a:gsLst>
                    <a:gs pos="1250">
                      <a:schemeClr val="tx1"/>
                    </a:gs>
                    <a:gs pos="99000">
                      <a:schemeClr val="tx1"/>
                    </a:gs>
                  </a:gsLst>
                  <a:lin ang="5400000" scaled="0"/>
                </a:gradFill>
              </a:rPr>
              <a:t>1050</a:t>
            </a:r>
            <a:r>
              <a:rPr lang="en-US" sz="2800" dirty="0">
                <a:gradFill>
                  <a:gsLst>
                    <a:gs pos="1250">
                      <a:schemeClr val="tx1"/>
                    </a:gs>
                    <a:gs pos="99000">
                      <a:schemeClr val="tx1"/>
                    </a:gs>
                  </a:gsLst>
                  <a:lin ang="5400000" scaled="0"/>
                </a:gradFill>
              </a:rPr>
              <a:t> </a:t>
            </a:r>
            <a:r>
              <a:rPr lang="en-US" sz="2800" dirty="0" smtClean="0">
                <a:gradFill>
                  <a:gsLst>
                    <a:gs pos="1250">
                      <a:schemeClr val="tx1"/>
                    </a:gs>
                    <a:gs pos="99000">
                      <a:schemeClr val="tx1"/>
                    </a:gs>
                  </a:gsLst>
                  <a:lin ang="5400000" scaled="0"/>
                </a:gradFill>
              </a:rPr>
              <a:t>votes) </a:t>
            </a:r>
          </a:p>
        </p:txBody>
      </p:sp>
      <p:sp>
        <p:nvSpPr>
          <p:cNvPr id="12" name="Rectangle 11"/>
          <p:cNvSpPr/>
          <p:nvPr/>
        </p:nvSpPr>
        <p:spPr bwMode="auto">
          <a:xfrm>
            <a:off x="6591044" y="1841078"/>
            <a:ext cx="2742957" cy="274185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3736" tIns="146304" rIns="173736"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dirty="0">
              <a:gradFill>
                <a:gsLst>
                  <a:gs pos="10236">
                    <a:srgbClr val="505050"/>
                  </a:gs>
                  <a:gs pos="38000">
                    <a:srgbClr val="505050"/>
                  </a:gs>
                </a:gsLst>
                <a:lin ang="5400000" scaled="0"/>
              </a:gradFill>
              <a:ea typeface="Segoe UI" pitchFamily="34" charset="0"/>
              <a:cs typeface="Segoe UI" pitchFamily="34" charset="0"/>
            </a:endParaRPr>
          </a:p>
        </p:txBody>
      </p:sp>
      <p:pic>
        <p:nvPicPr>
          <p:cNvPr id="13" name="Picture 4"/>
          <p:cNvPicPr preferRelativeResize="0">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49524" y="1993485"/>
            <a:ext cx="731520" cy="731520"/>
          </a:xfrm>
          <a:prstGeom prst="rect">
            <a:avLst/>
          </a:prstGeom>
          <a:noFill/>
          <a:ln w="317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 name="Picture 5"/>
          <p:cNvPicPr preferRelativeResize="0">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87524" y="1993477"/>
            <a:ext cx="731520" cy="731520"/>
          </a:xfrm>
          <a:prstGeom prst="rect">
            <a:avLst/>
          </a:prstGeom>
          <a:noFill/>
          <a:ln w="317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 name="Picture 7"/>
          <p:cNvPicPr preferRelativeResize="0">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81044" y="1993485"/>
            <a:ext cx="731520" cy="731520"/>
          </a:xfrm>
          <a:prstGeom prst="rect">
            <a:avLst/>
          </a:prstGeom>
          <a:noFill/>
          <a:ln w="317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 name="Picture 9"/>
          <p:cNvPicPr preferRelativeResize="0">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87524" y="2755478"/>
            <a:ext cx="731520" cy="731520"/>
          </a:xfrm>
          <a:prstGeom prst="rect">
            <a:avLst/>
          </a:prstGeom>
          <a:noFill/>
          <a:ln w="317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7" name="Picture 11"/>
          <p:cNvPicPr preferRelativeResize="0">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049524" y="2755478"/>
            <a:ext cx="731520" cy="731520"/>
          </a:xfrm>
          <a:prstGeom prst="rect">
            <a:avLst/>
          </a:prstGeom>
          <a:noFill/>
          <a:ln w="317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 name="Picture 23"/>
          <p:cNvPicPr preferRelativeResize="0">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781044" y="2755478"/>
            <a:ext cx="731520" cy="731520"/>
          </a:xfrm>
          <a:prstGeom prst="rect">
            <a:avLst/>
          </a:prstGeom>
          <a:noFill/>
          <a:ln w="317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 name="Picture 6"/>
          <p:cNvPicPr preferRelativeResize="0">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799428" y="2788388"/>
            <a:ext cx="858416" cy="805290"/>
          </a:xfrm>
          <a:prstGeom prst="rect">
            <a:avLst/>
          </a:prstGeom>
          <a:noFill/>
          <a:ln w="317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 name="Picture 15"/>
          <p:cNvPicPr preferRelativeResize="0">
            <a:picLocks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657844" y="1950188"/>
            <a:ext cx="858416" cy="805290"/>
          </a:xfrm>
          <a:prstGeom prst="rect">
            <a:avLst/>
          </a:prstGeom>
          <a:noFill/>
          <a:ln w="317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1" name="Picture 26"/>
          <p:cNvPicPr preferRelativeResize="0">
            <a:picLocks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799428" y="1950188"/>
            <a:ext cx="858416" cy="805290"/>
          </a:xfrm>
          <a:prstGeom prst="rect">
            <a:avLst/>
          </a:prstGeom>
          <a:noFill/>
          <a:ln w="317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2" name="Group 21"/>
          <p:cNvGrpSpPr/>
          <p:nvPr/>
        </p:nvGrpSpPr>
        <p:grpSpPr>
          <a:xfrm>
            <a:off x="4023976" y="2069677"/>
            <a:ext cx="2390936" cy="1752600"/>
            <a:chOff x="755569" y="4030662"/>
            <a:chExt cx="2390936" cy="1752600"/>
          </a:xfrm>
          <a:solidFill>
            <a:schemeClr val="bg1"/>
          </a:solidFill>
        </p:grpSpPr>
        <p:grpSp>
          <p:nvGrpSpPr>
            <p:cNvPr id="23" name="Group 22"/>
            <p:cNvGrpSpPr/>
            <p:nvPr/>
          </p:nvGrpSpPr>
          <p:grpSpPr>
            <a:xfrm>
              <a:off x="755569" y="4983548"/>
              <a:ext cx="914400" cy="799714"/>
              <a:chOff x="819158" y="5082241"/>
              <a:chExt cx="914400" cy="799714"/>
            </a:xfrm>
            <a:grpFill/>
          </p:grpSpPr>
          <p:sp>
            <p:nvSpPr>
              <p:cNvPr id="39" name="TextBox 38"/>
              <p:cNvSpPr txBox="1"/>
              <p:nvPr/>
            </p:nvSpPr>
            <p:spPr bwMode="black">
              <a:xfrm>
                <a:off x="819158" y="5697289"/>
                <a:ext cx="914400" cy="184666"/>
              </a:xfrm>
              <a:prstGeom prst="rect">
                <a:avLst/>
              </a:prstGeom>
              <a:grpFill/>
            </p:spPr>
            <p:txBody>
              <a:bodyPr wrap="square" lIns="0" tIns="0" rIns="0" bIns="0" rtlCol="0">
                <a:noAutofit/>
              </a:bodyPr>
              <a:lstStyle/>
              <a:p>
                <a:pPr algn="ctr"/>
                <a:r>
                  <a:rPr lang="en-US" sz="1200" dirty="0" smtClean="0">
                    <a:gradFill>
                      <a:gsLst>
                        <a:gs pos="11111">
                          <a:schemeClr val="tx1"/>
                        </a:gs>
                        <a:gs pos="54000">
                          <a:schemeClr val="tx1"/>
                        </a:gs>
                      </a:gsLst>
                    </a:gradFill>
                    <a:latin typeface="Segoe UI" panose="020B0502040204020203" pitchFamily="34" charset="0"/>
                  </a:rPr>
                  <a:t>OneDrive</a:t>
                </a:r>
                <a:endParaRPr lang="en-US" sz="1200" dirty="0">
                  <a:gradFill>
                    <a:gsLst>
                      <a:gs pos="11111">
                        <a:schemeClr val="tx1"/>
                      </a:gs>
                      <a:gs pos="54000">
                        <a:schemeClr val="tx1"/>
                      </a:gs>
                    </a:gsLst>
                  </a:gradFill>
                  <a:latin typeface="Segoe UI" panose="020B0502040204020203" pitchFamily="34" charset="0"/>
                </a:endParaRPr>
              </a:p>
            </p:txBody>
          </p:sp>
          <p:sp>
            <p:nvSpPr>
              <p:cNvPr id="40" name="Freeform 22"/>
              <p:cNvSpPr>
                <a:spLocks noChangeAspect="1" noEditPoints="1"/>
              </p:cNvSpPr>
              <p:nvPr/>
            </p:nvSpPr>
            <p:spPr bwMode="black">
              <a:xfrm>
                <a:off x="985516" y="5082241"/>
                <a:ext cx="581684" cy="362926"/>
              </a:xfrm>
              <a:custGeom>
                <a:avLst/>
                <a:gdLst>
                  <a:gd name="T0" fmla="*/ 398 w 439"/>
                  <a:gd name="T1" fmla="*/ 177 h 273"/>
                  <a:gd name="T2" fmla="*/ 439 w 439"/>
                  <a:gd name="T3" fmla="*/ 226 h 273"/>
                  <a:gd name="T4" fmla="*/ 398 w 439"/>
                  <a:gd name="T5" fmla="*/ 273 h 273"/>
                  <a:gd name="T6" fmla="*/ 162 w 439"/>
                  <a:gd name="T7" fmla="*/ 273 h 273"/>
                  <a:gd name="T8" fmla="*/ 101 w 439"/>
                  <a:gd name="T9" fmla="*/ 211 h 273"/>
                  <a:gd name="T10" fmla="*/ 160 w 439"/>
                  <a:gd name="T11" fmla="*/ 155 h 273"/>
                  <a:gd name="T12" fmla="*/ 217 w 439"/>
                  <a:gd name="T13" fmla="*/ 85 h 273"/>
                  <a:gd name="T14" fmla="*/ 302 w 439"/>
                  <a:gd name="T15" fmla="*/ 118 h 273"/>
                  <a:gd name="T16" fmla="*/ 362 w 439"/>
                  <a:gd name="T17" fmla="*/ 116 h 273"/>
                  <a:gd name="T18" fmla="*/ 398 w 439"/>
                  <a:gd name="T19" fmla="*/ 177 h 273"/>
                  <a:gd name="T20" fmla="*/ 86 w 439"/>
                  <a:gd name="T21" fmla="*/ 213 h 273"/>
                  <a:gd name="T22" fmla="*/ 149 w 439"/>
                  <a:gd name="T23" fmla="*/ 144 h 273"/>
                  <a:gd name="T24" fmla="*/ 213 w 439"/>
                  <a:gd name="T25" fmla="*/ 73 h 273"/>
                  <a:gd name="T26" fmla="*/ 305 w 439"/>
                  <a:gd name="T27" fmla="*/ 103 h 273"/>
                  <a:gd name="T28" fmla="*/ 336 w 439"/>
                  <a:gd name="T29" fmla="*/ 97 h 273"/>
                  <a:gd name="T30" fmla="*/ 276 w 439"/>
                  <a:gd name="T31" fmla="*/ 19 h 273"/>
                  <a:gd name="T32" fmla="*/ 161 w 439"/>
                  <a:gd name="T33" fmla="*/ 61 h 273"/>
                  <a:gd name="T34" fmla="*/ 92 w 439"/>
                  <a:gd name="T35" fmla="*/ 60 h 273"/>
                  <a:gd name="T36" fmla="*/ 53 w 439"/>
                  <a:gd name="T37" fmla="*/ 135 h 273"/>
                  <a:gd name="T38" fmla="*/ 0 w 439"/>
                  <a:gd name="T39" fmla="*/ 196 h 273"/>
                  <a:gd name="T40" fmla="*/ 59 w 439"/>
                  <a:gd name="T41" fmla="*/ 255 h 273"/>
                  <a:gd name="T42" fmla="*/ 98 w 439"/>
                  <a:gd name="T43" fmla="*/ 255 h 273"/>
                  <a:gd name="T44" fmla="*/ 86 w 439"/>
                  <a:gd name="T45" fmla="*/ 213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39" h="273">
                    <a:moveTo>
                      <a:pt x="398" y="177"/>
                    </a:moveTo>
                    <a:cubicBezTo>
                      <a:pt x="398" y="177"/>
                      <a:pt x="439" y="181"/>
                      <a:pt x="439" y="226"/>
                    </a:cubicBezTo>
                    <a:cubicBezTo>
                      <a:pt x="439" y="248"/>
                      <a:pt x="427" y="273"/>
                      <a:pt x="398" y="273"/>
                    </a:cubicBezTo>
                    <a:cubicBezTo>
                      <a:pt x="398" y="273"/>
                      <a:pt x="177" y="273"/>
                      <a:pt x="162" y="273"/>
                    </a:cubicBezTo>
                    <a:cubicBezTo>
                      <a:pt x="117" y="273"/>
                      <a:pt x="101" y="242"/>
                      <a:pt x="101" y="211"/>
                    </a:cubicBezTo>
                    <a:cubicBezTo>
                      <a:pt x="101" y="157"/>
                      <a:pt x="160" y="155"/>
                      <a:pt x="160" y="155"/>
                    </a:cubicBezTo>
                    <a:cubicBezTo>
                      <a:pt x="160" y="155"/>
                      <a:pt x="165" y="97"/>
                      <a:pt x="217" y="85"/>
                    </a:cubicBezTo>
                    <a:cubicBezTo>
                      <a:pt x="263" y="75"/>
                      <a:pt x="289" y="99"/>
                      <a:pt x="302" y="118"/>
                    </a:cubicBezTo>
                    <a:cubicBezTo>
                      <a:pt x="302" y="118"/>
                      <a:pt x="330" y="102"/>
                      <a:pt x="362" y="116"/>
                    </a:cubicBezTo>
                    <a:cubicBezTo>
                      <a:pt x="381" y="124"/>
                      <a:pt x="399" y="144"/>
                      <a:pt x="398" y="177"/>
                    </a:cubicBezTo>
                    <a:close/>
                    <a:moveTo>
                      <a:pt x="86" y="213"/>
                    </a:moveTo>
                    <a:cubicBezTo>
                      <a:pt x="86" y="153"/>
                      <a:pt x="149" y="144"/>
                      <a:pt x="149" y="144"/>
                    </a:cubicBezTo>
                    <a:cubicBezTo>
                      <a:pt x="149" y="144"/>
                      <a:pt x="157" y="87"/>
                      <a:pt x="213" y="73"/>
                    </a:cubicBezTo>
                    <a:cubicBezTo>
                      <a:pt x="258" y="62"/>
                      <a:pt x="291" y="81"/>
                      <a:pt x="305" y="103"/>
                    </a:cubicBezTo>
                    <a:cubicBezTo>
                      <a:pt x="305" y="103"/>
                      <a:pt x="315" y="97"/>
                      <a:pt x="336" y="97"/>
                    </a:cubicBezTo>
                    <a:cubicBezTo>
                      <a:pt x="334" y="78"/>
                      <a:pt x="320" y="37"/>
                      <a:pt x="276" y="19"/>
                    </a:cubicBezTo>
                    <a:cubicBezTo>
                      <a:pt x="225" y="0"/>
                      <a:pt x="181" y="24"/>
                      <a:pt x="161" y="61"/>
                    </a:cubicBezTo>
                    <a:cubicBezTo>
                      <a:pt x="161" y="61"/>
                      <a:pt x="129" y="41"/>
                      <a:pt x="92" y="60"/>
                    </a:cubicBezTo>
                    <a:cubicBezTo>
                      <a:pt x="66" y="74"/>
                      <a:pt x="50" y="105"/>
                      <a:pt x="53" y="135"/>
                    </a:cubicBezTo>
                    <a:cubicBezTo>
                      <a:pt x="53" y="135"/>
                      <a:pt x="0" y="139"/>
                      <a:pt x="0" y="196"/>
                    </a:cubicBezTo>
                    <a:cubicBezTo>
                      <a:pt x="0" y="227"/>
                      <a:pt x="28" y="255"/>
                      <a:pt x="59" y="255"/>
                    </a:cubicBezTo>
                    <a:cubicBezTo>
                      <a:pt x="98" y="255"/>
                      <a:pt x="98" y="255"/>
                      <a:pt x="98" y="255"/>
                    </a:cubicBezTo>
                    <a:cubicBezTo>
                      <a:pt x="88" y="240"/>
                      <a:pt x="86" y="225"/>
                      <a:pt x="86" y="213"/>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24" name="Group 23"/>
            <p:cNvGrpSpPr/>
            <p:nvPr/>
          </p:nvGrpSpPr>
          <p:grpSpPr>
            <a:xfrm>
              <a:off x="1493837" y="4983548"/>
              <a:ext cx="914400" cy="799714"/>
              <a:chOff x="3934785" y="5081368"/>
              <a:chExt cx="914400" cy="799714"/>
            </a:xfrm>
            <a:grpFill/>
          </p:grpSpPr>
          <p:sp>
            <p:nvSpPr>
              <p:cNvPr id="37" name="TextBox 36"/>
              <p:cNvSpPr txBox="1"/>
              <p:nvPr/>
            </p:nvSpPr>
            <p:spPr bwMode="black">
              <a:xfrm>
                <a:off x="3934785" y="5696416"/>
                <a:ext cx="914400" cy="184666"/>
              </a:xfrm>
              <a:prstGeom prst="rect">
                <a:avLst/>
              </a:prstGeom>
              <a:grpFill/>
            </p:spPr>
            <p:txBody>
              <a:bodyPr wrap="square" lIns="0" tIns="0" rIns="0" bIns="0" rtlCol="0">
                <a:noAutofit/>
              </a:bodyPr>
              <a:lstStyle/>
              <a:p>
                <a:pPr algn="ctr"/>
                <a:r>
                  <a:rPr lang="en-US" sz="1200" dirty="0" smtClean="0">
                    <a:gradFill>
                      <a:gsLst>
                        <a:gs pos="11111">
                          <a:schemeClr val="tx1"/>
                        </a:gs>
                        <a:gs pos="54000">
                          <a:schemeClr val="tx1"/>
                        </a:gs>
                      </a:gsLst>
                    </a:gradFill>
                    <a:latin typeface="Segoe UI" panose="020B0502040204020203" pitchFamily="34" charset="0"/>
                  </a:rPr>
                  <a:t>Office</a:t>
                </a:r>
                <a:endParaRPr lang="en-US" sz="1200" dirty="0">
                  <a:gradFill>
                    <a:gsLst>
                      <a:gs pos="11111">
                        <a:schemeClr val="tx1"/>
                      </a:gs>
                      <a:gs pos="54000">
                        <a:schemeClr val="tx1"/>
                      </a:gs>
                    </a:gsLst>
                  </a:gradFill>
                  <a:latin typeface="Segoe UI" panose="020B0502040204020203" pitchFamily="34" charset="0"/>
                </a:endParaRPr>
              </a:p>
            </p:txBody>
          </p:sp>
          <p:sp>
            <p:nvSpPr>
              <p:cNvPr id="38" name="Freeform 37"/>
              <p:cNvSpPr>
                <a:spLocks noChangeAspect="1"/>
              </p:cNvSpPr>
              <p:nvPr/>
            </p:nvSpPr>
            <p:spPr bwMode="black">
              <a:xfrm>
                <a:off x="4216671" y="5081368"/>
                <a:ext cx="350628" cy="420549"/>
              </a:xfrm>
              <a:custGeom>
                <a:avLst/>
                <a:gdLst>
                  <a:gd name="T0" fmla="*/ 1710 w 1710"/>
                  <a:gd name="T1" fmla="*/ 1880 h 2051"/>
                  <a:gd name="T2" fmla="*/ 1710 w 1710"/>
                  <a:gd name="T3" fmla="*/ 1880 h 2051"/>
                  <a:gd name="T4" fmla="*/ 1710 w 1710"/>
                  <a:gd name="T5" fmla="*/ 176 h 2051"/>
                  <a:gd name="T6" fmla="*/ 1101 w 1710"/>
                  <a:gd name="T7" fmla="*/ 0 h 2051"/>
                  <a:gd name="T8" fmla="*/ 3 w 1710"/>
                  <a:gd name="T9" fmla="*/ 413 h 2051"/>
                  <a:gd name="T10" fmla="*/ 0 w 1710"/>
                  <a:gd name="T11" fmla="*/ 413 h 2051"/>
                  <a:gd name="T12" fmla="*/ 0 w 1710"/>
                  <a:gd name="T13" fmla="*/ 1645 h 2051"/>
                  <a:gd name="T14" fmla="*/ 375 w 1710"/>
                  <a:gd name="T15" fmla="*/ 1498 h 2051"/>
                  <a:gd name="T16" fmla="*/ 375 w 1710"/>
                  <a:gd name="T17" fmla="*/ 496 h 2051"/>
                  <a:gd name="T18" fmla="*/ 1101 w 1710"/>
                  <a:gd name="T19" fmla="*/ 323 h 2051"/>
                  <a:gd name="T20" fmla="*/ 1101 w 1710"/>
                  <a:gd name="T21" fmla="*/ 1797 h 2051"/>
                  <a:gd name="T22" fmla="*/ 0 w 1710"/>
                  <a:gd name="T23" fmla="*/ 1645 h 2051"/>
                  <a:gd name="T24" fmla="*/ 1101 w 1710"/>
                  <a:gd name="T25" fmla="*/ 2051 h 2051"/>
                  <a:gd name="T26" fmla="*/ 1101 w 1710"/>
                  <a:gd name="T27" fmla="*/ 2051 h 2051"/>
                  <a:gd name="T28" fmla="*/ 1710 w 1710"/>
                  <a:gd name="T29" fmla="*/ 1882 h 2051"/>
                  <a:gd name="T30" fmla="*/ 1710 w 1710"/>
                  <a:gd name="T31" fmla="*/ 1880 h 2051"/>
                  <a:gd name="T32" fmla="*/ 1710 w 1710"/>
                  <a:gd name="T33" fmla="*/ 1880 h 20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10" h="2051">
                    <a:moveTo>
                      <a:pt x="1710" y="1880"/>
                    </a:moveTo>
                    <a:lnTo>
                      <a:pt x="1710" y="1880"/>
                    </a:lnTo>
                    <a:lnTo>
                      <a:pt x="1710" y="176"/>
                    </a:lnTo>
                    <a:lnTo>
                      <a:pt x="1101" y="0"/>
                    </a:lnTo>
                    <a:lnTo>
                      <a:pt x="3" y="413"/>
                    </a:lnTo>
                    <a:lnTo>
                      <a:pt x="0" y="413"/>
                    </a:lnTo>
                    <a:lnTo>
                      <a:pt x="0" y="1645"/>
                    </a:lnTo>
                    <a:lnTo>
                      <a:pt x="375" y="1498"/>
                    </a:lnTo>
                    <a:lnTo>
                      <a:pt x="375" y="496"/>
                    </a:lnTo>
                    <a:lnTo>
                      <a:pt x="1101" y="323"/>
                    </a:lnTo>
                    <a:lnTo>
                      <a:pt x="1101" y="1797"/>
                    </a:lnTo>
                    <a:lnTo>
                      <a:pt x="0" y="1645"/>
                    </a:lnTo>
                    <a:lnTo>
                      <a:pt x="1101" y="2051"/>
                    </a:lnTo>
                    <a:lnTo>
                      <a:pt x="1101" y="2051"/>
                    </a:lnTo>
                    <a:lnTo>
                      <a:pt x="1710" y="1882"/>
                    </a:lnTo>
                    <a:lnTo>
                      <a:pt x="1710" y="1880"/>
                    </a:lnTo>
                    <a:lnTo>
                      <a:pt x="1710" y="1880"/>
                    </a:lnTo>
                    <a:close/>
                  </a:path>
                </a:pathLst>
              </a:custGeom>
              <a:grpFill/>
              <a:ln>
                <a:noFill/>
              </a:ln>
              <a:extLst/>
            </p:spPr>
            <p:txBody>
              <a:bodyPr vert="horz" wrap="square" lIns="91440" tIns="45720" rIns="91440" bIns="45720" numCol="1" anchor="t" anchorCtr="0" compatLnSpc="1">
                <a:prstTxWarp prst="textNoShape">
                  <a:avLst/>
                </a:prstTxWarp>
              </a:bodyPr>
              <a:lstStyle/>
              <a:p>
                <a:pPr algn="ctr"/>
                <a:endParaRPr lang="en-US" dirty="0"/>
              </a:p>
            </p:txBody>
          </p:sp>
        </p:grpSp>
        <p:grpSp>
          <p:nvGrpSpPr>
            <p:cNvPr id="25" name="Group 24"/>
            <p:cNvGrpSpPr/>
            <p:nvPr/>
          </p:nvGrpSpPr>
          <p:grpSpPr>
            <a:xfrm>
              <a:off x="785732" y="4030662"/>
              <a:ext cx="914400" cy="824739"/>
              <a:chOff x="2104711" y="5056343"/>
              <a:chExt cx="914400" cy="824739"/>
            </a:xfrm>
            <a:grpFill/>
          </p:grpSpPr>
          <p:sp>
            <p:nvSpPr>
              <p:cNvPr id="35" name="TextBox 34"/>
              <p:cNvSpPr txBox="1"/>
              <p:nvPr/>
            </p:nvSpPr>
            <p:spPr bwMode="black">
              <a:xfrm>
                <a:off x="2104711" y="5696416"/>
                <a:ext cx="914400" cy="184666"/>
              </a:xfrm>
              <a:prstGeom prst="rect">
                <a:avLst/>
              </a:prstGeom>
              <a:grpFill/>
            </p:spPr>
            <p:txBody>
              <a:bodyPr wrap="square" lIns="0" tIns="0" rIns="0" bIns="0" rtlCol="0">
                <a:noAutofit/>
              </a:bodyPr>
              <a:lstStyle/>
              <a:p>
                <a:pPr algn="ctr"/>
                <a:r>
                  <a:rPr lang="en-US" sz="1200" dirty="0" smtClean="0">
                    <a:gradFill>
                      <a:gsLst>
                        <a:gs pos="11111">
                          <a:schemeClr val="tx1"/>
                        </a:gs>
                        <a:gs pos="54000">
                          <a:schemeClr val="tx1"/>
                        </a:gs>
                      </a:gsLst>
                    </a:gradFill>
                    <a:latin typeface="Segoe UI" panose="020B0502040204020203" pitchFamily="34" charset="0"/>
                  </a:rPr>
                  <a:t>Dynamics</a:t>
                </a:r>
                <a:endParaRPr lang="en-US" sz="1200" dirty="0">
                  <a:gradFill>
                    <a:gsLst>
                      <a:gs pos="11111">
                        <a:schemeClr val="tx1"/>
                      </a:gs>
                      <a:gs pos="54000">
                        <a:schemeClr val="tx1"/>
                      </a:gs>
                    </a:gsLst>
                  </a:gradFill>
                  <a:latin typeface="Segoe UI" panose="020B0502040204020203" pitchFamily="34" charset="0"/>
                </a:endParaRPr>
              </a:p>
            </p:txBody>
          </p:sp>
          <p:sp>
            <p:nvSpPr>
              <p:cNvPr id="36" name="Freeform 144"/>
              <p:cNvSpPr>
                <a:spLocks noChangeAspect="1" noEditPoints="1"/>
              </p:cNvSpPr>
              <p:nvPr/>
            </p:nvSpPr>
            <p:spPr bwMode="black">
              <a:xfrm>
                <a:off x="2329288" y="5056343"/>
                <a:ext cx="465247" cy="437076"/>
              </a:xfrm>
              <a:custGeom>
                <a:avLst/>
                <a:gdLst>
                  <a:gd name="T0" fmla="*/ 1091 w 1412"/>
                  <a:gd name="T1" fmla="*/ 240 h 1327"/>
                  <a:gd name="T2" fmla="*/ 1091 w 1412"/>
                  <a:gd name="T3" fmla="*/ 1152 h 1327"/>
                  <a:gd name="T4" fmla="*/ 1048 w 1412"/>
                  <a:gd name="T5" fmla="*/ 1159 h 1327"/>
                  <a:gd name="T6" fmla="*/ 0 w 1412"/>
                  <a:gd name="T7" fmla="*/ 1321 h 1327"/>
                  <a:gd name="T8" fmla="*/ 695 w 1412"/>
                  <a:gd name="T9" fmla="*/ 1074 h 1327"/>
                  <a:gd name="T10" fmla="*/ 715 w 1412"/>
                  <a:gd name="T11" fmla="*/ 1072 h 1327"/>
                  <a:gd name="T12" fmla="*/ 726 w 1412"/>
                  <a:gd name="T13" fmla="*/ 1066 h 1327"/>
                  <a:gd name="T14" fmla="*/ 726 w 1412"/>
                  <a:gd name="T15" fmla="*/ 750 h 1327"/>
                  <a:gd name="T16" fmla="*/ 1061 w 1412"/>
                  <a:gd name="T17" fmla="*/ 230 h 1327"/>
                  <a:gd name="T18" fmla="*/ 1061 w 1412"/>
                  <a:gd name="T19" fmla="*/ 230 h 1327"/>
                  <a:gd name="T20" fmla="*/ 1091 w 1412"/>
                  <a:gd name="T21" fmla="*/ 240 h 1327"/>
                  <a:gd name="T22" fmla="*/ 1390 w 1412"/>
                  <a:gd name="T23" fmla="*/ 450 h 1327"/>
                  <a:gd name="T24" fmla="*/ 1390 w 1412"/>
                  <a:gd name="T25" fmla="*/ 450 h 1327"/>
                  <a:gd name="T26" fmla="*/ 1200 w 1412"/>
                  <a:gd name="T27" fmla="*/ 638 h 1327"/>
                  <a:gd name="T28" fmla="*/ 1117 w 1412"/>
                  <a:gd name="T29" fmla="*/ 714 h 1327"/>
                  <a:gd name="T30" fmla="*/ 1117 w 1412"/>
                  <a:gd name="T31" fmla="*/ 1182 h 1327"/>
                  <a:gd name="T32" fmla="*/ 1088 w 1412"/>
                  <a:gd name="T33" fmla="*/ 1190 h 1327"/>
                  <a:gd name="T34" fmla="*/ 755 w 1412"/>
                  <a:gd name="T35" fmla="*/ 1144 h 1327"/>
                  <a:gd name="T36" fmla="*/ 1 w 1412"/>
                  <a:gd name="T37" fmla="*/ 1321 h 1327"/>
                  <a:gd name="T38" fmla="*/ 11 w 1412"/>
                  <a:gd name="T39" fmla="*/ 1322 h 1327"/>
                  <a:gd name="T40" fmla="*/ 1384 w 1412"/>
                  <a:gd name="T41" fmla="*/ 1327 h 1327"/>
                  <a:gd name="T42" fmla="*/ 1384 w 1412"/>
                  <a:gd name="T43" fmla="*/ 1327 h 1327"/>
                  <a:gd name="T44" fmla="*/ 1412 w 1412"/>
                  <a:gd name="T45" fmla="*/ 1317 h 1327"/>
                  <a:gd name="T46" fmla="*/ 1412 w 1412"/>
                  <a:gd name="T47" fmla="*/ 462 h 1327"/>
                  <a:gd name="T48" fmla="*/ 1390 w 1412"/>
                  <a:gd name="T49" fmla="*/ 450 h 1327"/>
                  <a:gd name="T50" fmla="*/ 700 w 1412"/>
                  <a:gd name="T51" fmla="*/ 9 h 1327"/>
                  <a:gd name="T52" fmla="*/ 666 w 1412"/>
                  <a:gd name="T53" fmla="*/ 0 h 1327"/>
                  <a:gd name="T54" fmla="*/ 666 w 1412"/>
                  <a:gd name="T55" fmla="*/ 0 h 1327"/>
                  <a:gd name="T56" fmla="*/ 666 w 1412"/>
                  <a:gd name="T57" fmla="*/ 0 h 1327"/>
                  <a:gd name="T58" fmla="*/ 665 w 1412"/>
                  <a:gd name="T59" fmla="*/ 0 h 1327"/>
                  <a:gd name="T60" fmla="*/ 665 w 1412"/>
                  <a:gd name="T61" fmla="*/ 4 h 1327"/>
                  <a:gd name="T62" fmla="*/ 464 w 1412"/>
                  <a:gd name="T63" fmla="*/ 568 h 1327"/>
                  <a:gd name="T64" fmla="*/ 0 w 1412"/>
                  <a:gd name="T65" fmla="*/ 1215 h 1327"/>
                  <a:gd name="T66" fmla="*/ 0 w 1412"/>
                  <a:gd name="T67" fmla="*/ 1321 h 1327"/>
                  <a:gd name="T68" fmla="*/ 661 w 1412"/>
                  <a:gd name="T69" fmla="*/ 1053 h 1327"/>
                  <a:gd name="T70" fmla="*/ 676 w 1412"/>
                  <a:gd name="T71" fmla="*/ 1052 h 1327"/>
                  <a:gd name="T72" fmla="*/ 700 w 1412"/>
                  <a:gd name="T73" fmla="*/ 1044 h 1327"/>
                  <a:gd name="T74" fmla="*/ 700 w 1412"/>
                  <a:gd name="T75" fmla="*/ 9 h 1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12" h="1327">
                    <a:moveTo>
                      <a:pt x="1091" y="240"/>
                    </a:moveTo>
                    <a:cubicBezTo>
                      <a:pt x="1091" y="1152"/>
                      <a:pt x="1091" y="1152"/>
                      <a:pt x="1091" y="1152"/>
                    </a:cubicBezTo>
                    <a:cubicBezTo>
                      <a:pt x="1048" y="1159"/>
                      <a:pt x="1048" y="1159"/>
                      <a:pt x="1048" y="1159"/>
                    </a:cubicBezTo>
                    <a:cubicBezTo>
                      <a:pt x="1047" y="1159"/>
                      <a:pt x="491" y="1018"/>
                      <a:pt x="0" y="1321"/>
                    </a:cubicBezTo>
                    <a:cubicBezTo>
                      <a:pt x="0" y="1321"/>
                      <a:pt x="257" y="1103"/>
                      <a:pt x="695" y="1074"/>
                    </a:cubicBezTo>
                    <a:cubicBezTo>
                      <a:pt x="715" y="1072"/>
                      <a:pt x="715" y="1072"/>
                      <a:pt x="715" y="1072"/>
                    </a:cubicBezTo>
                    <a:cubicBezTo>
                      <a:pt x="726" y="1066"/>
                      <a:pt x="726" y="1066"/>
                      <a:pt x="726" y="1066"/>
                    </a:cubicBezTo>
                    <a:cubicBezTo>
                      <a:pt x="726" y="750"/>
                      <a:pt x="726" y="750"/>
                      <a:pt x="726" y="750"/>
                    </a:cubicBezTo>
                    <a:cubicBezTo>
                      <a:pt x="854" y="620"/>
                      <a:pt x="979" y="433"/>
                      <a:pt x="1061" y="230"/>
                    </a:cubicBezTo>
                    <a:cubicBezTo>
                      <a:pt x="1061" y="230"/>
                      <a:pt x="1061" y="230"/>
                      <a:pt x="1061" y="230"/>
                    </a:cubicBezTo>
                    <a:lnTo>
                      <a:pt x="1091" y="240"/>
                    </a:lnTo>
                    <a:close/>
                    <a:moveTo>
                      <a:pt x="1390" y="450"/>
                    </a:moveTo>
                    <a:cubicBezTo>
                      <a:pt x="1390" y="450"/>
                      <a:pt x="1390" y="450"/>
                      <a:pt x="1390" y="450"/>
                    </a:cubicBezTo>
                    <a:cubicBezTo>
                      <a:pt x="1390" y="450"/>
                      <a:pt x="1342" y="510"/>
                      <a:pt x="1200" y="638"/>
                    </a:cubicBezTo>
                    <a:cubicBezTo>
                      <a:pt x="1167" y="668"/>
                      <a:pt x="1149" y="686"/>
                      <a:pt x="1117" y="714"/>
                    </a:cubicBezTo>
                    <a:cubicBezTo>
                      <a:pt x="1117" y="1182"/>
                      <a:pt x="1117" y="1182"/>
                      <a:pt x="1117" y="1182"/>
                    </a:cubicBezTo>
                    <a:cubicBezTo>
                      <a:pt x="1088" y="1190"/>
                      <a:pt x="1088" y="1190"/>
                      <a:pt x="1088" y="1190"/>
                    </a:cubicBezTo>
                    <a:cubicBezTo>
                      <a:pt x="1088" y="1189"/>
                      <a:pt x="965" y="1150"/>
                      <a:pt x="755" y="1144"/>
                    </a:cubicBezTo>
                    <a:cubicBezTo>
                      <a:pt x="547" y="1137"/>
                      <a:pt x="237" y="1195"/>
                      <a:pt x="1" y="1321"/>
                    </a:cubicBezTo>
                    <a:cubicBezTo>
                      <a:pt x="11" y="1322"/>
                      <a:pt x="11" y="1322"/>
                      <a:pt x="11" y="1322"/>
                    </a:cubicBezTo>
                    <a:cubicBezTo>
                      <a:pt x="11" y="1322"/>
                      <a:pt x="646" y="1074"/>
                      <a:pt x="1384" y="1327"/>
                    </a:cubicBezTo>
                    <a:cubicBezTo>
                      <a:pt x="1384" y="1327"/>
                      <a:pt x="1384" y="1327"/>
                      <a:pt x="1384" y="1327"/>
                    </a:cubicBezTo>
                    <a:cubicBezTo>
                      <a:pt x="1412" y="1317"/>
                      <a:pt x="1412" y="1317"/>
                      <a:pt x="1412" y="1317"/>
                    </a:cubicBezTo>
                    <a:cubicBezTo>
                      <a:pt x="1412" y="462"/>
                      <a:pt x="1412" y="462"/>
                      <a:pt x="1412" y="462"/>
                    </a:cubicBezTo>
                    <a:lnTo>
                      <a:pt x="1390" y="450"/>
                    </a:lnTo>
                    <a:close/>
                    <a:moveTo>
                      <a:pt x="700" y="9"/>
                    </a:moveTo>
                    <a:cubicBezTo>
                      <a:pt x="666" y="0"/>
                      <a:pt x="666" y="0"/>
                      <a:pt x="666" y="0"/>
                    </a:cubicBezTo>
                    <a:cubicBezTo>
                      <a:pt x="666" y="0"/>
                      <a:pt x="666" y="0"/>
                      <a:pt x="666" y="0"/>
                    </a:cubicBezTo>
                    <a:cubicBezTo>
                      <a:pt x="666" y="0"/>
                      <a:pt x="666" y="0"/>
                      <a:pt x="666" y="0"/>
                    </a:cubicBezTo>
                    <a:cubicBezTo>
                      <a:pt x="665" y="0"/>
                      <a:pt x="665" y="0"/>
                      <a:pt x="665" y="0"/>
                    </a:cubicBezTo>
                    <a:cubicBezTo>
                      <a:pt x="665" y="4"/>
                      <a:pt x="665" y="4"/>
                      <a:pt x="665" y="4"/>
                    </a:cubicBezTo>
                    <a:cubicBezTo>
                      <a:pt x="661" y="33"/>
                      <a:pt x="625" y="255"/>
                      <a:pt x="464" y="568"/>
                    </a:cubicBezTo>
                    <a:cubicBezTo>
                      <a:pt x="368" y="753"/>
                      <a:pt x="223" y="984"/>
                      <a:pt x="0" y="1215"/>
                    </a:cubicBezTo>
                    <a:cubicBezTo>
                      <a:pt x="0" y="1321"/>
                      <a:pt x="0" y="1321"/>
                      <a:pt x="0" y="1321"/>
                    </a:cubicBezTo>
                    <a:cubicBezTo>
                      <a:pt x="0" y="1321"/>
                      <a:pt x="237" y="1097"/>
                      <a:pt x="661" y="1053"/>
                    </a:cubicBezTo>
                    <a:cubicBezTo>
                      <a:pt x="676" y="1052"/>
                      <a:pt x="676" y="1052"/>
                      <a:pt x="676" y="1052"/>
                    </a:cubicBezTo>
                    <a:cubicBezTo>
                      <a:pt x="700" y="1044"/>
                      <a:pt x="700" y="1044"/>
                      <a:pt x="700" y="1044"/>
                    </a:cubicBezTo>
                    <a:lnTo>
                      <a:pt x="700" y="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grpSp>
        <p:grpSp>
          <p:nvGrpSpPr>
            <p:cNvPr id="26" name="Group 25"/>
            <p:cNvGrpSpPr/>
            <p:nvPr/>
          </p:nvGrpSpPr>
          <p:grpSpPr>
            <a:xfrm>
              <a:off x="1493837" y="4030662"/>
              <a:ext cx="914400" cy="824739"/>
              <a:chOff x="274638" y="5056343"/>
              <a:chExt cx="914400" cy="824739"/>
            </a:xfrm>
            <a:grpFill/>
          </p:grpSpPr>
          <p:sp>
            <p:nvSpPr>
              <p:cNvPr id="33" name="TextBox 32"/>
              <p:cNvSpPr txBox="1"/>
              <p:nvPr/>
            </p:nvSpPr>
            <p:spPr bwMode="black">
              <a:xfrm>
                <a:off x="274638" y="5696416"/>
                <a:ext cx="914400" cy="184666"/>
              </a:xfrm>
              <a:prstGeom prst="rect">
                <a:avLst/>
              </a:prstGeom>
              <a:grpFill/>
            </p:spPr>
            <p:txBody>
              <a:bodyPr wrap="square" lIns="0" tIns="0" rIns="0" bIns="0" rtlCol="0">
                <a:noAutofit/>
              </a:bodyPr>
              <a:lstStyle/>
              <a:p>
                <a:pPr algn="ctr"/>
                <a:r>
                  <a:rPr lang="en-US" sz="1200" dirty="0" smtClean="0">
                    <a:gradFill>
                      <a:gsLst>
                        <a:gs pos="11111">
                          <a:schemeClr val="tx1"/>
                        </a:gs>
                        <a:gs pos="54000">
                          <a:schemeClr val="tx1"/>
                        </a:gs>
                      </a:gsLst>
                      <a:lin ang="5400000" scaled="0"/>
                    </a:gradFill>
                    <a:latin typeface="Segoe UI" panose="020B0502040204020203" pitchFamily="34" charset="0"/>
                  </a:rPr>
                  <a:t>Bing </a:t>
                </a:r>
                <a:endParaRPr lang="en-US" sz="1200" dirty="0">
                  <a:gradFill>
                    <a:gsLst>
                      <a:gs pos="11111">
                        <a:schemeClr val="tx1"/>
                      </a:gs>
                      <a:gs pos="54000">
                        <a:schemeClr val="tx1"/>
                      </a:gs>
                    </a:gsLst>
                    <a:lin ang="5400000" scaled="0"/>
                  </a:gradFill>
                  <a:latin typeface="Segoe UI" panose="020B0502040204020203" pitchFamily="34" charset="0"/>
                </a:endParaRPr>
              </a:p>
            </p:txBody>
          </p:sp>
          <p:sp>
            <p:nvSpPr>
              <p:cNvPr id="34" name="Freeform 17"/>
              <p:cNvSpPr>
                <a:spLocks noChangeAspect="1" noEditPoints="1"/>
              </p:cNvSpPr>
              <p:nvPr/>
            </p:nvSpPr>
            <p:spPr bwMode="black">
              <a:xfrm>
                <a:off x="549485" y="5056343"/>
                <a:ext cx="364706" cy="454698"/>
              </a:xfrm>
              <a:custGeom>
                <a:avLst/>
                <a:gdLst>
                  <a:gd name="T0" fmla="*/ 616 w 616"/>
                  <a:gd name="T1" fmla="*/ 320 h 768"/>
                  <a:gd name="T2" fmla="*/ 616 w 616"/>
                  <a:gd name="T3" fmla="*/ 505 h 768"/>
                  <a:gd name="T4" fmla="*/ 177 w 616"/>
                  <a:gd name="T5" fmla="*/ 768 h 768"/>
                  <a:gd name="T6" fmla="*/ 0 w 616"/>
                  <a:gd name="T7" fmla="*/ 646 h 768"/>
                  <a:gd name="T8" fmla="*/ 425 w 616"/>
                  <a:gd name="T9" fmla="*/ 422 h 768"/>
                  <a:gd name="T10" fmla="*/ 308 w 616"/>
                  <a:gd name="T11" fmla="*/ 367 h 768"/>
                  <a:gd name="T12" fmla="*/ 232 w 616"/>
                  <a:gd name="T13" fmla="*/ 200 h 768"/>
                  <a:gd name="T14" fmla="*/ 616 w 616"/>
                  <a:gd name="T15" fmla="*/ 320 h 768"/>
                  <a:gd name="T16" fmla="*/ 177 w 616"/>
                  <a:gd name="T17" fmla="*/ 55 h 768"/>
                  <a:gd name="T18" fmla="*/ 0 w 616"/>
                  <a:gd name="T19" fmla="*/ 0 h 768"/>
                  <a:gd name="T20" fmla="*/ 0 w 616"/>
                  <a:gd name="T21" fmla="*/ 646 h 768"/>
                  <a:gd name="T22" fmla="*/ 177 w 616"/>
                  <a:gd name="T23" fmla="*/ 486 h 768"/>
                  <a:gd name="T24" fmla="*/ 177 w 616"/>
                  <a:gd name="T25" fmla="*/ 55 h 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6" h="768">
                    <a:moveTo>
                      <a:pt x="616" y="320"/>
                    </a:moveTo>
                    <a:lnTo>
                      <a:pt x="616" y="505"/>
                    </a:lnTo>
                    <a:lnTo>
                      <a:pt x="177" y="768"/>
                    </a:lnTo>
                    <a:lnTo>
                      <a:pt x="0" y="646"/>
                    </a:lnTo>
                    <a:lnTo>
                      <a:pt x="425" y="422"/>
                    </a:lnTo>
                    <a:lnTo>
                      <a:pt x="308" y="367"/>
                    </a:lnTo>
                    <a:lnTo>
                      <a:pt x="232" y="200"/>
                    </a:lnTo>
                    <a:lnTo>
                      <a:pt x="616" y="320"/>
                    </a:lnTo>
                    <a:close/>
                    <a:moveTo>
                      <a:pt x="177" y="55"/>
                    </a:moveTo>
                    <a:lnTo>
                      <a:pt x="0" y="0"/>
                    </a:lnTo>
                    <a:lnTo>
                      <a:pt x="0" y="646"/>
                    </a:lnTo>
                    <a:lnTo>
                      <a:pt x="177" y="486"/>
                    </a:lnTo>
                    <a:lnTo>
                      <a:pt x="177" y="55"/>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27" name="Group 26"/>
            <p:cNvGrpSpPr/>
            <p:nvPr/>
          </p:nvGrpSpPr>
          <p:grpSpPr>
            <a:xfrm>
              <a:off x="2150278" y="4183062"/>
              <a:ext cx="943573" cy="673496"/>
              <a:chOff x="11299689" y="5203524"/>
              <a:chExt cx="898641" cy="673496"/>
            </a:xfrm>
            <a:grpFill/>
          </p:grpSpPr>
          <p:sp>
            <p:nvSpPr>
              <p:cNvPr id="31" name="Freeform 5"/>
              <p:cNvSpPr>
                <a:spLocks noChangeAspect="1" noEditPoints="1"/>
              </p:cNvSpPr>
              <p:nvPr/>
            </p:nvSpPr>
            <p:spPr bwMode="black">
              <a:xfrm>
                <a:off x="11511176" y="5203524"/>
                <a:ext cx="402206" cy="339293"/>
              </a:xfrm>
              <a:custGeom>
                <a:avLst/>
                <a:gdLst>
                  <a:gd name="T0" fmla="*/ 202 w 389"/>
                  <a:gd name="T1" fmla="*/ 6 h 328"/>
                  <a:gd name="T2" fmla="*/ 177 w 389"/>
                  <a:gd name="T3" fmla="*/ 18 h 328"/>
                  <a:gd name="T4" fmla="*/ 177 w 389"/>
                  <a:gd name="T5" fmla="*/ 19 h 328"/>
                  <a:gd name="T6" fmla="*/ 177 w 389"/>
                  <a:gd name="T7" fmla="*/ 20 h 328"/>
                  <a:gd name="T8" fmla="*/ 177 w 389"/>
                  <a:gd name="T9" fmla="*/ 20 h 328"/>
                  <a:gd name="T10" fmla="*/ 113 w 389"/>
                  <a:gd name="T11" fmla="*/ 188 h 328"/>
                  <a:gd name="T12" fmla="*/ 112 w 389"/>
                  <a:gd name="T13" fmla="*/ 188 h 328"/>
                  <a:gd name="T14" fmla="*/ 44 w 389"/>
                  <a:gd name="T15" fmla="*/ 17 h 328"/>
                  <a:gd name="T16" fmla="*/ 44 w 389"/>
                  <a:gd name="T17" fmla="*/ 17 h 328"/>
                  <a:gd name="T18" fmla="*/ 43 w 389"/>
                  <a:gd name="T19" fmla="*/ 14 h 328"/>
                  <a:gd name="T20" fmla="*/ 16 w 389"/>
                  <a:gd name="T21" fmla="*/ 4 h 328"/>
                  <a:gd name="T22" fmla="*/ 4 w 389"/>
                  <a:gd name="T23" fmla="*/ 30 h 328"/>
                  <a:gd name="T24" fmla="*/ 90 w 389"/>
                  <a:gd name="T25" fmla="*/ 241 h 328"/>
                  <a:gd name="T26" fmla="*/ 85 w 389"/>
                  <a:gd name="T27" fmla="*/ 252 h 328"/>
                  <a:gd name="T28" fmla="*/ 41 w 389"/>
                  <a:gd name="T29" fmla="*/ 291 h 328"/>
                  <a:gd name="T30" fmla="*/ 29 w 389"/>
                  <a:gd name="T31" fmla="*/ 291 h 328"/>
                  <a:gd name="T32" fmla="*/ 11 w 389"/>
                  <a:gd name="T33" fmla="*/ 304 h 328"/>
                  <a:gd name="T34" fmla="*/ 23 w 389"/>
                  <a:gd name="T35" fmla="*/ 326 h 328"/>
                  <a:gd name="T36" fmla="*/ 44 w 389"/>
                  <a:gd name="T37" fmla="*/ 328 h 328"/>
                  <a:gd name="T38" fmla="*/ 123 w 389"/>
                  <a:gd name="T39" fmla="*/ 260 h 328"/>
                  <a:gd name="T40" fmla="*/ 213 w 389"/>
                  <a:gd name="T41" fmla="*/ 36 h 328"/>
                  <a:gd name="T42" fmla="*/ 215 w 389"/>
                  <a:gd name="T43" fmla="*/ 32 h 328"/>
                  <a:gd name="T44" fmla="*/ 214 w 389"/>
                  <a:gd name="T45" fmla="*/ 32 h 328"/>
                  <a:gd name="T46" fmla="*/ 215 w 389"/>
                  <a:gd name="T47" fmla="*/ 31 h 328"/>
                  <a:gd name="T48" fmla="*/ 202 w 389"/>
                  <a:gd name="T49" fmla="*/ 6 h 328"/>
                  <a:gd name="T50" fmla="*/ 389 w 389"/>
                  <a:gd name="T51" fmla="*/ 169 h 328"/>
                  <a:gd name="T52" fmla="*/ 370 w 389"/>
                  <a:gd name="T53" fmla="*/ 188 h 328"/>
                  <a:gd name="T54" fmla="*/ 254 w 389"/>
                  <a:gd name="T55" fmla="*/ 170 h 328"/>
                  <a:gd name="T56" fmla="*/ 370 w 389"/>
                  <a:gd name="T57" fmla="*/ 149 h 328"/>
                  <a:gd name="T58" fmla="*/ 389 w 389"/>
                  <a:gd name="T59" fmla="*/ 169 h 328"/>
                  <a:gd name="T60" fmla="*/ 342 w 389"/>
                  <a:gd name="T61" fmla="*/ 52 h 328"/>
                  <a:gd name="T62" fmla="*/ 335 w 389"/>
                  <a:gd name="T63" fmla="*/ 78 h 328"/>
                  <a:gd name="T64" fmla="*/ 225 w 389"/>
                  <a:gd name="T65" fmla="*/ 119 h 328"/>
                  <a:gd name="T66" fmla="*/ 316 w 389"/>
                  <a:gd name="T67" fmla="*/ 44 h 328"/>
                  <a:gd name="T68" fmla="*/ 342 w 389"/>
                  <a:gd name="T69" fmla="*/ 52 h 328"/>
                  <a:gd name="T70" fmla="*/ 316 w 389"/>
                  <a:gd name="T71" fmla="*/ 296 h 328"/>
                  <a:gd name="T72" fmla="*/ 225 w 389"/>
                  <a:gd name="T73" fmla="*/ 221 h 328"/>
                  <a:gd name="T74" fmla="*/ 335 w 389"/>
                  <a:gd name="T75" fmla="*/ 262 h 328"/>
                  <a:gd name="T76" fmla="*/ 342 w 389"/>
                  <a:gd name="T77" fmla="*/ 288 h 328"/>
                  <a:gd name="T78" fmla="*/ 316 w 389"/>
                  <a:gd name="T79" fmla="*/ 296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89" h="328">
                    <a:moveTo>
                      <a:pt x="202" y="6"/>
                    </a:moveTo>
                    <a:cubicBezTo>
                      <a:pt x="192" y="3"/>
                      <a:pt x="181" y="8"/>
                      <a:pt x="177" y="18"/>
                    </a:cubicBezTo>
                    <a:cubicBezTo>
                      <a:pt x="177" y="18"/>
                      <a:pt x="177" y="19"/>
                      <a:pt x="177" y="19"/>
                    </a:cubicBezTo>
                    <a:cubicBezTo>
                      <a:pt x="177" y="20"/>
                      <a:pt x="177" y="20"/>
                      <a:pt x="177" y="20"/>
                    </a:cubicBezTo>
                    <a:cubicBezTo>
                      <a:pt x="177" y="20"/>
                      <a:pt x="177" y="20"/>
                      <a:pt x="177" y="20"/>
                    </a:cubicBezTo>
                    <a:cubicBezTo>
                      <a:pt x="170" y="38"/>
                      <a:pt x="113" y="188"/>
                      <a:pt x="113" y="188"/>
                    </a:cubicBezTo>
                    <a:cubicBezTo>
                      <a:pt x="112" y="188"/>
                      <a:pt x="112" y="188"/>
                      <a:pt x="112" y="188"/>
                    </a:cubicBezTo>
                    <a:cubicBezTo>
                      <a:pt x="44" y="17"/>
                      <a:pt x="44" y="17"/>
                      <a:pt x="44" y="17"/>
                    </a:cubicBezTo>
                    <a:cubicBezTo>
                      <a:pt x="44" y="17"/>
                      <a:pt x="44" y="17"/>
                      <a:pt x="44" y="17"/>
                    </a:cubicBezTo>
                    <a:cubicBezTo>
                      <a:pt x="43" y="14"/>
                      <a:pt x="43" y="14"/>
                      <a:pt x="43" y="14"/>
                    </a:cubicBezTo>
                    <a:cubicBezTo>
                      <a:pt x="38" y="5"/>
                      <a:pt x="27" y="0"/>
                      <a:pt x="16" y="4"/>
                    </a:cubicBezTo>
                    <a:cubicBezTo>
                      <a:pt x="6" y="8"/>
                      <a:pt x="0" y="19"/>
                      <a:pt x="4" y="30"/>
                    </a:cubicBezTo>
                    <a:cubicBezTo>
                      <a:pt x="12" y="51"/>
                      <a:pt x="90" y="241"/>
                      <a:pt x="90" y="241"/>
                    </a:cubicBezTo>
                    <a:cubicBezTo>
                      <a:pt x="85" y="252"/>
                      <a:pt x="85" y="252"/>
                      <a:pt x="85" y="252"/>
                    </a:cubicBezTo>
                    <a:cubicBezTo>
                      <a:pt x="77" y="276"/>
                      <a:pt x="67" y="291"/>
                      <a:pt x="41" y="291"/>
                    </a:cubicBezTo>
                    <a:cubicBezTo>
                      <a:pt x="39" y="291"/>
                      <a:pt x="30" y="291"/>
                      <a:pt x="29" y="291"/>
                    </a:cubicBezTo>
                    <a:cubicBezTo>
                      <a:pt x="21" y="290"/>
                      <a:pt x="13" y="296"/>
                      <a:pt x="11" y="304"/>
                    </a:cubicBezTo>
                    <a:cubicBezTo>
                      <a:pt x="8" y="314"/>
                      <a:pt x="14" y="323"/>
                      <a:pt x="23" y="326"/>
                    </a:cubicBezTo>
                    <a:cubicBezTo>
                      <a:pt x="30" y="327"/>
                      <a:pt x="37" y="328"/>
                      <a:pt x="44" y="328"/>
                    </a:cubicBezTo>
                    <a:cubicBezTo>
                      <a:pt x="91" y="328"/>
                      <a:pt x="107" y="300"/>
                      <a:pt x="123" y="260"/>
                    </a:cubicBezTo>
                    <a:cubicBezTo>
                      <a:pt x="123" y="260"/>
                      <a:pt x="209" y="45"/>
                      <a:pt x="213" y="36"/>
                    </a:cubicBezTo>
                    <a:cubicBezTo>
                      <a:pt x="214" y="34"/>
                      <a:pt x="214" y="33"/>
                      <a:pt x="215" y="32"/>
                    </a:cubicBezTo>
                    <a:cubicBezTo>
                      <a:pt x="214" y="32"/>
                      <a:pt x="214" y="32"/>
                      <a:pt x="214" y="32"/>
                    </a:cubicBezTo>
                    <a:cubicBezTo>
                      <a:pt x="215" y="31"/>
                      <a:pt x="215" y="31"/>
                      <a:pt x="215" y="31"/>
                    </a:cubicBezTo>
                    <a:cubicBezTo>
                      <a:pt x="218" y="20"/>
                      <a:pt x="212" y="9"/>
                      <a:pt x="202" y="6"/>
                    </a:cubicBezTo>
                    <a:close/>
                    <a:moveTo>
                      <a:pt x="389" y="169"/>
                    </a:moveTo>
                    <a:cubicBezTo>
                      <a:pt x="389" y="179"/>
                      <a:pt x="381" y="188"/>
                      <a:pt x="370" y="188"/>
                    </a:cubicBezTo>
                    <a:cubicBezTo>
                      <a:pt x="359" y="188"/>
                      <a:pt x="254" y="181"/>
                      <a:pt x="254" y="170"/>
                    </a:cubicBezTo>
                    <a:cubicBezTo>
                      <a:pt x="254" y="159"/>
                      <a:pt x="359" y="149"/>
                      <a:pt x="370" y="149"/>
                    </a:cubicBezTo>
                    <a:cubicBezTo>
                      <a:pt x="381" y="149"/>
                      <a:pt x="389" y="158"/>
                      <a:pt x="389" y="169"/>
                    </a:cubicBezTo>
                    <a:close/>
                    <a:moveTo>
                      <a:pt x="342" y="52"/>
                    </a:moveTo>
                    <a:cubicBezTo>
                      <a:pt x="348" y="61"/>
                      <a:pt x="344" y="73"/>
                      <a:pt x="335" y="78"/>
                    </a:cubicBezTo>
                    <a:cubicBezTo>
                      <a:pt x="326" y="83"/>
                      <a:pt x="231" y="128"/>
                      <a:pt x="225" y="119"/>
                    </a:cubicBezTo>
                    <a:cubicBezTo>
                      <a:pt x="220" y="109"/>
                      <a:pt x="307" y="49"/>
                      <a:pt x="316" y="44"/>
                    </a:cubicBezTo>
                    <a:cubicBezTo>
                      <a:pt x="325" y="39"/>
                      <a:pt x="337" y="42"/>
                      <a:pt x="342" y="52"/>
                    </a:cubicBezTo>
                    <a:close/>
                    <a:moveTo>
                      <a:pt x="316" y="296"/>
                    </a:moveTo>
                    <a:cubicBezTo>
                      <a:pt x="307" y="290"/>
                      <a:pt x="220" y="230"/>
                      <a:pt x="225" y="221"/>
                    </a:cubicBezTo>
                    <a:cubicBezTo>
                      <a:pt x="231" y="212"/>
                      <a:pt x="326" y="256"/>
                      <a:pt x="335" y="262"/>
                    </a:cubicBezTo>
                    <a:cubicBezTo>
                      <a:pt x="344" y="267"/>
                      <a:pt x="348" y="279"/>
                      <a:pt x="342" y="288"/>
                    </a:cubicBezTo>
                    <a:cubicBezTo>
                      <a:pt x="337" y="298"/>
                      <a:pt x="325" y="301"/>
                      <a:pt x="316" y="296"/>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32" name="TextBox 31"/>
              <p:cNvSpPr txBox="1"/>
              <p:nvPr/>
            </p:nvSpPr>
            <p:spPr bwMode="black">
              <a:xfrm>
                <a:off x="11299689" y="5691197"/>
                <a:ext cx="898641" cy="185823"/>
              </a:xfrm>
              <a:prstGeom prst="rect">
                <a:avLst/>
              </a:prstGeom>
              <a:grpFill/>
            </p:spPr>
            <p:txBody>
              <a:bodyPr wrap="square" lIns="0" tIns="0" rIns="0" bIns="0" rtlCol="0">
                <a:noAutofit/>
              </a:bodyPr>
              <a:lstStyle/>
              <a:p>
                <a:pPr algn="ctr"/>
                <a:r>
                  <a:rPr lang="en-US" sz="1200" dirty="0" smtClean="0">
                    <a:gradFill>
                      <a:gsLst>
                        <a:gs pos="11111">
                          <a:schemeClr val="tx1"/>
                        </a:gs>
                        <a:gs pos="54000">
                          <a:schemeClr val="tx1"/>
                        </a:gs>
                      </a:gsLst>
                    </a:gradFill>
                    <a:latin typeface="Segoe UI" panose="020B0502040204020203" pitchFamily="34" charset="0"/>
                  </a:rPr>
                  <a:t>Yammer</a:t>
                </a:r>
                <a:endParaRPr lang="en-US" sz="1200" dirty="0">
                  <a:gradFill>
                    <a:gsLst>
                      <a:gs pos="11111">
                        <a:schemeClr val="tx1"/>
                      </a:gs>
                      <a:gs pos="54000">
                        <a:schemeClr val="tx1"/>
                      </a:gs>
                    </a:gsLst>
                  </a:gradFill>
                  <a:latin typeface="Segoe UI" panose="020B0502040204020203" pitchFamily="34" charset="0"/>
                </a:endParaRPr>
              </a:p>
            </p:txBody>
          </p:sp>
        </p:grpSp>
        <p:grpSp>
          <p:nvGrpSpPr>
            <p:cNvPr id="28" name="Group 27"/>
            <p:cNvGrpSpPr/>
            <p:nvPr/>
          </p:nvGrpSpPr>
          <p:grpSpPr>
            <a:xfrm>
              <a:off x="2179637" y="4945062"/>
              <a:ext cx="966868" cy="838200"/>
              <a:chOff x="7594932" y="5041746"/>
              <a:chExt cx="966868" cy="838200"/>
            </a:xfrm>
            <a:grpFill/>
          </p:grpSpPr>
          <p:sp>
            <p:nvSpPr>
              <p:cNvPr id="29" name="TextBox 28"/>
              <p:cNvSpPr txBox="1"/>
              <p:nvPr/>
            </p:nvSpPr>
            <p:spPr bwMode="black">
              <a:xfrm>
                <a:off x="7594932" y="5696437"/>
                <a:ext cx="966868" cy="183509"/>
              </a:xfrm>
              <a:prstGeom prst="rect">
                <a:avLst/>
              </a:prstGeom>
              <a:grpFill/>
            </p:spPr>
            <p:txBody>
              <a:bodyPr wrap="square" lIns="0" tIns="0" rIns="0" bIns="0" rtlCol="0">
                <a:noAutofit/>
              </a:bodyPr>
              <a:lstStyle/>
              <a:p>
                <a:pPr algn="ctr"/>
                <a:r>
                  <a:rPr lang="en-US" sz="1200" dirty="0" smtClean="0">
                    <a:gradFill>
                      <a:gsLst>
                        <a:gs pos="11111">
                          <a:schemeClr val="tx1"/>
                        </a:gs>
                        <a:gs pos="54000">
                          <a:schemeClr val="tx1"/>
                        </a:gs>
                      </a:gsLst>
                      <a:lin ang="5400000" scaled="0"/>
                    </a:gradFill>
                    <a:latin typeface="Segoe UI" panose="020B0502040204020203" pitchFamily="34" charset="0"/>
                  </a:rPr>
                  <a:t>TFS</a:t>
                </a:r>
                <a:endParaRPr lang="en-US" sz="1200" dirty="0">
                  <a:gradFill>
                    <a:gsLst>
                      <a:gs pos="11111">
                        <a:schemeClr val="tx1"/>
                      </a:gs>
                      <a:gs pos="54000">
                        <a:schemeClr val="tx1"/>
                      </a:gs>
                    </a:gsLst>
                    <a:lin ang="5400000" scaled="0"/>
                  </a:gradFill>
                  <a:latin typeface="Segoe UI" panose="020B0502040204020203" pitchFamily="34" charset="0"/>
                </a:endParaRPr>
              </a:p>
            </p:txBody>
          </p:sp>
          <p:sp>
            <p:nvSpPr>
              <p:cNvPr id="30" name="Freeform 13"/>
              <p:cNvSpPr>
                <a:spLocks noChangeAspect="1" noEditPoints="1"/>
              </p:cNvSpPr>
              <p:nvPr/>
            </p:nvSpPr>
            <p:spPr bwMode="black">
              <a:xfrm>
                <a:off x="7804523" y="5041746"/>
                <a:ext cx="495218" cy="495837"/>
              </a:xfrm>
              <a:custGeom>
                <a:avLst/>
                <a:gdLst>
                  <a:gd name="T0" fmla="*/ 600 w 800"/>
                  <a:gd name="T1" fmla="*/ 0 h 801"/>
                  <a:gd name="T2" fmla="*/ 283 w 800"/>
                  <a:gd name="T3" fmla="*/ 317 h 801"/>
                  <a:gd name="T4" fmla="*/ 81 w 800"/>
                  <a:gd name="T5" fmla="*/ 159 h 801"/>
                  <a:gd name="T6" fmla="*/ 0 w 800"/>
                  <a:gd name="T7" fmla="*/ 200 h 801"/>
                  <a:gd name="T8" fmla="*/ 0 w 800"/>
                  <a:gd name="T9" fmla="*/ 600 h 801"/>
                  <a:gd name="T10" fmla="*/ 81 w 800"/>
                  <a:gd name="T11" fmla="*/ 641 h 801"/>
                  <a:gd name="T12" fmla="*/ 283 w 800"/>
                  <a:gd name="T13" fmla="*/ 484 h 801"/>
                  <a:gd name="T14" fmla="*/ 600 w 800"/>
                  <a:gd name="T15" fmla="*/ 801 h 801"/>
                  <a:gd name="T16" fmla="*/ 800 w 800"/>
                  <a:gd name="T17" fmla="*/ 722 h 801"/>
                  <a:gd name="T18" fmla="*/ 800 w 800"/>
                  <a:gd name="T19" fmla="*/ 78 h 801"/>
                  <a:gd name="T20" fmla="*/ 600 w 800"/>
                  <a:gd name="T21" fmla="*/ 0 h 801"/>
                  <a:gd name="T22" fmla="*/ 81 w 800"/>
                  <a:gd name="T23" fmla="*/ 519 h 801"/>
                  <a:gd name="T24" fmla="*/ 81 w 800"/>
                  <a:gd name="T25" fmla="*/ 281 h 801"/>
                  <a:gd name="T26" fmla="*/ 200 w 800"/>
                  <a:gd name="T27" fmla="*/ 400 h 801"/>
                  <a:gd name="T28" fmla="*/ 81 w 800"/>
                  <a:gd name="T29" fmla="*/ 519 h 801"/>
                  <a:gd name="T30" fmla="*/ 388 w 800"/>
                  <a:gd name="T31" fmla="*/ 400 h 801"/>
                  <a:gd name="T32" fmla="*/ 600 w 800"/>
                  <a:gd name="T33" fmla="*/ 236 h 801"/>
                  <a:gd name="T34" fmla="*/ 600 w 800"/>
                  <a:gd name="T35" fmla="*/ 565 h 801"/>
                  <a:gd name="T36" fmla="*/ 388 w 800"/>
                  <a:gd name="T37" fmla="*/ 400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00" h="801">
                    <a:moveTo>
                      <a:pt x="600" y="0"/>
                    </a:moveTo>
                    <a:lnTo>
                      <a:pt x="283" y="317"/>
                    </a:lnTo>
                    <a:lnTo>
                      <a:pt x="81" y="159"/>
                    </a:lnTo>
                    <a:lnTo>
                      <a:pt x="0" y="200"/>
                    </a:lnTo>
                    <a:lnTo>
                      <a:pt x="0" y="600"/>
                    </a:lnTo>
                    <a:lnTo>
                      <a:pt x="81" y="641"/>
                    </a:lnTo>
                    <a:lnTo>
                      <a:pt x="283" y="484"/>
                    </a:lnTo>
                    <a:lnTo>
                      <a:pt x="600" y="801"/>
                    </a:lnTo>
                    <a:lnTo>
                      <a:pt x="800" y="722"/>
                    </a:lnTo>
                    <a:lnTo>
                      <a:pt x="800" y="78"/>
                    </a:lnTo>
                    <a:lnTo>
                      <a:pt x="600" y="0"/>
                    </a:lnTo>
                    <a:close/>
                    <a:moveTo>
                      <a:pt x="81" y="519"/>
                    </a:moveTo>
                    <a:lnTo>
                      <a:pt x="81" y="281"/>
                    </a:lnTo>
                    <a:lnTo>
                      <a:pt x="200" y="400"/>
                    </a:lnTo>
                    <a:lnTo>
                      <a:pt x="81" y="519"/>
                    </a:lnTo>
                    <a:close/>
                    <a:moveTo>
                      <a:pt x="388" y="400"/>
                    </a:moveTo>
                    <a:lnTo>
                      <a:pt x="600" y="236"/>
                    </a:lnTo>
                    <a:lnTo>
                      <a:pt x="600" y="565"/>
                    </a:lnTo>
                    <a:lnTo>
                      <a:pt x="388" y="400"/>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grpSp>
      <p:pic>
        <p:nvPicPr>
          <p:cNvPr id="41" name="Picture 12"/>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455418" y="1978230"/>
            <a:ext cx="731520" cy="731520"/>
          </a:xfrm>
          <a:prstGeom prst="rect">
            <a:avLst/>
          </a:prstGeom>
          <a:noFill/>
          <a:ln w="317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2" name="Picture 1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0172444" y="1978230"/>
            <a:ext cx="731520" cy="731520"/>
          </a:xfrm>
          <a:prstGeom prst="rect">
            <a:avLst/>
          </a:prstGeom>
          <a:noFill/>
          <a:ln w="317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3" name="Picture 16"/>
          <p:cNvPicPr>
            <a:picLocks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455418" y="2709758"/>
            <a:ext cx="731520" cy="731520"/>
          </a:xfrm>
          <a:prstGeom prst="rect">
            <a:avLst/>
          </a:prstGeom>
          <a:noFill/>
          <a:ln w="317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4" name="Picture 18" descr="https://www.ibm.com/developerworks/community/groups/service/html/image?communityUuid=fc834388-7630-4b28-9abd-2f6e702b7df7&amp;lastMod=1365609981050&amp;showDefaultForNoPermissions=true"/>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0172444" y="2709758"/>
            <a:ext cx="731519" cy="731520"/>
          </a:xfrm>
          <a:prstGeom prst="rect">
            <a:avLst/>
          </a:prstGeom>
          <a:noFill/>
          <a:ln w="3175">
            <a:solidFill>
              <a:schemeClr val="tx1"/>
            </a:solidFill>
            <a:miter lim="800000"/>
            <a:headEnd/>
            <a:tailEnd/>
          </a:ln>
          <a:effectLst/>
          <a:extLst>
            <a:ext uri="{909E8E84-426E-40DD-AFC4-6F175D3DCCD1}">
              <a14:hiddenFill xmlns:a14="http://schemas.microsoft.com/office/drawing/2010/main">
                <a:solidFill>
                  <a:srgbClr val="FFFFFF"/>
                </a:solidFill>
              </a14:hiddenFill>
            </a:ext>
          </a:extLst>
        </p:spPr>
      </p:pic>
      <p:sp>
        <p:nvSpPr>
          <p:cNvPr id="45" name="TextBox 44"/>
          <p:cNvSpPr txBox="1"/>
          <p:nvPr/>
        </p:nvSpPr>
        <p:spPr>
          <a:xfrm>
            <a:off x="9487478" y="3808816"/>
            <a:ext cx="2424017" cy="457200"/>
          </a:xfrm>
          <a:prstGeom prst="rect">
            <a:avLst/>
          </a:prstGeom>
          <a:noFill/>
        </p:spPr>
        <p:txBody>
          <a:bodyPr wrap="square" lIns="182880" tIns="146304" rIns="182880" bIns="146304" rtlCol="0">
            <a:noAutofit/>
          </a:bodyPr>
          <a:lstStyle/>
          <a:p>
            <a:endParaRPr lang="en-US" sz="1100" dirty="0" smtClean="0">
              <a:gradFill>
                <a:gsLst>
                  <a:gs pos="1250">
                    <a:schemeClr val="tx1"/>
                  </a:gs>
                  <a:gs pos="99000">
                    <a:schemeClr val="tx1"/>
                  </a:gs>
                </a:gsLst>
                <a:lin ang="5400000" scaled="0"/>
              </a:gradFill>
            </a:endParaRPr>
          </a:p>
        </p:txBody>
      </p:sp>
      <p:pic>
        <p:nvPicPr>
          <p:cNvPr id="46" name="Picture 2" descr="http://www.revolutionanalytics.com/sites/default/files/rev_13287_logo_clarkhead_rgb_final_av-450px.png"/>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7635043" y="2814886"/>
            <a:ext cx="881217" cy="7402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77344882"/>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dirty="0" err="1" smtClean="0"/>
              <a:t>Données</a:t>
            </a:r>
            <a:r>
              <a:rPr lang="en-US" dirty="0" smtClean="0"/>
              <a:t>, </a:t>
            </a:r>
            <a:r>
              <a:rPr lang="en-US" dirty="0" err="1" smtClean="0"/>
              <a:t>données</a:t>
            </a:r>
            <a:r>
              <a:rPr lang="en-US" dirty="0" smtClean="0"/>
              <a:t>, </a:t>
            </a:r>
            <a:r>
              <a:rPr lang="en-US" dirty="0" err="1" smtClean="0"/>
              <a:t>données</a:t>
            </a:r>
            <a:r>
              <a:rPr lang="en-US" dirty="0" smtClean="0"/>
              <a:t> ….</a:t>
            </a:r>
            <a:br>
              <a:rPr lang="en-US" dirty="0" smtClean="0"/>
            </a:br>
            <a:endParaRPr lang="en-US" sz="3200" dirty="0">
              <a:solidFill>
                <a:schemeClr val="tx1"/>
              </a:solidFill>
            </a:endParaRPr>
          </a:p>
        </p:txBody>
      </p:sp>
      <p:sp>
        <p:nvSpPr>
          <p:cNvPr id="4" name="Text Placeholder 3"/>
          <p:cNvSpPr>
            <a:spLocks noGrp="1"/>
          </p:cNvSpPr>
          <p:nvPr>
            <p:ph type="body" sz="quarter" idx="14"/>
          </p:nvPr>
        </p:nvSpPr>
        <p:spPr/>
        <p:txBody>
          <a:bodyPr/>
          <a:lstStyle/>
          <a:p>
            <a:r>
              <a:rPr lang="fr-FR" dirty="0" smtClean="0"/>
              <a:t>Les données d’aujourd’hui</a:t>
            </a:r>
            <a:endParaRPr lang="fr-FR" dirty="0"/>
          </a:p>
        </p:txBody>
      </p:sp>
      <p:sp>
        <p:nvSpPr>
          <p:cNvPr id="5" name="Text Placeholder 4"/>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sp>
        <p:nvSpPr>
          <p:cNvPr id="16" name="Rectangle 15"/>
          <p:cNvSpPr/>
          <p:nvPr/>
        </p:nvSpPr>
        <p:spPr>
          <a:xfrm>
            <a:off x="598577" y="2009490"/>
            <a:ext cx="11424391" cy="4008051"/>
          </a:xfrm>
          <a:prstGeom prst="rect">
            <a:avLst/>
          </a:prstGeom>
          <a:solidFill>
            <a:schemeClr val="tx2"/>
          </a:solidFill>
          <a:ln>
            <a:solidFill>
              <a:schemeClr val="tx2"/>
            </a:solidFill>
            <a:tailEnd type="stealth" w="lg" len="lg"/>
          </a:ln>
        </p:spPr>
        <p:style>
          <a:lnRef idx="1">
            <a:schemeClr val="dk1"/>
          </a:lnRef>
          <a:fillRef idx="3">
            <a:schemeClr val="dk1"/>
          </a:fillRef>
          <a:effectRef idx="2">
            <a:schemeClr val="dk1"/>
          </a:effectRef>
          <a:fontRef idx="minor">
            <a:schemeClr val="lt1"/>
          </a:fontRef>
        </p:style>
        <p:txBody>
          <a:bodyPr rtlCol="0" anchor="ctr"/>
          <a:lstStyle/>
          <a:p>
            <a:pPr algn="ctr"/>
            <a:endParaRPr lang="en-US" sz="1836">
              <a:solidFill>
                <a:schemeClr val="tx2"/>
              </a:solidFill>
            </a:endParaRPr>
          </a:p>
        </p:txBody>
      </p:sp>
      <p:grpSp>
        <p:nvGrpSpPr>
          <p:cNvPr id="17" name="Group 16"/>
          <p:cNvGrpSpPr/>
          <p:nvPr/>
        </p:nvGrpSpPr>
        <p:grpSpPr>
          <a:xfrm>
            <a:off x="800584" y="2030296"/>
            <a:ext cx="3497263" cy="2311312"/>
            <a:chOff x="650700" y="2269340"/>
            <a:chExt cx="3429000" cy="2266198"/>
          </a:xfrm>
        </p:grpSpPr>
        <p:sp>
          <p:nvSpPr>
            <p:cNvPr id="18" name="Rectangle 17"/>
            <p:cNvSpPr/>
            <p:nvPr/>
          </p:nvSpPr>
          <p:spPr>
            <a:xfrm>
              <a:off x="650700" y="2269340"/>
              <a:ext cx="3429000" cy="838200"/>
            </a:xfrm>
            <a:prstGeom prst="rect">
              <a:avLst/>
            </a:prstGeom>
            <a:ln>
              <a:tailEnd type="stealth" w="lg" len="lg"/>
            </a:ln>
          </p:spPr>
          <p:style>
            <a:lnRef idx="1">
              <a:schemeClr val="accent6"/>
            </a:lnRef>
            <a:fillRef idx="3">
              <a:schemeClr val="accent6"/>
            </a:fillRef>
            <a:effectRef idx="2">
              <a:schemeClr val="accent6"/>
            </a:effectRef>
            <a:fontRef idx="minor">
              <a:schemeClr val="lt1"/>
            </a:fontRef>
          </p:style>
          <p:txBody>
            <a:bodyPr lIns="186521" rtlCol="0" anchor="ctr"/>
            <a:lstStyle/>
            <a:p>
              <a:pPr defTabSz="932597">
                <a:lnSpc>
                  <a:spcPct val="90000"/>
                </a:lnSpc>
              </a:pPr>
              <a:r>
                <a:rPr lang="en-US" sz="1850" b="1" dirty="0" smtClean="0">
                  <a:solidFill>
                    <a:schemeClr val="bg1"/>
                  </a:solidFill>
                </a:rPr>
                <a:t>Les </a:t>
              </a:r>
              <a:r>
                <a:rPr lang="en-US" sz="1850" b="1" dirty="0" err="1" smtClean="0">
                  <a:solidFill>
                    <a:schemeClr val="bg1"/>
                  </a:solidFill>
                </a:rPr>
                <a:t>données</a:t>
              </a:r>
              <a:r>
                <a:rPr lang="en-US" sz="1850" b="1" dirty="0" smtClean="0">
                  <a:solidFill>
                    <a:schemeClr val="bg1"/>
                  </a:solidFill>
                </a:rPr>
                <a:t> </a:t>
              </a:r>
              <a:r>
                <a:rPr lang="en-US" sz="1850" b="1" dirty="0" err="1" smtClean="0">
                  <a:solidFill>
                    <a:schemeClr val="bg1"/>
                  </a:solidFill>
                </a:rPr>
                <a:t>sont</a:t>
              </a:r>
              <a:r>
                <a:rPr lang="en-US" sz="1850" b="1" dirty="0" smtClean="0">
                  <a:solidFill>
                    <a:schemeClr val="bg1"/>
                  </a:solidFill>
                </a:rPr>
                <a:t> critiques</a:t>
              </a:r>
              <a:endParaRPr lang="en-US" sz="1850" b="1" dirty="0">
                <a:solidFill>
                  <a:schemeClr val="bg1"/>
                </a:solidFill>
              </a:endParaRPr>
            </a:p>
          </p:txBody>
        </p:sp>
        <p:sp>
          <p:nvSpPr>
            <p:cNvPr id="21" name="TextBox 20"/>
            <p:cNvSpPr txBox="1"/>
            <p:nvPr/>
          </p:nvSpPr>
          <p:spPr>
            <a:xfrm>
              <a:off x="770926" y="3183740"/>
              <a:ext cx="3058531" cy="1351798"/>
            </a:xfrm>
            <a:prstGeom prst="rect">
              <a:avLst/>
            </a:prstGeom>
            <a:noFill/>
          </p:spPr>
          <p:txBody>
            <a:bodyPr wrap="square" rtlCol="0">
              <a:noAutofit/>
            </a:bodyPr>
            <a:lstStyle/>
            <a:p>
              <a:pPr marL="0" lvl="1">
                <a:buClr>
                  <a:schemeClr val="tx1"/>
                </a:buClr>
              </a:pPr>
              <a:r>
                <a:rPr lang="en-US" sz="1836" dirty="0" err="1" smtClean="0">
                  <a:solidFill>
                    <a:schemeClr val="bg1"/>
                  </a:solidFill>
                </a:rPr>
                <a:t>C’est</a:t>
              </a:r>
              <a:r>
                <a:rPr lang="en-US" sz="1836" dirty="0" smtClean="0">
                  <a:solidFill>
                    <a:schemeClr val="bg1"/>
                  </a:solidFill>
                </a:rPr>
                <a:t> le nerf de la guerre, et </a:t>
              </a:r>
              <a:r>
                <a:rPr lang="en-US" sz="1836" dirty="0" err="1" smtClean="0">
                  <a:solidFill>
                    <a:schemeClr val="bg1"/>
                  </a:solidFill>
                </a:rPr>
                <a:t>ce</a:t>
              </a:r>
              <a:r>
                <a:rPr lang="en-US" sz="1836" dirty="0">
                  <a:solidFill>
                    <a:schemeClr val="bg1"/>
                  </a:solidFill>
                </a:rPr>
                <a:t> </a:t>
              </a:r>
              <a:r>
                <a:rPr lang="en-US" sz="1836" dirty="0" smtClean="0">
                  <a:solidFill>
                    <a:schemeClr val="bg1"/>
                  </a:solidFill>
                </a:rPr>
                <a:t>pour quoi on </a:t>
              </a:r>
              <a:r>
                <a:rPr lang="en-US" sz="1836" dirty="0" err="1" smtClean="0">
                  <a:solidFill>
                    <a:schemeClr val="bg1"/>
                  </a:solidFill>
                </a:rPr>
                <a:t>vous</a:t>
              </a:r>
              <a:r>
                <a:rPr lang="en-US" sz="1836" dirty="0" smtClean="0">
                  <a:solidFill>
                    <a:schemeClr val="bg1"/>
                  </a:solidFill>
                </a:rPr>
                <a:t> </a:t>
              </a:r>
              <a:r>
                <a:rPr lang="en-US" sz="1836" dirty="0" err="1" smtClean="0">
                  <a:solidFill>
                    <a:schemeClr val="bg1"/>
                  </a:solidFill>
                </a:rPr>
                <a:t>paie</a:t>
              </a:r>
              <a:r>
                <a:rPr lang="en-US" sz="1836" dirty="0" smtClean="0">
                  <a:solidFill>
                    <a:schemeClr val="bg1"/>
                  </a:solidFill>
                </a:rPr>
                <a:t> </a:t>
              </a:r>
              <a:r>
                <a:rPr lang="en-US" sz="1836" dirty="0" smtClean="0">
                  <a:solidFill>
                    <a:schemeClr val="bg1"/>
                  </a:solidFill>
                  <a:sym typeface="Wingdings" panose="05000000000000000000" pitchFamily="2" charset="2"/>
                </a:rPr>
                <a:t></a:t>
              </a:r>
              <a:endParaRPr lang="en-US" sz="1836" dirty="0">
                <a:solidFill>
                  <a:schemeClr val="bg1"/>
                </a:solidFill>
              </a:endParaRPr>
            </a:p>
          </p:txBody>
        </p:sp>
      </p:grpSp>
      <p:grpSp>
        <p:nvGrpSpPr>
          <p:cNvPr id="22" name="Group 21"/>
          <p:cNvGrpSpPr/>
          <p:nvPr/>
        </p:nvGrpSpPr>
        <p:grpSpPr>
          <a:xfrm>
            <a:off x="4570871" y="2030296"/>
            <a:ext cx="3497263" cy="2311312"/>
            <a:chOff x="4347395" y="2269340"/>
            <a:chExt cx="3429000" cy="2266198"/>
          </a:xfrm>
        </p:grpSpPr>
        <p:sp>
          <p:nvSpPr>
            <p:cNvPr id="24" name="Rectangle 23"/>
            <p:cNvSpPr/>
            <p:nvPr/>
          </p:nvSpPr>
          <p:spPr>
            <a:xfrm>
              <a:off x="4347395" y="2269340"/>
              <a:ext cx="3429000" cy="838200"/>
            </a:xfrm>
            <a:prstGeom prst="rect">
              <a:avLst/>
            </a:prstGeom>
            <a:ln>
              <a:tailEnd type="stealth" w="lg" len="lg"/>
            </a:ln>
          </p:spPr>
          <p:style>
            <a:lnRef idx="1">
              <a:schemeClr val="accent5"/>
            </a:lnRef>
            <a:fillRef idx="3">
              <a:schemeClr val="accent5"/>
            </a:fillRef>
            <a:effectRef idx="2">
              <a:schemeClr val="accent5"/>
            </a:effectRef>
            <a:fontRef idx="minor">
              <a:schemeClr val="lt1"/>
            </a:fontRef>
          </p:style>
          <p:txBody>
            <a:bodyPr lIns="186521" rtlCol="0" anchor="ctr"/>
            <a:lstStyle/>
            <a:p>
              <a:pPr defTabSz="932597">
                <a:lnSpc>
                  <a:spcPct val="90000"/>
                </a:lnSpc>
              </a:pPr>
              <a:r>
                <a:rPr lang="en-US" sz="1850" b="1" dirty="0" smtClean="0">
                  <a:solidFill>
                    <a:schemeClr val="bg1"/>
                  </a:solidFill>
                </a:rPr>
                <a:t>Les </a:t>
              </a:r>
              <a:r>
                <a:rPr lang="en-US" sz="1850" b="1" dirty="0" err="1" smtClean="0">
                  <a:solidFill>
                    <a:schemeClr val="bg1"/>
                  </a:solidFill>
                </a:rPr>
                <a:t>données</a:t>
              </a:r>
              <a:r>
                <a:rPr lang="en-US" sz="1850" b="1" dirty="0" smtClean="0">
                  <a:solidFill>
                    <a:schemeClr val="bg1"/>
                  </a:solidFill>
                </a:rPr>
                <a:t> </a:t>
              </a:r>
              <a:r>
                <a:rPr lang="en-US" sz="1850" b="1" dirty="0" err="1" smtClean="0">
                  <a:solidFill>
                    <a:schemeClr val="bg1"/>
                  </a:solidFill>
                </a:rPr>
                <a:t>abondent</a:t>
              </a:r>
              <a:endParaRPr lang="en-US" sz="1850" b="1" dirty="0">
                <a:solidFill>
                  <a:schemeClr val="bg1"/>
                </a:solidFill>
              </a:endParaRPr>
            </a:p>
          </p:txBody>
        </p:sp>
        <p:sp>
          <p:nvSpPr>
            <p:cNvPr id="25" name="TextBox 24"/>
            <p:cNvSpPr txBox="1"/>
            <p:nvPr/>
          </p:nvSpPr>
          <p:spPr>
            <a:xfrm>
              <a:off x="4418012" y="3183740"/>
              <a:ext cx="2819400" cy="1351798"/>
            </a:xfrm>
            <a:prstGeom prst="rect">
              <a:avLst/>
            </a:prstGeom>
            <a:noFill/>
          </p:spPr>
          <p:txBody>
            <a:bodyPr wrap="square" rtlCol="0">
              <a:noAutofit/>
            </a:bodyPr>
            <a:lstStyle/>
            <a:p>
              <a:pPr marL="0" lvl="1">
                <a:buClr>
                  <a:schemeClr val="tx1"/>
                </a:buClr>
              </a:pPr>
              <a:r>
                <a:rPr lang="en-US" sz="1836" dirty="0" smtClean="0">
                  <a:solidFill>
                    <a:schemeClr val="bg1"/>
                  </a:solidFill>
                </a:rPr>
                <a:t>Le </a:t>
              </a:r>
              <a:r>
                <a:rPr lang="en-US" sz="1836" dirty="0" err="1" smtClean="0">
                  <a:solidFill>
                    <a:schemeClr val="bg1"/>
                  </a:solidFill>
                </a:rPr>
                <a:t>cout</a:t>
              </a:r>
              <a:r>
                <a:rPr lang="en-US" sz="1836" dirty="0" smtClean="0">
                  <a:solidFill>
                    <a:schemeClr val="bg1"/>
                  </a:solidFill>
                </a:rPr>
                <a:t> de </a:t>
              </a:r>
              <a:r>
                <a:rPr lang="en-US" sz="1836" dirty="0" err="1" smtClean="0">
                  <a:solidFill>
                    <a:schemeClr val="bg1"/>
                  </a:solidFill>
                </a:rPr>
                <a:t>stockage</a:t>
              </a:r>
              <a:r>
                <a:rPr lang="en-US" sz="1836" dirty="0" smtClean="0">
                  <a:solidFill>
                    <a:schemeClr val="bg1"/>
                  </a:solidFill>
                </a:rPr>
                <a:t> </a:t>
              </a:r>
              <a:r>
                <a:rPr lang="en-US" sz="1836" dirty="0" err="1" smtClean="0">
                  <a:solidFill>
                    <a:schemeClr val="bg1"/>
                  </a:solidFill>
                </a:rPr>
                <a:t>est</a:t>
              </a:r>
              <a:r>
                <a:rPr lang="en-US" sz="1836" dirty="0" smtClean="0">
                  <a:solidFill>
                    <a:schemeClr val="bg1"/>
                  </a:solidFill>
                </a:rPr>
                <a:t> </a:t>
              </a:r>
              <a:r>
                <a:rPr lang="en-US" sz="1836" dirty="0" err="1" smtClean="0">
                  <a:solidFill>
                    <a:schemeClr val="bg1"/>
                  </a:solidFill>
                </a:rPr>
                <a:t>moindre</a:t>
              </a:r>
              <a:endParaRPr lang="en-US" sz="1836" dirty="0">
                <a:solidFill>
                  <a:schemeClr val="bg1"/>
                </a:solidFill>
              </a:endParaRPr>
            </a:p>
            <a:p>
              <a:pPr marL="0" lvl="1">
                <a:buClr>
                  <a:schemeClr val="tx1"/>
                </a:buClr>
              </a:pPr>
              <a:endParaRPr lang="en-US" sz="1836" dirty="0">
                <a:solidFill>
                  <a:schemeClr val="bg1"/>
                </a:solidFill>
              </a:endParaRPr>
            </a:p>
            <a:p>
              <a:pPr marL="0" lvl="1">
                <a:buClr>
                  <a:schemeClr val="tx1"/>
                </a:buClr>
              </a:pPr>
              <a:r>
                <a:rPr lang="en-US" sz="1836" dirty="0" smtClean="0">
                  <a:solidFill>
                    <a:schemeClr val="bg1"/>
                  </a:solidFill>
                </a:rPr>
                <a:t>Les sources de </a:t>
              </a:r>
              <a:r>
                <a:rPr lang="en-US" sz="1836" dirty="0" err="1" smtClean="0">
                  <a:solidFill>
                    <a:schemeClr val="bg1"/>
                  </a:solidFill>
                </a:rPr>
                <a:t>données</a:t>
              </a:r>
              <a:r>
                <a:rPr lang="en-US" sz="1836" dirty="0" smtClean="0">
                  <a:solidFill>
                    <a:schemeClr val="bg1"/>
                  </a:solidFill>
                </a:rPr>
                <a:t> se </a:t>
              </a:r>
              <a:r>
                <a:rPr lang="en-US" sz="1836" dirty="0" err="1" smtClean="0">
                  <a:solidFill>
                    <a:schemeClr val="bg1"/>
                  </a:solidFill>
                </a:rPr>
                <a:t>multiplient</a:t>
              </a:r>
              <a:r>
                <a:rPr lang="en-US" sz="1836" dirty="0" smtClean="0">
                  <a:solidFill>
                    <a:schemeClr val="bg1"/>
                  </a:solidFill>
                </a:rPr>
                <a:t> :</a:t>
              </a:r>
              <a:endParaRPr lang="en-US" sz="1836" dirty="0">
                <a:solidFill>
                  <a:schemeClr val="bg1"/>
                </a:solidFill>
              </a:endParaRPr>
            </a:p>
            <a:p>
              <a:pPr marL="291436" lvl="1" indent="-291436">
                <a:buClr>
                  <a:schemeClr val="tx1"/>
                </a:buClr>
                <a:buFontTx/>
                <a:buChar char="-"/>
              </a:pPr>
              <a:r>
                <a:rPr lang="en-US" sz="1836" dirty="0" smtClean="0">
                  <a:solidFill>
                    <a:schemeClr val="bg1"/>
                  </a:solidFill>
                </a:rPr>
                <a:t>Web</a:t>
              </a:r>
              <a:endParaRPr lang="en-US" sz="1836" dirty="0">
                <a:solidFill>
                  <a:schemeClr val="bg1"/>
                </a:solidFill>
              </a:endParaRPr>
            </a:p>
            <a:p>
              <a:pPr marL="291436" lvl="1" indent="-291436">
                <a:buClr>
                  <a:schemeClr val="tx1"/>
                </a:buClr>
                <a:buFontTx/>
                <a:buChar char="-"/>
              </a:pPr>
              <a:r>
                <a:rPr lang="en-US" sz="1836" dirty="0" err="1" smtClean="0">
                  <a:solidFill>
                    <a:schemeClr val="bg1"/>
                  </a:solidFill>
                </a:rPr>
                <a:t>IoT</a:t>
              </a:r>
              <a:endParaRPr lang="en-US" sz="1836" dirty="0">
                <a:solidFill>
                  <a:schemeClr val="bg1"/>
                </a:solidFill>
              </a:endParaRPr>
            </a:p>
            <a:p>
              <a:pPr marL="291436" lvl="1" indent="-291436">
                <a:buClr>
                  <a:schemeClr val="tx1"/>
                </a:buClr>
                <a:buFontTx/>
                <a:buChar char="-"/>
              </a:pPr>
              <a:r>
                <a:rPr lang="en-US" sz="1836" dirty="0" smtClean="0">
                  <a:solidFill>
                    <a:schemeClr val="bg1"/>
                  </a:solidFill>
                </a:rPr>
                <a:t>Social</a:t>
              </a:r>
              <a:endParaRPr lang="en-US" sz="1836" dirty="0">
                <a:solidFill>
                  <a:schemeClr val="bg1"/>
                </a:solidFill>
              </a:endParaRPr>
            </a:p>
          </p:txBody>
        </p:sp>
      </p:grpSp>
      <p:grpSp>
        <p:nvGrpSpPr>
          <p:cNvPr id="26" name="Group 25"/>
          <p:cNvGrpSpPr/>
          <p:nvPr/>
        </p:nvGrpSpPr>
        <p:grpSpPr>
          <a:xfrm>
            <a:off x="8341157" y="2030296"/>
            <a:ext cx="3497263" cy="2311312"/>
            <a:chOff x="8044090" y="2269340"/>
            <a:chExt cx="3429000" cy="2266198"/>
          </a:xfrm>
        </p:grpSpPr>
        <p:sp>
          <p:nvSpPr>
            <p:cNvPr id="27" name="Rectangle 26"/>
            <p:cNvSpPr/>
            <p:nvPr/>
          </p:nvSpPr>
          <p:spPr>
            <a:xfrm>
              <a:off x="8044090" y="2269340"/>
              <a:ext cx="3429000" cy="838200"/>
            </a:xfrm>
            <a:prstGeom prst="rect">
              <a:avLst/>
            </a:prstGeom>
            <a:ln>
              <a:tailEnd type="stealth" w="lg" len="lg"/>
            </a:ln>
          </p:spPr>
          <p:style>
            <a:lnRef idx="1">
              <a:schemeClr val="accent4"/>
            </a:lnRef>
            <a:fillRef idx="3">
              <a:schemeClr val="accent4"/>
            </a:fillRef>
            <a:effectRef idx="2">
              <a:schemeClr val="accent4"/>
            </a:effectRef>
            <a:fontRef idx="minor">
              <a:schemeClr val="lt1"/>
            </a:fontRef>
          </p:style>
          <p:txBody>
            <a:bodyPr lIns="186521" rtlCol="0" anchor="ctr"/>
            <a:lstStyle/>
            <a:p>
              <a:pPr defTabSz="932597">
                <a:lnSpc>
                  <a:spcPct val="90000"/>
                </a:lnSpc>
              </a:pPr>
              <a:r>
                <a:rPr lang="en-US" sz="1850" b="1" dirty="0" smtClean="0">
                  <a:solidFill>
                    <a:schemeClr val="bg1"/>
                  </a:solidFill>
                </a:rPr>
                <a:t>De </a:t>
              </a:r>
              <a:r>
                <a:rPr lang="en-US" sz="1850" b="1" dirty="0" err="1" smtClean="0">
                  <a:solidFill>
                    <a:schemeClr val="bg1"/>
                  </a:solidFill>
                </a:rPr>
                <a:t>nouvelles</a:t>
              </a:r>
              <a:r>
                <a:rPr lang="en-US" sz="1850" b="1" dirty="0" smtClean="0">
                  <a:solidFill>
                    <a:schemeClr val="bg1"/>
                  </a:solidFill>
                </a:rPr>
                <a:t> technologies </a:t>
              </a:r>
              <a:endParaRPr lang="en-US" sz="1850" b="1" dirty="0">
                <a:solidFill>
                  <a:schemeClr val="bg1"/>
                </a:solidFill>
              </a:endParaRPr>
            </a:p>
          </p:txBody>
        </p:sp>
        <p:sp>
          <p:nvSpPr>
            <p:cNvPr id="28" name="TextBox 27"/>
            <p:cNvSpPr txBox="1"/>
            <p:nvPr/>
          </p:nvSpPr>
          <p:spPr>
            <a:xfrm>
              <a:off x="8044090" y="3183740"/>
              <a:ext cx="3429000" cy="1351798"/>
            </a:xfrm>
            <a:prstGeom prst="rect">
              <a:avLst/>
            </a:prstGeom>
            <a:noFill/>
          </p:spPr>
          <p:txBody>
            <a:bodyPr wrap="square" rtlCol="0">
              <a:noAutofit/>
            </a:bodyPr>
            <a:lstStyle/>
            <a:p>
              <a:pPr marL="0" lvl="1">
                <a:buClr>
                  <a:schemeClr val="tx1"/>
                </a:buClr>
              </a:pPr>
              <a:r>
                <a:rPr lang="en-US" sz="1836" dirty="0" smtClean="0">
                  <a:solidFill>
                    <a:schemeClr val="bg1"/>
                  </a:solidFill>
                </a:rPr>
                <a:t>NoSQL</a:t>
              </a:r>
              <a:endParaRPr lang="en-US" sz="1836" dirty="0">
                <a:solidFill>
                  <a:schemeClr val="bg1"/>
                </a:solidFill>
              </a:endParaRPr>
            </a:p>
            <a:p>
              <a:pPr marL="0" lvl="1">
                <a:buClr>
                  <a:schemeClr val="tx1"/>
                </a:buClr>
              </a:pPr>
              <a:endParaRPr lang="en-US" sz="1836" dirty="0">
                <a:solidFill>
                  <a:schemeClr val="bg1"/>
                </a:solidFill>
              </a:endParaRPr>
            </a:p>
            <a:p>
              <a:pPr marL="0" lvl="1">
                <a:buClr>
                  <a:schemeClr val="tx1"/>
                </a:buClr>
              </a:pPr>
              <a:r>
                <a:rPr lang="en-US" sz="1836" dirty="0" err="1" smtClean="0">
                  <a:solidFill>
                    <a:schemeClr val="bg1"/>
                  </a:solidFill>
                </a:rPr>
                <a:t>Analyse</a:t>
              </a:r>
              <a:r>
                <a:rPr lang="en-US" sz="1836" dirty="0" smtClean="0">
                  <a:solidFill>
                    <a:schemeClr val="bg1"/>
                  </a:solidFill>
                </a:rPr>
                <a:t> </a:t>
              </a:r>
              <a:r>
                <a:rPr lang="en-US" sz="1836" dirty="0" err="1" smtClean="0">
                  <a:solidFill>
                    <a:schemeClr val="bg1"/>
                  </a:solidFill>
                </a:rPr>
                <a:t>en</a:t>
              </a:r>
              <a:r>
                <a:rPr lang="en-US" sz="1836" dirty="0" smtClean="0">
                  <a:solidFill>
                    <a:schemeClr val="bg1"/>
                  </a:solidFill>
                </a:rPr>
                <a:t> </a:t>
              </a:r>
              <a:r>
                <a:rPr lang="en-US" sz="1836" dirty="0" err="1" smtClean="0">
                  <a:solidFill>
                    <a:schemeClr val="bg1"/>
                  </a:solidFill>
                </a:rPr>
                <a:t>parrallèle</a:t>
              </a:r>
              <a:endParaRPr lang="en-US" sz="1836" dirty="0">
                <a:solidFill>
                  <a:schemeClr val="bg1"/>
                </a:solidFill>
              </a:endParaRPr>
            </a:p>
            <a:p>
              <a:pPr marL="0" lvl="1">
                <a:buClr>
                  <a:schemeClr val="tx1"/>
                </a:buClr>
              </a:pPr>
              <a:endParaRPr lang="en-US" sz="1836" dirty="0">
                <a:solidFill>
                  <a:schemeClr val="bg1"/>
                </a:solidFill>
              </a:endParaRPr>
            </a:p>
            <a:p>
              <a:pPr marL="0" lvl="1">
                <a:buClr>
                  <a:schemeClr val="tx1"/>
                </a:buClr>
              </a:pPr>
              <a:r>
                <a:rPr lang="en-US" sz="1836" dirty="0" smtClean="0">
                  <a:solidFill>
                    <a:schemeClr val="bg1"/>
                  </a:solidFill>
                </a:rPr>
                <a:t>Streaming</a:t>
              </a:r>
            </a:p>
            <a:p>
              <a:pPr marL="0" lvl="1">
                <a:buClr>
                  <a:schemeClr val="tx1"/>
                </a:buClr>
              </a:pPr>
              <a:endParaRPr lang="en-US" sz="1836" dirty="0">
                <a:solidFill>
                  <a:schemeClr val="bg1"/>
                </a:solidFill>
              </a:endParaRPr>
            </a:p>
            <a:p>
              <a:pPr marL="0" lvl="1">
                <a:buClr>
                  <a:schemeClr val="tx1"/>
                </a:buClr>
              </a:pPr>
              <a:r>
                <a:rPr lang="en-US" sz="1836" dirty="0" smtClean="0">
                  <a:solidFill>
                    <a:schemeClr val="bg1"/>
                  </a:solidFill>
                </a:rPr>
                <a:t>Et plus encore ….</a:t>
              </a:r>
              <a:endParaRPr lang="en-US" sz="1836" dirty="0">
                <a:solidFill>
                  <a:schemeClr val="bg1"/>
                </a:solidFill>
              </a:endParaRPr>
            </a:p>
            <a:p>
              <a:pPr marL="291436" lvl="1" indent="-291436">
                <a:buClr>
                  <a:schemeClr val="tx1"/>
                </a:buClr>
                <a:buFontTx/>
                <a:buChar char="-"/>
              </a:pPr>
              <a:endParaRPr lang="en-US" sz="1836" dirty="0">
                <a:solidFill>
                  <a:schemeClr val="bg1"/>
                </a:solidFill>
              </a:endParaRPr>
            </a:p>
          </p:txBody>
        </p:sp>
      </p:grpSp>
    </p:spTree>
    <p:extLst>
      <p:ext uri="{BB962C8B-B14F-4D97-AF65-F5344CB8AC3E}">
        <p14:creationId xmlns:p14="http://schemas.microsoft.com/office/powerpoint/2010/main" val="20100406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2"/>
                                        </p:tgtEl>
                                        <p:attrNameLst>
                                          <p:attrName>style.visibility</p:attrName>
                                        </p:attrNameLst>
                                      </p:cBhvr>
                                      <p:to>
                                        <p:strVal val="visible"/>
                                      </p:to>
                                    </p:set>
                                    <p:animEffect transition="in" filter="fade">
                                      <p:cBhvr>
                                        <p:cTn id="12" dur="500"/>
                                        <p:tgtEl>
                                          <p:spTgt spid="2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6"/>
                                        </p:tgtEl>
                                        <p:attrNameLst>
                                          <p:attrName>style.visibility</p:attrName>
                                        </p:attrNameLst>
                                      </p:cBhvr>
                                      <p:to>
                                        <p:strVal val="visible"/>
                                      </p:to>
                                    </p:set>
                                    <p:animEffect transition="in" filter="fade">
                                      <p:cBhvr>
                                        <p:cTn id="17"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JSON to Table</a:t>
            </a:r>
            <a:endParaRPr lang="en-US" dirty="0"/>
          </a:p>
        </p:txBody>
      </p:sp>
      <p:sp>
        <p:nvSpPr>
          <p:cNvPr id="2" name="Text Placeholder 1"/>
          <p:cNvSpPr>
            <a:spLocks noGrp="1"/>
          </p:cNvSpPr>
          <p:nvPr>
            <p:ph type="body" sz="quarter" idx="13"/>
          </p:nvPr>
        </p:nvSpPr>
        <p:spPr/>
        <p:txBody>
          <a:bodyPr/>
          <a:lstStyle/>
          <a:p>
            <a:endParaRPr lang="fr-FR"/>
          </a:p>
        </p:txBody>
      </p:sp>
      <p:sp>
        <p:nvSpPr>
          <p:cNvPr id="11" name="Text Placeholder 10"/>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sp>
        <p:nvSpPr>
          <p:cNvPr id="5" name="Content Placeholder 2"/>
          <p:cNvSpPr txBox="1">
            <a:spLocks/>
          </p:cNvSpPr>
          <p:nvPr/>
        </p:nvSpPr>
        <p:spPr>
          <a:xfrm>
            <a:off x="350837" y="1268411"/>
            <a:ext cx="4114800" cy="5127477"/>
          </a:xfrm>
          <a:prstGeom prst="rect">
            <a:avLst/>
          </a:prstGeom>
          <a:solidFill>
            <a:schemeClr val="bg1"/>
          </a:solidFill>
        </p:spPr>
        <p:txBody>
          <a:bodyPr>
            <a:no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nSpc>
                <a:spcPct val="100000"/>
              </a:lnSpc>
              <a:spcBef>
                <a:spcPts val="0"/>
              </a:spcBef>
              <a:spcAft>
                <a:spcPts val="1200"/>
              </a:spcAft>
              <a:buClrTx/>
              <a:buSzTx/>
              <a:buNone/>
            </a:pPr>
            <a:r>
              <a:rPr lang="en-US" sz="2400" dirty="0" smtClean="0">
                <a:gradFill>
                  <a:gsLst>
                    <a:gs pos="93939">
                      <a:srgbClr val="525252"/>
                    </a:gs>
                    <a:gs pos="74242">
                      <a:srgbClr val="525252"/>
                    </a:gs>
                  </a:gsLst>
                  <a:lin ang="5400000" scaled="0"/>
                </a:gradFill>
                <a:latin typeface="Segoe UI" panose="020B0502040204020203" pitchFamily="34" charset="0"/>
                <a:cs typeface="Segoe UI" panose="020B0502040204020203" pitchFamily="34" charset="0"/>
              </a:rPr>
              <a:t>@</a:t>
            </a:r>
            <a:r>
              <a:rPr lang="en-US" sz="2400" dirty="0" err="1" smtClean="0">
                <a:gradFill>
                  <a:gsLst>
                    <a:gs pos="93939">
                      <a:srgbClr val="525252"/>
                    </a:gs>
                    <a:gs pos="74242">
                      <a:srgbClr val="525252"/>
                    </a:gs>
                  </a:gsLst>
                  <a:lin ang="5400000" scaled="0"/>
                </a:gradFill>
                <a:latin typeface="Segoe UI" panose="020B0502040204020203" pitchFamily="34" charset="0"/>
                <a:cs typeface="Segoe UI" panose="020B0502040204020203" pitchFamily="34" charset="0"/>
              </a:rPr>
              <a:t>json</a:t>
            </a:r>
            <a:r>
              <a:rPr lang="en-US" sz="2400" dirty="0" smtClean="0">
                <a:gradFill>
                  <a:gsLst>
                    <a:gs pos="93939">
                      <a:srgbClr val="525252"/>
                    </a:gs>
                    <a:gs pos="74242">
                      <a:srgbClr val="525252"/>
                    </a:gs>
                  </a:gsLst>
                  <a:lin ang="5400000" scaled="0"/>
                </a:gradFill>
                <a:latin typeface="Segoe UI" panose="020B0502040204020203" pitchFamily="34" charset="0"/>
                <a:cs typeface="Segoe UI" panose="020B0502040204020203" pitchFamily="34" charset="0"/>
              </a:rPr>
              <a:t>:</a:t>
            </a:r>
            <a:endPar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endParaRPr>
          </a:p>
          <a:p>
            <a:pPr marL="0" indent="0">
              <a:buNone/>
            </a:pP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Order": {</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Number":"SO43659",</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Date":"2011-05-31T00:00:00"</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Account": "Microsoft",</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Item": {</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Price":59.99,</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Quantity":1</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Order":{</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Number":"SO43661",</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Date":"2011-06-01T00:00:00“</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Account": “Nokia“,</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Item":{</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Price":24.99,</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Quantity":3</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 </a:t>
            </a:r>
            <a:endParaRPr lang="en-US" sz="1200" dirty="0">
              <a:gradFill>
                <a:gsLst>
                  <a:gs pos="1250">
                    <a:srgbClr val="000000"/>
                  </a:gs>
                  <a:gs pos="100000">
                    <a:srgbClr val="000000"/>
                  </a:gs>
                </a:gsLst>
                <a:lin ang="5400000" scaled="0"/>
              </a:gradFill>
              <a:latin typeface="Consolas" panose="020B0609020204030204" pitchFamily="49" charset="0"/>
              <a:cs typeface="Consolas" panose="020B0609020204030204" pitchFamily="49" charset="0"/>
            </a:endParaRPr>
          </a:p>
        </p:txBody>
      </p:sp>
      <p:sp>
        <p:nvSpPr>
          <p:cNvPr id="7" name="Notched Right Arrow 3"/>
          <p:cNvSpPr>
            <a:spLocks noChangeAspect="1"/>
          </p:cNvSpPr>
          <p:nvPr/>
        </p:nvSpPr>
        <p:spPr bwMode="black">
          <a:xfrm rot="5400000">
            <a:off x="8117756" y="3754943"/>
            <a:ext cx="557696" cy="382687"/>
          </a:xfrm>
          <a:custGeom>
            <a:avLst/>
            <a:gdLst>
              <a:gd name="connsiteX0" fmla="*/ 0 w 557696"/>
              <a:gd name="connsiteY0" fmla="*/ 68377 h 382687"/>
              <a:gd name="connsiteX1" fmla="*/ 366353 w 557696"/>
              <a:gd name="connsiteY1" fmla="*/ 68377 h 382687"/>
              <a:gd name="connsiteX2" fmla="*/ 366353 w 557696"/>
              <a:gd name="connsiteY2" fmla="*/ 0 h 382687"/>
              <a:gd name="connsiteX3" fmla="*/ 557696 w 557696"/>
              <a:gd name="connsiteY3" fmla="*/ 191344 h 382687"/>
              <a:gd name="connsiteX4" fmla="*/ 366353 w 557696"/>
              <a:gd name="connsiteY4" fmla="*/ 382687 h 382687"/>
              <a:gd name="connsiteX5" fmla="*/ 366353 w 557696"/>
              <a:gd name="connsiteY5" fmla="*/ 314310 h 382687"/>
              <a:gd name="connsiteX6" fmla="*/ 0 w 557696"/>
              <a:gd name="connsiteY6" fmla="*/ 314310 h 382687"/>
              <a:gd name="connsiteX7" fmla="*/ 122967 w 557696"/>
              <a:gd name="connsiteY7" fmla="*/ 191344 h 382687"/>
              <a:gd name="connsiteX8" fmla="*/ 0 w 557696"/>
              <a:gd name="connsiteY8" fmla="*/ 68377 h 382687"/>
              <a:gd name="connsiteX0" fmla="*/ 0 w 557696"/>
              <a:gd name="connsiteY0" fmla="*/ 68377 h 382687"/>
              <a:gd name="connsiteX1" fmla="*/ 366353 w 557696"/>
              <a:gd name="connsiteY1" fmla="*/ 68377 h 382687"/>
              <a:gd name="connsiteX2" fmla="*/ 366353 w 557696"/>
              <a:gd name="connsiteY2" fmla="*/ 0 h 382687"/>
              <a:gd name="connsiteX3" fmla="*/ 557696 w 557696"/>
              <a:gd name="connsiteY3" fmla="*/ 191344 h 382687"/>
              <a:gd name="connsiteX4" fmla="*/ 366353 w 557696"/>
              <a:gd name="connsiteY4" fmla="*/ 382687 h 382687"/>
              <a:gd name="connsiteX5" fmla="*/ 366353 w 557696"/>
              <a:gd name="connsiteY5" fmla="*/ 314310 h 382687"/>
              <a:gd name="connsiteX6" fmla="*/ 0 w 557696"/>
              <a:gd name="connsiteY6" fmla="*/ 314310 h 382687"/>
              <a:gd name="connsiteX7" fmla="*/ 116143 w 557696"/>
              <a:gd name="connsiteY7" fmla="*/ 191344 h 382687"/>
              <a:gd name="connsiteX8" fmla="*/ 0 w 557696"/>
              <a:gd name="connsiteY8" fmla="*/ 68377 h 382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7696" h="382687">
                <a:moveTo>
                  <a:pt x="0" y="68377"/>
                </a:moveTo>
                <a:lnTo>
                  <a:pt x="366353" y="68377"/>
                </a:lnTo>
                <a:lnTo>
                  <a:pt x="366353" y="0"/>
                </a:lnTo>
                <a:lnTo>
                  <a:pt x="557696" y="191344"/>
                </a:lnTo>
                <a:lnTo>
                  <a:pt x="366353" y="382687"/>
                </a:lnTo>
                <a:lnTo>
                  <a:pt x="366353" y="314310"/>
                </a:lnTo>
                <a:lnTo>
                  <a:pt x="0" y="314310"/>
                </a:lnTo>
                <a:lnTo>
                  <a:pt x="116143" y="191344"/>
                </a:lnTo>
                <a:lnTo>
                  <a:pt x="0" y="68377"/>
                </a:lnTo>
                <a:close/>
              </a:path>
            </a:pathLst>
          </a:custGeom>
          <a:solidFill>
            <a:schemeClr val="tx1"/>
          </a:solidFill>
          <a:ln>
            <a:noFill/>
          </a:ln>
        </p:spPr>
        <p:txBody>
          <a:bodyPr vert="horz" wrap="square" lIns="93278" tIns="46639" rIns="93278" bIns="46639" numCol="1" anchor="t" anchorCtr="0" compatLnSpc="1">
            <a:prstTxWarp prst="textNoShape">
              <a:avLst/>
            </a:prstTxWarp>
          </a:bodyPr>
          <a:lstStyle/>
          <a:p>
            <a:endParaRPr lang="en-US" dirty="0">
              <a:solidFill>
                <a:srgbClr val="000000"/>
              </a:solidFill>
            </a:endParaRPr>
          </a:p>
        </p:txBody>
      </p:sp>
      <p:sp>
        <p:nvSpPr>
          <p:cNvPr id="8" name="Text Placeholder 1"/>
          <p:cNvSpPr txBox="1">
            <a:spLocks/>
          </p:cNvSpPr>
          <p:nvPr/>
        </p:nvSpPr>
        <p:spPr>
          <a:xfrm>
            <a:off x="4465637" y="1268411"/>
            <a:ext cx="7799613" cy="3070076"/>
          </a:xfrm>
          <a:prstGeom prst="rect">
            <a:avLst/>
          </a:prstGeom>
          <a:solidFill>
            <a:srgbClr val="F0F0F0"/>
          </a:solidFill>
        </p:spPr>
        <p:txBody>
          <a:bodyPr vert="horz" wrap="square" lIns="182880" tIns="146304" rIns="182880" bIns="146304" rtlCol="0" anchor="t" anchorCtr="0">
            <a:noAutofit/>
          </a:bodyPr>
          <a:lstStyle>
            <a:lvl1pPr marL="0" marR="0" indent="0" algn="l" defTabSz="932742" rtl="0" eaLnBrk="1" fontAlgn="auto" latinLnBrk="0" hangingPunct="1">
              <a:lnSpc>
                <a:spcPct val="90000"/>
              </a:lnSpc>
              <a:spcBef>
                <a:spcPct val="20000"/>
              </a:spcBef>
              <a:spcAft>
                <a:spcPts val="0"/>
              </a:spcAft>
              <a:buClr>
                <a:schemeClr val="tx1"/>
              </a:buClr>
              <a:buSzPct val="90000"/>
              <a:buFont typeface="Arial" panose="020B0604020202020204" pitchFamily="34" charset="0"/>
              <a:buNone/>
              <a:tabLst/>
              <a:defRPr lang="en-US" sz="3600" kern="1200" spc="0" baseline="0" dirty="0" smtClean="0">
                <a:gradFill>
                  <a:gsLst>
                    <a:gs pos="1299">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Aft>
                <a:spcPts val="1200"/>
              </a:spcAft>
            </a:pPr>
            <a:r>
              <a:rPr lang="en-US" sz="2400" dirty="0" err="1" smtClean="0">
                <a:gradFill>
                  <a:gsLst>
                    <a:gs pos="96970">
                      <a:srgbClr val="525252"/>
                    </a:gs>
                    <a:gs pos="82828">
                      <a:srgbClr val="525252"/>
                    </a:gs>
                  </a:gsLst>
                  <a:lin ang="5400000" scaled="0"/>
                </a:gradFill>
                <a:latin typeface="Segoe UI" panose="020B0502040204020203" pitchFamily="34" charset="0"/>
                <a:cs typeface="Segoe UI" panose="020B0502040204020203" pitchFamily="34" charset="0"/>
              </a:rPr>
              <a:t>Requête</a:t>
            </a:r>
            <a:r>
              <a:rPr lang="en-US" sz="2400" dirty="0" smtClean="0">
                <a:gradFill>
                  <a:gsLst>
                    <a:gs pos="96970">
                      <a:srgbClr val="525252"/>
                    </a:gs>
                    <a:gs pos="82828">
                      <a:srgbClr val="525252"/>
                    </a:gs>
                  </a:gsLst>
                  <a:lin ang="5400000" scaled="0"/>
                </a:gradFill>
                <a:latin typeface="Segoe UI" panose="020B0502040204020203" pitchFamily="34" charset="0"/>
                <a:cs typeface="Segoe UI" panose="020B0502040204020203" pitchFamily="34" charset="0"/>
              </a:rPr>
              <a:t> avec la </a:t>
            </a:r>
            <a:r>
              <a:rPr lang="en-US" sz="2400" dirty="0" err="1" smtClean="0">
                <a:gradFill>
                  <a:gsLst>
                    <a:gs pos="96970">
                      <a:srgbClr val="525252"/>
                    </a:gs>
                    <a:gs pos="82828">
                      <a:srgbClr val="525252"/>
                    </a:gs>
                  </a:gsLst>
                  <a:lin ang="5400000" scaled="0"/>
                </a:gradFill>
                <a:latin typeface="Segoe UI" panose="020B0502040204020203" pitchFamily="34" charset="0"/>
                <a:cs typeface="Segoe UI" panose="020B0502040204020203" pitchFamily="34" charset="0"/>
              </a:rPr>
              <a:t>fonction</a:t>
            </a:r>
            <a:r>
              <a:rPr lang="en-US" sz="2400" dirty="0" smtClean="0">
                <a:gradFill>
                  <a:gsLst>
                    <a:gs pos="96970">
                      <a:srgbClr val="525252"/>
                    </a:gs>
                    <a:gs pos="82828">
                      <a:srgbClr val="525252"/>
                    </a:gs>
                  </a:gsLst>
                  <a:lin ang="5400000" scaled="0"/>
                </a:gradFill>
                <a:latin typeface="Segoe UI" panose="020B0502040204020203" pitchFamily="34" charset="0"/>
                <a:cs typeface="Segoe UI" panose="020B0502040204020203" pitchFamily="34" charset="0"/>
              </a:rPr>
              <a:t> OPENJSON :</a:t>
            </a:r>
          </a:p>
        </p:txBody>
      </p:sp>
      <p:sp>
        <p:nvSpPr>
          <p:cNvPr id="4" name="Content Placeholder 10"/>
          <p:cNvSpPr txBox="1">
            <a:spLocks/>
          </p:cNvSpPr>
          <p:nvPr/>
        </p:nvSpPr>
        <p:spPr>
          <a:xfrm>
            <a:off x="4663757" y="1995724"/>
            <a:ext cx="6126480" cy="1882538"/>
          </a:xfrm>
          <a:prstGeom prst="rect">
            <a:avLst/>
          </a:prstGeom>
          <a:solidFill>
            <a:schemeClr val="bg1"/>
          </a:solidFill>
        </p:spPr>
        <p:txBody>
          <a:bodyPr vert="horz" lIns="91440" tIns="45720" rIns="91440" bIns="45720" rtlCol="0">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sr-Latn-RS" sz="1600" b="0" i="0" u="none" strike="noStrike" kern="1200" cap="none" spc="0" normalizeH="0" baseline="0" noProof="0" dirty="0" smtClean="0">
                <a:ln>
                  <a:noFill/>
                </a:ln>
                <a:solidFill>
                  <a:srgbClr val="0000FF"/>
                </a:solidFill>
                <a:effectLst/>
                <a:uLnTx/>
                <a:uFillTx/>
                <a:latin typeface="Consolas"/>
                <a:ea typeface="+mn-ea"/>
                <a:cs typeface="+mn-cs"/>
              </a:rPr>
              <a:t>SELECT	</a:t>
            </a:r>
            <a:r>
              <a:rPr kumimoji="0" lang="en-US" sz="1600" b="0" i="0" u="none" strike="noStrike" kern="1200" cap="none" spc="0" normalizeH="0" baseline="0" noProof="0" dirty="0" smtClean="0">
                <a:ln>
                  <a:noFill/>
                </a:ln>
                <a:solidFill>
                  <a:srgbClr val="0000FF"/>
                </a:solidFill>
                <a:effectLst/>
                <a:uLnTx/>
                <a:uFillTx/>
                <a:latin typeface="Consolas"/>
                <a:ea typeface="+mn-ea"/>
                <a:cs typeface="+mn-cs"/>
              </a:rPr>
              <a:t>*</a:t>
            </a:r>
            <a:r>
              <a:rPr kumimoji="0" lang="sr-Latn-RS" sz="1600" b="0" i="0" u="none" strike="noStrike" kern="1200" cap="none" spc="0" normalizeH="0" baseline="0" noProof="0" dirty="0" smtClean="0">
                <a:ln>
                  <a:noFill/>
                </a:ln>
                <a:solidFill>
                  <a:prstClr val="black"/>
                </a:solidFill>
                <a:effectLst/>
                <a:uLnTx/>
                <a:uFillTx/>
                <a:latin typeface="Consolas"/>
                <a:ea typeface="+mn-ea"/>
                <a:cs typeface="+mn-cs"/>
              </a:rPr>
              <a:t> </a:t>
            </a:r>
          </a:p>
          <a:p>
            <a:pPr marL="0" indent="0">
              <a:buNone/>
            </a:pPr>
            <a:r>
              <a:rPr lang="en-US" sz="1600" dirty="0" smtClean="0">
                <a:solidFill>
                  <a:srgbClr val="0000FF"/>
                </a:solidFill>
                <a:latin typeface="Consolas" panose="020B0609020204030204" pitchFamily="49" charset="0"/>
              </a:rPr>
              <a:t>FROM OPENJSON </a:t>
            </a:r>
            <a:r>
              <a:rPr lang="en-US" sz="1600" dirty="0">
                <a:solidFill>
                  <a:srgbClr val="808080"/>
                </a:solidFill>
                <a:latin typeface="Consolas" panose="020B0609020204030204" pitchFamily="49" charset="0"/>
              </a:rPr>
              <a:t>(@</a:t>
            </a:r>
            <a:r>
              <a:rPr lang="en-US" sz="1600" dirty="0" err="1" smtClean="0">
                <a:solidFill>
                  <a:prstClr val="black"/>
                </a:solidFill>
                <a:latin typeface="Consolas" panose="020B0609020204030204" pitchFamily="49" charset="0"/>
              </a:rPr>
              <a:t>json</a:t>
            </a:r>
            <a:r>
              <a:rPr lang="en-US" sz="1600" dirty="0" smtClean="0">
                <a:solidFill>
                  <a:srgbClr val="808080"/>
                </a:solidFill>
                <a:latin typeface="Consolas" panose="020B0609020204030204" pitchFamily="49" charset="0"/>
              </a:rPr>
              <a:t>)</a:t>
            </a:r>
            <a:endParaRPr lang="en-US" sz="1600" dirty="0">
              <a:solidFill>
                <a:srgbClr val="808080"/>
              </a:solidFill>
              <a:latin typeface="Consolas" panose="020B0609020204030204" pitchFamily="49" charset="0"/>
            </a:endParaRPr>
          </a:p>
          <a:p>
            <a:pPr marL="0" indent="0">
              <a:buNone/>
            </a:pPr>
            <a:r>
              <a:rPr lang="en-US" sz="1600" dirty="0">
                <a:solidFill>
                  <a:srgbClr val="0000FF"/>
                </a:solidFill>
                <a:latin typeface="Consolas" panose="020B0609020204030204" pitchFamily="49" charset="0"/>
              </a:rPr>
              <a:t>WITH </a:t>
            </a:r>
            <a:r>
              <a:rPr lang="en-US" sz="1600" dirty="0">
                <a:solidFill>
                  <a:srgbClr val="808080"/>
                </a:solidFill>
                <a:latin typeface="Consolas" panose="020B0609020204030204" pitchFamily="49" charset="0"/>
              </a:rPr>
              <a:t>(</a:t>
            </a:r>
          </a:p>
          <a:p>
            <a:pPr marL="0" indent="0">
              <a:buNone/>
            </a:pPr>
            <a:r>
              <a:rPr lang="en-US" sz="1600" dirty="0" smtClean="0">
                <a:solidFill>
                  <a:srgbClr val="808080"/>
                </a:solidFill>
                <a:latin typeface="Consolas" panose="020B0609020204030204" pitchFamily="49" charset="0"/>
              </a:rPr>
              <a:t>       </a:t>
            </a:r>
            <a:r>
              <a:rPr lang="en-US" sz="1600" dirty="0">
                <a:solidFill>
                  <a:prstClr val="black"/>
                </a:solidFill>
                <a:latin typeface="Consolas" panose="020B0609020204030204" pitchFamily="49" charset="0"/>
              </a:rPr>
              <a:t>Number   </a:t>
            </a:r>
            <a:r>
              <a:rPr lang="en-US" sz="1600" dirty="0">
                <a:solidFill>
                  <a:srgbClr val="0000FF"/>
                </a:solidFill>
                <a:latin typeface="Consolas" panose="020B0609020204030204" pitchFamily="49" charset="0"/>
              </a:rPr>
              <a:t>varchar</a:t>
            </a:r>
            <a:r>
              <a:rPr lang="en-US" sz="1600" dirty="0">
                <a:solidFill>
                  <a:srgbClr val="808080"/>
                </a:solidFill>
                <a:latin typeface="Consolas" panose="020B0609020204030204" pitchFamily="49" charset="0"/>
              </a:rPr>
              <a:t>(</a:t>
            </a:r>
            <a:r>
              <a:rPr lang="en-US" sz="1600" dirty="0">
                <a:solidFill>
                  <a:prstClr val="black"/>
                </a:solidFill>
                <a:latin typeface="Consolas" panose="020B0609020204030204" pitchFamily="49" charset="0"/>
              </a:rPr>
              <a:t>200</a:t>
            </a:r>
            <a:r>
              <a:rPr lang="en-US" sz="1600" dirty="0">
                <a:solidFill>
                  <a:srgbClr val="808080"/>
                </a:solidFill>
                <a:latin typeface="Consolas" panose="020B0609020204030204" pitchFamily="49" charset="0"/>
              </a:rPr>
              <a:t>)</a:t>
            </a:r>
            <a:r>
              <a:rPr lang="en-US" sz="1600" dirty="0">
                <a:solidFill>
                  <a:prstClr val="black"/>
                </a:solidFill>
                <a:latin typeface="Consolas" panose="020B0609020204030204" pitchFamily="49" charset="0"/>
              </a:rPr>
              <a:t> </a:t>
            </a:r>
            <a:r>
              <a:rPr lang="da-DK" sz="1600" dirty="0">
                <a:solidFill>
                  <a:srgbClr val="FF0000"/>
                </a:solidFill>
                <a:latin typeface="Consolas" panose="020B0609020204030204" pitchFamily="49" charset="0"/>
              </a:rPr>
              <a:t>N'</a:t>
            </a:r>
            <a:r>
              <a:rPr lang="en-US" sz="1600" dirty="0">
                <a:solidFill>
                  <a:srgbClr val="FF0000"/>
                </a:solidFill>
                <a:latin typeface="Consolas" panose="020B0609020204030204" pitchFamily="49" charset="0"/>
              </a:rPr>
              <a:t>$.</a:t>
            </a:r>
            <a:r>
              <a:rPr lang="en-US" sz="1600" dirty="0" err="1">
                <a:solidFill>
                  <a:srgbClr val="FF0000"/>
                </a:solidFill>
                <a:latin typeface="Consolas" panose="020B0609020204030204" pitchFamily="49" charset="0"/>
              </a:rPr>
              <a:t>Order.Number</a:t>
            </a:r>
            <a:r>
              <a:rPr lang="en-US" sz="1600" dirty="0">
                <a:solidFill>
                  <a:srgbClr val="FF0000"/>
                </a:solidFill>
                <a:latin typeface="Consolas" panose="020B0609020204030204" pitchFamily="49" charset="0"/>
              </a:rPr>
              <a:t>'</a:t>
            </a:r>
            <a:r>
              <a:rPr lang="en-US" sz="1600" dirty="0">
                <a:solidFill>
                  <a:srgbClr val="808080"/>
                </a:solidFill>
                <a:latin typeface="Consolas" panose="020B0609020204030204" pitchFamily="49" charset="0"/>
              </a:rPr>
              <a:t>,</a:t>
            </a:r>
            <a:r>
              <a:rPr lang="en-US" sz="1600" dirty="0">
                <a:solidFill>
                  <a:prstClr val="black"/>
                </a:solidFill>
                <a:latin typeface="Consolas" panose="020B0609020204030204" pitchFamily="49" charset="0"/>
              </a:rPr>
              <a:t> </a:t>
            </a:r>
            <a:br>
              <a:rPr lang="en-US" sz="1600" dirty="0">
                <a:solidFill>
                  <a:prstClr val="black"/>
                </a:solidFill>
                <a:latin typeface="Consolas" panose="020B0609020204030204" pitchFamily="49" charset="0"/>
              </a:rPr>
            </a:br>
            <a:r>
              <a:rPr lang="en-US" sz="1600" dirty="0">
                <a:solidFill>
                  <a:prstClr val="black"/>
                </a:solidFill>
                <a:latin typeface="Consolas" panose="020B0609020204030204" pitchFamily="49" charset="0"/>
              </a:rPr>
              <a:t>       Date     </a:t>
            </a:r>
            <a:r>
              <a:rPr lang="en-US" sz="1600" dirty="0" err="1">
                <a:solidFill>
                  <a:srgbClr val="0000FF"/>
                </a:solidFill>
                <a:latin typeface="Consolas" panose="020B0609020204030204" pitchFamily="49" charset="0"/>
              </a:rPr>
              <a:t>datetime</a:t>
            </a:r>
            <a:r>
              <a:rPr lang="en-US" sz="1600" dirty="0">
                <a:solidFill>
                  <a:prstClr val="black"/>
                </a:solidFill>
                <a:latin typeface="Consolas" panose="020B0609020204030204" pitchFamily="49" charset="0"/>
              </a:rPr>
              <a:t>     </a:t>
            </a:r>
            <a:r>
              <a:rPr lang="da-DK" sz="1600" dirty="0">
                <a:solidFill>
                  <a:srgbClr val="FF0000"/>
                </a:solidFill>
                <a:latin typeface="Consolas" panose="020B0609020204030204" pitchFamily="49" charset="0"/>
              </a:rPr>
              <a:t>N'</a:t>
            </a:r>
            <a:r>
              <a:rPr lang="en-US" sz="1600" dirty="0">
                <a:solidFill>
                  <a:srgbClr val="FF0000"/>
                </a:solidFill>
                <a:latin typeface="Consolas" panose="020B0609020204030204" pitchFamily="49" charset="0"/>
              </a:rPr>
              <a:t>$.</a:t>
            </a:r>
            <a:r>
              <a:rPr lang="en-US" sz="1600" dirty="0" err="1">
                <a:solidFill>
                  <a:srgbClr val="FF0000"/>
                </a:solidFill>
                <a:latin typeface="Consolas" panose="020B0609020204030204" pitchFamily="49" charset="0"/>
              </a:rPr>
              <a:t>Order.Date</a:t>
            </a:r>
            <a:r>
              <a:rPr lang="en-US" sz="1600" dirty="0" smtClean="0">
                <a:solidFill>
                  <a:srgbClr val="FF0000"/>
                </a:solidFill>
                <a:latin typeface="Consolas" panose="020B0609020204030204" pitchFamily="49" charset="0"/>
              </a:rPr>
              <a:t>'</a:t>
            </a:r>
            <a:r>
              <a:rPr lang="en-US" sz="1600" dirty="0" smtClean="0">
                <a:solidFill>
                  <a:srgbClr val="808080"/>
                </a:solidFill>
                <a:latin typeface="Consolas" panose="020B0609020204030204" pitchFamily="49" charset="0"/>
              </a:rPr>
              <a:t>,</a:t>
            </a:r>
            <a:br>
              <a:rPr lang="en-US" sz="1600" dirty="0" smtClean="0">
                <a:solidFill>
                  <a:srgbClr val="808080"/>
                </a:solidFill>
                <a:latin typeface="Consolas" panose="020B0609020204030204" pitchFamily="49" charset="0"/>
              </a:rPr>
            </a:br>
            <a:r>
              <a:rPr lang="en-US" sz="1600" dirty="0" smtClean="0">
                <a:solidFill>
                  <a:prstClr val="black"/>
                </a:solidFill>
                <a:latin typeface="Consolas" panose="020B0609020204030204" pitchFamily="49" charset="0"/>
              </a:rPr>
              <a:t>       </a:t>
            </a:r>
            <a:r>
              <a:rPr lang="en-US" sz="1600" dirty="0">
                <a:solidFill>
                  <a:prstClr val="black"/>
                </a:solidFill>
                <a:latin typeface="Consolas" panose="020B0609020204030204" pitchFamily="49" charset="0"/>
              </a:rPr>
              <a:t>Customer </a:t>
            </a:r>
            <a:r>
              <a:rPr lang="en-US" sz="1600" dirty="0">
                <a:solidFill>
                  <a:srgbClr val="0000FF"/>
                </a:solidFill>
                <a:latin typeface="Consolas" panose="020B0609020204030204" pitchFamily="49" charset="0"/>
              </a:rPr>
              <a:t>varchar</a:t>
            </a:r>
            <a:r>
              <a:rPr lang="en-US" sz="1600" dirty="0">
                <a:solidFill>
                  <a:srgbClr val="808080"/>
                </a:solidFill>
                <a:latin typeface="Consolas" panose="020B0609020204030204" pitchFamily="49" charset="0"/>
              </a:rPr>
              <a:t>(</a:t>
            </a:r>
            <a:r>
              <a:rPr lang="en-US" sz="1600" dirty="0">
                <a:solidFill>
                  <a:prstClr val="black"/>
                </a:solidFill>
                <a:latin typeface="Consolas" panose="020B0609020204030204" pitchFamily="49" charset="0"/>
              </a:rPr>
              <a:t>200</a:t>
            </a:r>
            <a:r>
              <a:rPr lang="en-US" sz="1600" dirty="0">
                <a:solidFill>
                  <a:srgbClr val="808080"/>
                </a:solidFill>
                <a:latin typeface="Consolas" panose="020B0609020204030204" pitchFamily="49" charset="0"/>
              </a:rPr>
              <a:t>)</a:t>
            </a:r>
            <a:r>
              <a:rPr lang="en-US" sz="1600" dirty="0">
                <a:solidFill>
                  <a:prstClr val="black"/>
                </a:solidFill>
                <a:latin typeface="Consolas" panose="020B0609020204030204" pitchFamily="49" charset="0"/>
              </a:rPr>
              <a:t> </a:t>
            </a:r>
            <a:r>
              <a:rPr lang="da-DK" sz="1600" dirty="0">
                <a:solidFill>
                  <a:srgbClr val="FF0000"/>
                </a:solidFill>
                <a:latin typeface="Consolas" panose="020B0609020204030204" pitchFamily="49" charset="0"/>
              </a:rPr>
              <a:t>N'</a:t>
            </a:r>
            <a:r>
              <a:rPr lang="en-US" sz="1600" dirty="0">
                <a:solidFill>
                  <a:srgbClr val="FF0000"/>
                </a:solidFill>
                <a:latin typeface="Consolas" panose="020B0609020204030204" pitchFamily="49" charset="0"/>
              </a:rPr>
              <a:t>$.</a:t>
            </a:r>
            <a:r>
              <a:rPr lang="en-US" sz="1600" dirty="0" smtClean="0">
                <a:solidFill>
                  <a:srgbClr val="FF0000"/>
                </a:solidFill>
                <a:latin typeface="Consolas" panose="020B0609020204030204" pitchFamily="49" charset="0"/>
              </a:rPr>
              <a:t>Account'</a:t>
            </a:r>
            <a:r>
              <a:rPr lang="en-US" sz="1600" dirty="0" smtClean="0">
                <a:solidFill>
                  <a:srgbClr val="808080"/>
                </a:solidFill>
                <a:latin typeface="Consolas" panose="020B0609020204030204" pitchFamily="49" charset="0"/>
              </a:rPr>
              <a:t>,</a:t>
            </a:r>
            <a:r>
              <a:rPr lang="en-US" sz="1600" dirty="0">
                <a:solidFill>
                  <a:srgbClr val="808080"/>
                </a:solidFill>
                <a:latin typeface="Consolas" panose="020B0609020204030204" pitchFamily="49" charset="0"/>
              </a:rPr>
              <a:t/>
            </a:r>
            <a:br>
              <a:rPr lang="en-US" sz="1600" dirty="0">
                <a:solidFill>
                  <a:srgbClr val="808080"/>
                </a:solidFill>
                <a:latin typeface="Consolas" panose="020B0609020204030204" pitchFamily="49" charset="0"/>
              </a:rPr>
            </a:br>
            <a:r>
              <a:rPr lang="en-US" sz="1600" dirty="0">
                <a:solidFill>
                  <a:prstClr val="black"/>
                </a:solidFill>
                <a:latin typeface="Consolas" panose="020B0609020204030204" pitchFamily="49" charset="0"/>
              </a:rPr>
              <a:t>       Quantity </a:t>
            </a:r>
            <a:r>
              <a:rPr lang="en-US" sz="1600" dirty="0" err="1">
                <a:solidFill>
                  <a:srgbClr val="0000FF"/>
                </a:solidFill>
                <a:latin typeface="Consolas" panose="020B0609020204030204" pitchFamily="49" charset="0"/>
              </a:rPr>
              <a:t>int</a:t>
            </a:r>
            <a:r>
              <a:rPr lang="en-US" sz="1600" dirty="0">
                <a:solidFill>
                  <a:prstClr val="black"/>
                </a:solidFill>
                <a:latin typeface="Consolas" panose="020B0609020204030204" pitchFamily="49" charset="0"/>
              </a:rPr>
              <a:t>          </a:t>
            </a:r>
            <a:r>
              <a:rPr lang="da-DK" sz="1600" dirty="0">
                <a:solidFill>
                  <a:srgbClr val="FF0000"/>
                </a:solidFill>
                <a:latin typeface="Consolas" panose="020B0609020204030204" pitchFamily="49" charset="0"/>
              </a:rPr>
              <a:t>N'</a:t>
            </a:r>
            <a:r>
              <a:rPr lang="en-US" sz="1600" dirty="0">
                <a:solidFill>
                  <a:srgbClr val="FF0000"/>
                </a:solidFill>
                <a:latin typeface="Consolas" panose="020B0609020204030204" pitchFamily="49" charset="0"/>
              </a:rPr>
              <a:t>$.</a:t>
            </a:r>
            <a:r>
              <a:rPr lang="en-US" sz="1600" dirty="0" err="1">
                <a:solidFill>
                  <a:srgbClr val="FF0000"/>
                </a:solidFill>
                <a:latin typeface="Consolas" panose="020B0609020204030204" pitchFamily="49" charset="0"/>
              </a:rPr>
              <a:t>Item.Quantity</a:t>
            </a:r>
            <a:r>
              <a:rPr lang="da-DK" sz="1600" dirty="0">
                <a:solidFill>
                  <a:srgbClr val="FF0000"/>
                </a:solidFill>
                <a:latin typeface="Consolas" panose="020B0609020204030204" pitchFamily="49" charset="0"/>
              </a:rPr>
              <a:t>'</a:t>
            </a:r>
            <a:r>
              <a:rPr lang="en-US" sz="1600" dirty="0">
                <a:solidFill>
                  <a:srgbClr val="FF0000"/>
                </a:solidFill>
                <a:latin typeface="Consolas" panose="020B0609020204030204" pitchFamily="49" charset="0"/>
              </a:rPr>
              <a:t/>
            </a:r>
            <a:br>
              <a:rPr lang="en-US" sz="1600" dirty="0">
                <a:solidFill>
                  <a:srgbClr val="FF0000"/>
                </a:solidFill>
                <a:latin typeface="Consolas" panose="020B0609020204030204" pitchFamily="49" charset="0"/>
              </a:rPr>
            </a:br>
            <a:r>
              <a:rPr lang="en-US" sz="1600" dirty="0" smtClean="0">
                <a:solidFill>
                  <a:srgbClr val="808080"/>
                </a:solidFill>
                <a:latin typeface="Consolas" panose="020B0609020204030204" pitchFamily="49" charset="0"/>
              </a:rPr>
              <a:t>)</a:t>
            </a:r>
            <a:endParaRPr lang="en-US" sz="1600" dirty="0">
              <a:solidFill>
                <a:srgbClr val="808080"/>
              </a:solidFill>
              <a:latin typeface="Consolas" panose="020B0609020204030204" pitchFamily="49" charset="0"/>
            </a:endParaRPr>
          </a:p>
        </p:txBody>
      </p:sp>
      <p:sp>
        <p:nvSpPr>
          <p:cNvPr id="9" name="Text Placeholder 1"/>
          <p:cNvSpPr txBox="1">
            <a:spLocks/>
          </p:cNvSpPr>
          <p:nvPr/>
        </p:nvSpPr>
        <p:spPr>
          <a:xfrm>
            <a:off x="4465637" y="4335462"/>
            <a:ext cx="7799613" cy="2057400"/>
          </a:xfrm>
          <a:prstGeom prst="rect">
            <a:avLst/>
          </a:prstGeom>
          <a:solidFill>
            <a:schemeClr val="accent1">
              <a:lumMod val="20000"/>
              <a:lumOff val="80000"/>
            </a:schemeClr>
          </a:solidFill>
        </p:spPr>
        <p:txBody>
          <a:bodyPr vert="horz" wrap="square" lIns="182880" tIns="146304" rIns="182880" bIns="146304" rtlCol="0" anchor="t" anchorCtr="0">
            <a:noAutofit/>
          </a:bodyPr>
          <a:lstStyle>
            <a:lvl1pPr marL="0" marR="0" indent="0" algn="l" defTabSz="932742" rtl="0" eaLnBrk="1" fontAlgn="auto" latinLnBrk="0" hangingPunct="1">
              <a:lnSpc>
                <a:spcPct val="90000"/>
              </a:lnSpc>
              <a:spcBef>
                <a:spcPct val="20000"/>
              </a:spcBef>
              <a:spcAft>
                <a:spcPts val="0"/>
              </a:spcAft>
              <a:buClr>
                <a:schemeClr val="tx1"/>
              </a:buClr>
              <a:buSzPct val="90000"/>
              <a:buFont typeface="Arial" panose="020B0604020202020204" pitchFamily="34" charset="0"/>
              <a:buNone/>
              <a:tabLst/>
              <a:defRPr lang="en-US" sz="3600" kern="1200" spc="0" baseline="0" dirty="0" smtClean="0">
                <a:gradFill>
                  <a:gsLst>
                    <a:gs pos="1299">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Aft>
                <a:spcPts val="1200"/>
              </a:spcAft>
            </a:pPr>
            <a:r>
              <a:rPr lang="en-US" sz="2400" dirty="0" err="1" smtClean="0">
                <a:gradFill>
                  <a:gsLst>
                    <a:gs pos="96970">
                      <a:srgbClr val="525252"/>
                    </a:gs>
                    <a:gs pos="82828">
                      <a:srgbClr val="525252"/>
                    </a:gs>
                  </a:gsLst>
                  <a:lin ang="5400000" scaled="0"/>
                </a:gradFill>
                <a:latin typeface="Segoe UI" panose="020B0502040204020203" pitchFamily="34" charset="0"/>
                <a:cs typeface="Segoe UI" panose="020B0502040204020203" pitchFamily="34" charset="0"/>
              </a:rPr>
              <a:t>Résultat</a:t>
            </a:r>
            <a:r>
              <a:rPr lang="en-US" sz="2400" dirty="0" smtClean="0">
                <a:gradFill>
                  <a:gsLst>
                    <a:gs pos="96970">
                      <a:srgbClr val="525252"/>
                    </a:gs>
                    <a:gs pos="82828">
                      <a:srgbClr val="525252"/>
                    </a:gs>
                  </a:gsLst>
                  <a:lin ang="5400000" scaled="0"/>
                </a:gradFill>
                <a:latin typeface="Segoe UI" panose="020B0502040204020203" pitchFamily="34" charset="0"/>
                <a:cs typeface="Segoe UI" panose="020B0502040204020203" pitchFamily="34" charset="0"/>
              </a:rPr>
              <a:t> :</a:t>
            </a:r>
          </a:p>
        </p:txBody>
      </p:sp>
      <p:graphicFrame>
        <p:nvGraphicFramePr>
          <p:cNvPr id="6" name="Table 5"/>
          <p:cNvGraphicFramePr>
            <a:graphicFrameLocks noGrp="1"/>
          </p:cNvGraphicFramePr>
          <p:nvPr>
            <p:extLst/>
          </p:nvPr>
        </p:nvGraphicFramePr>
        <p:xfrm>
          <a:off x="4739957" y="4987734"/>
          <a:ext cx="6126480" cy="1100328"/>
        </p:xfrm>
        <a:graphic>
          <a:graphicData uri="http://schemas.openxmlformats.org/drawingml/2006/table">
            <a:tbl>
              <a:tblPr firstRow="1" bandRow="1">
                <a:tableStyleId>{5C22544A-7EE6-4342-B048-85BDC9FD1C3A}</a:tableStyleId>
              </a:tblPr>
              <a:tblGrid>
                <a:gridCol w="1256187">
                  <a:extLst>
                    <a:ext uri="{9D8B030D-6E8A-4147-A177-3AD203B41FA5}">
                      <a16:colId xmlns:a16="http://schemas.microsoft.com/office/drawing/2014/main" val="20000"/>
                    </a:ext>
                  </a:extLst>
                </a:gridCol>
                <a:gridCol w="2189754">
                  <a:extLst>
                    <a:ext uri="{9D8B030D-6E8A-4147-A177-3AD203B41FA5}">
                      <a16:colId xmlns:a16="http://schemas.microsoft.com/office/drawing/2014/main" val="20001"/>
                    </a:ext>
                  </a:extLst>
                </a:gridCol>
                <a:gridCol w="1398229">
                  <a:extLst>
                    <a:ext uri="{9D8B030D-6E8A-4147-A177-3AD203B41FA5}">
                      <a16:colId xmlns:a16="http://schemas.microsoft.com/office/drawing/2014/main" val="20002"/>
                    </a:ext>
                  </a:extLst>
                </a:gridCol>
                <a:gridCol w="1282310">
                  <a:extLst>
                    <a:ext uri="{9D8B030D-6E8A-4147-A177-3AD203B41FA5}">
                      <a16:colId xmlns:a16="http://schemas.microsoft.com/office/drawing/2014/main" val="20003"/>
                    </a:ext>
                  </a:extLst>
                </a:gridCol>
              </a:tblGrid>
              <a:tr h="0">
                <a:tc>
                  <a:txBody>
                    <a:bodyPr/>
                    <a:lstStyle/>
                    <a:p>
                      <a:pPr defTabSz="932472" fontAlgn="base">
                        <a:lnSpc>
                          <a:spcPct val="90000"/>
                        </a:lnSpc>
                        <a:spcBef>
                          <a:spcPct val="0"/>
                        </a:spcBef>
                        <a:spcAft>
                          <a:spcPct val="0"/>
                        </a:spcAft>
                      </a:pPr>
                      <a:r>
                        <a:rPr lang="en-US" sz="1800" b="1" kern="1200" dirty="0" smtClean="0">
                          <a:gradFill>
                            <a:gsLst>
                              <a:gs pos="0">
                                <a:srgbClr val="FFFFFF"/>
                              </a:gs>
                              <a:gs pos="100000">
                                <a:srgbClr val="FFFFFF"/>
                              </a:gs>
                            </a:gsLst>
                            <a:lin ang="5400000" scaled="0"/>
                          </a:gradFill>
                          <a:latin typeface="+mj-lt"/>
                          <a:ea typeface="Segoe UI" pitchFamily="34" charset="0"/>
                          <a:cs typeface="Segoe UI" pitchFamily="34" charset="0"/>
                        </a:rPr>
                        <a:t>Number</a:t>
                      </a:r>
                    </a:p>
                  </a:txBody>
                  <a:tcPr marL="182880" marR="182880" marT="91440" marB="91440" anchor="ctr">
                    <a:lnL w="9525" cap="flat" cmpd="sng" algn="ctr">
                      <a:no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algn="l" defTabSz="932472" rtl="0" eaLnBrk="1" fontAlgn="base" latinLnBrk="0" hangingPunct="1">
                        <a:lnSpc>
                          <a:spcPct val="90000"/>
                        </a:lnSpc>
                        <a:spcBef>
                          <a:spcPct val="0"/>
                        </a:spcBef>
                        <a:spcAft>
                          <a:spcPct val="0"/>
                        </a:spcAft>
                      </a:pPr>
                      <a:r>
                        <a:rPr lang="en-US" sz="1800" b="1" kern="1200" dirty="0" smtClean="0">
                          <a:gradFill>
                            <a:gsLst>
                              <a:gs pos="0">
                                <a:srgbClr val="FFFFFF"/>
                              </a:gs>
                              <a:gs pos="100000">
                                <a:srgbClr val="FFFFFF"/>
                              </a:gs>
                            </a:gsLst>
                            <a:lin ang="5400000" scaled="0"/>
                          </a:gradFill>
                          <a:latin typeface="+mj-lt"/>
                          <a:ea typeface="Segoe UI" pitchFamily="34" charset="0"/>
                          <a:cs typeface="Segoe UI" pitchFamily="34" charset="0"/>
                        </a:rPr>
                        <a:t>Date</a:t>
                      </a:r>
                      <a:endParaRPr lang="en-US" sz="1800" b="1" kern="1200" dirty="0">
                        <a:gradFill>
                          <a:gsLst>
                            <a:gs pos="0">
                              <a:srgbClr val="FFFFFF"/>
                            </a:gs>
                            <a:gs pos="100000">
                              <a:srgbClr val="FFFFFF"/>
                            </a:gs>
                          </a:gsLst>
                          <a:lin ang="5400000" scaled="0"/>
                        </a:gradFill>
                        <a:latin typeface="+mj-lt"/>
                        <a:ea typeface="Segoe UI" pitchFamily="34" charset="0"/>
                        <a:cs typeface="Segoe UI" pitchFamily="34" charset="0"/>
                      </a:endParaRPr>
                    </a:p>
                  </a:txBody>
                  <a:tcPr marL="182880" marR="182880" marT="91440" marB="91440"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algn="l" defTabSz="932472" rtl="0" eaLnBrk="1" fontAlgn="base" latinLnBrk="0" hangingPunct="1">
                        <a:lnSpc>
                          <a:spcPct val="90000"/>
                        </a:lnSpc>
                        <a:spcBef>
                          <a:spcPct val="0"/>
                        </a:spcBef>
                        <a:spcAft>
                          <a:spcPct val="0"/>
                        </a:spcAft>
                      </a:pPr>
                      <a:r>
                        <a:rPr lang="en-US" sz="1800" b="1" kern="1200" dirty="0" smtClean="0">
                          <a:gradFill>
                            <a:gsLst>
                              <a:gs pos="0">
                                <a:srgbClr val="FFFFFF"/>
                              </a:gs>
                              <a:gs pos="100000">
                                <a:srgbClr val="FFFFFF"/>
                              </a:gs>
                            </a:gsLst>
                            <a:lin ang="5400000" scaled="0"/>
                          </a:gradFill>
                          <a:latin typeface="+mj-lt"/>
                          <a:ea typeface="Segoe UI" pitchFamily="34" charset="0"/>
                          <a:cs typeface="Segoe UI" pitchFamily="34" charset="0"/>
                        </a:rPr>
                        <a:t>Customer</a:t>
                      </a:r>
                      <a:endParaRPr lang="en-US" sz="1800" b="1" kern="1200" dirty="0">
                        <a:gradFill>
                          <a:gsLst>
                            <a:gs pos="0">
                              <a:srgbClr val="FFFFFF"/>
                            </a:gs>
                            <a:gs pos="100000">
                              <a:srgbClr val="FFFFFF"/>
                            </a:gs>
                          </a:gsLst>
                          <a:lin ang="5400000" scaled="0"/>
                        </a:gradFill>
                        <a:latin typeface="+mj-lt"/>
                        <a:ea typeface="Segoe UI" pitchFamily="34" charset="0"/>
                        <a:cs typeface="Segoe UI" pitchFamily="34" charset="0"/>
                      </a:endParaRPr>
                    </a:p>
                  </a:txBody>
                  <a:tcPr marL="182880" marR="182880" marT="91440" marB="91440"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algn="l" defTabSz="932472" rtl="0" eaLnBrk="1" fontAlgn="base" latinLnBrk="0" hangingPunct="1">
                        <a:lnSpc>
                          <a:spcPct val="90000"/>
                        </a:lnSpc>
                        <a:spcBef>
                          <a:spcPct val="0"/>
                        </a:spcBef>
                        <a:spcAft>
                          <a:spcPct val="0"/>
                        </a:spcAft>
                      </a:pPr>
                      <a:r>
                        <a:rPr lang="en-US" sz="1800" b="1" kern="1200" dirty="0" smtClean="0">
                          <a:gradFill>
                            <a:gsLst>
                              <a:gs pos="0">
                                <a:srgbClr val="FFFFFF"/>
                              </a:gs>
                              <a:gs pos="100000">
                                <a:srgbClr val="FFFFFF"/>
                              </a:gs>
                            </a:gsLst>
                            <a:lin ang="5400000" scaled="0"/>
                          </a:gradFill>
                          <a:latin typeface="+mj-lt"/>
                          <a:ea typeface="Segoe UI" pitchFamily="34" charset="0"/>
                          <a:cs typeface="Segoe UI" pitchFamily="34" charset="0"/>
                        </a:rPr>
                        <a:t>Quantity</a:t>
                      </a:r>
                      <a:endParaRPr lang="en-US" sz="1800" b="1" kern="1200" dirty="0">
                        <a:gradFill>
                          <a:gsLst>
                            <a:gs pos="0">
                              <a:srgbClr val="FFFFFF"/>
                            </a:gs>
                            <a:gs pos="100000">
                              <a:srgbClr val="FFFFFF"/>
                            </a:gs>
                          </a:gsLst>
                          <a:lin ang="5400000" scaled="0"/>
                        </a:gradFill>
                        <a:latin typeface="+mj-lt"/>
                        <a:ea typeface="Segoe UI" pitchFamily="34" charset="0"/>
                        <a:cs typeface="Segoe UI" pitchFamily="34" charset="0"/>
                      </a:endParaRPr>
                    </a:p>
                  </a:txBody>
                  <a:tcPr marL="182880" marR="182880" marT="91440" marB="91440" anchor="ctr">
                    <a:lnL w="9525" cap="flat" cmpd="sng" algn="ctr">
                      <a:solidFill>
                        <a:srgbClr val="FFFFFF"/>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10000"/>
                  </a:ext>
                </a:extLst>
              </a:tr>
              <a:tr h="0">
                <a:tc>
                  <a:txBody>
                    <a:bodyPr/>
                    <a:lstStyle/>
                    <a:p>
                      <a:r>
                        <a:rPr lang="en-US" sz="1600" dirty="0" smtClean="0"/>
                        <a:t>SO43659</a:t>
                      </a:r>
                      <a:endParaRPr lang="en-US" sz="1600" dirty="0"/>
                    </a:p>
                  </a:txBody>
                  <a:tcP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r>
                        <a:rPr lang="en-US" sz="1600" dirty="0" smtClean="0"/>
                        <a:t>2011-05-31T00:00:00</a:t>
                      </a:r>
                      <a:endParaRPr lang="en-US" sz="1600" dirty="0"/>
                    </a:p>
                  </a:txBody>
                  <a:tcP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r>
                        <a:rPr lang="en-US" sz="1600" dirty="0" smtClean="0"/>
                        <a:t>Microsoft</a:t>
                      </a:r>
                      <a:endParaRPr lang="en-US" sz="1600" dirty="0"/>
                    </a:p>
                  </a:txBody>
                  <a:tcP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r>
                        <a:rPr lang="en-US" sz="1600" dirty="0" smtClean="0"/>
                        <a:t>1</a:t>
                      </a:r>
                      <a:endParaRPr lang="en-US" sz="1600" dirty="0"/>
                    </a:p>
                  </a:txBody>
                  <a:tcP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val="10001"/>
                  </a:ext>
                </a:extLst>
              </a:tr>
              <a:tr h="0">
                <a:tc>
                  <a:txBody>
                    <a:bodyPr/>
                    <a:lstStyle/>
                    <a:p>
                      <a:r>
                        <a:rPr lang="en-US" sz="1600" dirty="0" smtClean="0"/>
                        <a:t>SO43661</a:t>
                      </a:r>
                      <a:endParaRPr lang="en-US" sz="1600" dirty="0"/>
                    </a:p>
                  </a:txBody>
                  <a:tcP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r>
                        <a:rPr lang="en-US" sz="1600" dirty="0" smtClean="0"/>
                        <a:t>2011-06-01T00:00:00</a:t>
                      </a:r>
                      <a:endParaRPr lang="en-US" sz="1600" dirty="0"/>
                    </a:p>
                  </a:txBody>
                  <a:tcP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r>
                        <a:rPr lang="en-US" sz="1600" dirty="0" smtClean="0"/>
                        <a:t>Nokia</a:t>
                      </a:r>
                      <a:endParaRPr lang="en-US" sz="1600" dirty="0"/>
                    </a:p>
                  </a:txBody>
                  <a:tcP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r>
                        <a:rPr lang="en-US" sz="1600" dirty="0" smtClean="0"/>
                        <a:t>3</a:t>
                      </a:r>
                      <a:endParaRPr lang="en-US" sz="1600" dirty="0"/>
                    </a:p>
                  </a:txBody>
                  <a:tcP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val="10002"/>
                  </a:ext>
                </a:extLst>
              </a:tr>
            </a:tbl>
          </a:graphicData>
        </a:graphic>
      </p:graphicFrame>
      <p:sp>
        <p:nvSpPr>
          <p:cNvPr id="10" name="Notched Right Arrow 3"/>
          <p:cNvSpPr>
            <a:spLocks noChangeAspect="1"/>
          </p:cNvSpPr>
          <p:nvPr/>
        </p:nvSpPr>
        <p:spPr bwMode="black">
          <a:xfrm rot="5400000">
            <a:off x="7747594" y="4147145"/>
            <a:ext cx="718690" cy="382687"/>
          </a:xfrm>
          <a:custGeom>
            <a:avLst/>
            <a:gdLst>
              <a:gd name="connsiteX0" fmla="*/ 0 w 557696"/>
              <a:gd name="connsiteY0" fmla="*/ 68377 h 382687"/>
              <a:gd name="connsiteX1" fmla="*/ 366353 w 557696"/>
              <a:gd name="connsiteY1" fmla="*/ 68377 h 382687"/>
              <a:gd name="connsiteX2" fmla="*/ 366353 w 557696"/>
              <a:gd name="connsiteY2" fmla="*/ 0 h 382687"/>
              <a:gd name="connsiteX3" fmla="*/ 557696 w 557696"/>
              <a:gd name="connsiteY3" fmla="*/ 191344 h 382687"/>
              <a:gd name="connsiteX4" fmla="*/ 366353 w 557696"/>
              <a:gd name="connsiteY4" fmla="*/ 382687 h 382687"/>
              <a:gd name="connsiteX5" fmla="*/ 366353 w 557696"/>
              <a:gd name="connsiteY5" fmla="*/ 314310 h 382687"/>
              <a:gd name="connsiteX6" fmla="*/ 0 w 557696"/>
              <a:gd name="connsiteY6" fmla="*/ 314310 h 382687"/>
              <a:gd name="connsiteX7" fmla="*/ 122967 w 557696"/>
              <a:gd name="connsiteY7" fmla="*/ 191344 h 382687"/>
              <a:gd name="connsiteX8" fmla="*/ 0 w 557696"/>
              <a:gd name="connsiteY8" fmla="*/ 68377 h 382687"/>
              <a:gd name="connsiteX0" fmla="*/ 0 w 557696"/>
              <a:gd name="connsiteY0" fmla="*/ 68377 h 382687"/>
              <a:gd name="connsiteX1" fmla="*/ 366353 w 557696"/>
              <a:gd name="connsiteY1" fmla="*/ 68377 h 382687"/>
              <a:gd name="connsiteX2" fmla="*/ 366353 w 557696"/>
              <a:gd name="connsiteY2" fmla="*/ 0 h 382687"/>
              <a:gd name="connsiteX3" fmla="*/ 557696 w 557696"/>
              <a:gd name="connsiteY3" fmla="*/ 191344 h 382687"/>
              <a:gd name="connsiteX4" fmla="*/ 366353 w 557696"/>
              <a:gd name="connsiteY4" fmla="*/ 382687 h 382687"/>
              <a:gd name="connsiteX5" fmla="*/ 366353 w 557696"/>
              <a:gd name="connsiteY5" fmla="*/ 314310 h 382687"/>
              <a:gd name="connsiteX6" fmla="*/ 0 w 557696"/>
              <a:gd name="connsiteY6" fmla="*/ 314310 h 382687"/>
              <a:gd name="connsiteX7" fmla="*/ 116143 w 557696"/>
              <a:gd name="connsiteY7" fmla="*/ 191344 h 382687"/>
              <a:gd name="connsiteX8" fmla="*/ 0 w 557696"/>
              <a:gd name="connsiteY8" fmla="*/ 68377 h 382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7696" h="382687">
                <a:moveTo>
                  <a:pt x="0" y="68377"/>
                </a:moveTo>
                <a:lnTo>
                  <a:pt x="366353" y="68377"/>
                </a:lnTo>
                <a:lnTo>
                  <a:pt x="366353" y="0"/>
                </a:lnTo>
                <a:lnTo>
                  <a:pt x="557696" y="191344"/>
                </a:lnTo>
                <a:lnTo>
                  <a:pt x="366353" y="382687"/>
                </a:lnTo>
                <a:lnTo>
                  <a:pt x="366353" y="314310"/>
                </a:lnTo>
                <a:lnTo>
                  <a:pt x="0" y="314310"/>
                </a:lnTo>
                <a:lnTo>
                  <a:pt x="116143" y="191344"/>
                </a:lnTo>
                <a:lnTo>
                  <a:pt x="0" y="68377"/>
                </a:lnTo>
                <a:close/>
              </a:path>
            </a:pathLst>
          </a:custGeom>
          <a:solidFill>
            <a:schemeClr val="bg2">
              <a:lumMod val="20000"/>
              <a:lumOff val="80000"/>
            </a:schemeClr>
          </a:solidFill>
          <a:ln>
            <a:noFill/>
          </a:ln>
        </p:spPr>
        <p:txBody>
          <a:bodyPr vert="horz" wrap="square" lIns="93278" tIns="46639" rIns="93278" bIns="46639" numCol="1" anchor="t" anchorCtr="0" compatLnSpc="1">
            <a:prstTxWarp prst="textNoShape">
              <a:avLst/>
            </a:prstTxWarp>
          </a:bodyPr>
          <a:lstStyle/>
          <a:p>
            <a:endParaRPr lang="en-US" dirty="0">
              <a:solidFill>
                <a:srgbClr val="000000"/>
              </a:solidFill>
            </a:endParaRPr>
          </a:p>
        </p:txBody>
      </p:sp>
    </p:spTree>
    <p:extLst>
      <p:ext uri="{BB962C8B-B14F-4D97-AF65-F5344CB8AC3E}">
        <p14:creationId xmlns:p14="http://schemas.microsoft.com/office/powerpoint/2010/main" val="4277998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Table to JSON</a:t>
            </a:r>
            <a:endParaRPr lang="en-US" dirty="0"/>
          </a:p>
        </p:txBody>
      </p:sp>
      <p:sp>
        <p:nvSpPr>
          <p:cNvPr id="2" name="Text Placeholder 1"/>
          <p:cNvSpPr>
            <a:spLocks noGrp="1"/>
          </p:cNvSpPr>
          <p:nvPr>
            <p:ph type="body" sz="quarter" idx="13"/>
          </p:nvPr>
        </p:nvSpPr>
        <p:spPr/>
        <p:txBody>
          <a:bodyPr/>
          <a:lstStyle/>
          <a:p>
            <a:endParaRPr lang="fr-FR"/>
          </a:p>
        </p:txBody>
      </p:sp>
      <p:sp>
        <p:nvSpPr>
          <p:cNvPr id="5" name="Text Placeholder 4"/>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sp>
        <p:nvSpPr>
          <p:cNvPr id="9" name="Content Placeholder 2"/>
          <p:cNvSpPr txBox="1">
            <a:spLocks/>
          </p:cNvSpPr>
          <p:nvPr/>
        </p:nvSpPr>
        <p:spPr>
          <a:xfrm>
            <a:off x="8197071" y="1265385"/>
            <a:ext cx="4040966" cy="5127477"/>
          </a:xfrm>
          <a:prstGeom prst="rect">
            <a:avLst/>
          </a:prstGeom>
          <a:solidFill>
            <a:schemeClr val="bg1"/>
          </a:solidFill>
        </p:spPr>
        <p:txBody>
          <a:bodyPr>
            <a:no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nSpc>
                <a:spcPct val="100000"/>
              </a:lnSpc>
              <a:spcBef>
                <a:spcPts val="0"/>
              </a:spcBef>
              <a:spcAft>
                <a:spcPts val="1200"/>
              </a:spcAft>
              <a:buClrTx/>
              <a:buSzTx/>
              <a:buNone/>
            </a:pPr>
            <a:r>
              <a:rPr lang="en-US" sz="2400" dirty="0" err="1" smtClean="0">
                <a:gradFill>
                  <a:gsLst>
                    <a:gs pos="93939">
                      <a:srgbClr val="525252"/>
                    </a:gs>
                    <a:gs pos="74242">
                      <a:srgbClr val="525252"/>
                    </a:gs>
                  </a:gsLst>
                  <a:lin ang="5400000" scaled="0"/>
                </a:gradFill>
                <a:latin typeface="Segoe UI" panose="020B0502040204020203" pitchFamily="34" charset="0"/>
                <a:cs typeface="Segoe UI" panose="020B0502040204020203" pitchFamily="34" charset="0"/>
              </a:rPr>
              <a:t>Résultat</a:t>
            </a:r>
            <a:r>
              <a:rPr lang="en-US" sz="2400" dirty="0" smtClean="0">
                <a:gradFill>
                  <a:gsLst>
                    <a:gs pos="93939">
                      <a:srgbClr val="525252"/>
                    </a:gs>
                    <a:gs pos="74242">
                      <a:srgbClr val="525252"/>
                    </a:gs>
                  </a:gsLst>
                  <a:lin ang="5400000" scaled="0"/>
                </a:gradFill>
                <a:latin typeface="Segoe UI" panose="020B0502040204020203" pitchFamily="34" charset="0"/>
                <a:cs typeface="Segoe UI" panose="020B0502040204020203" pitchFamily="34" charset="0"/>
              </a:rPr>
              <a:t> :</a:t>
            </a:r>
            <a:endPar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endParaRPr>
          </a:p>
          <a:p>
            <a:pPr marL="0" indent="0">
              <a:buNone/>
            </a:pP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Order": {</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Number":"SO43659",</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Date":"2011-05-31T00:00:00"</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Account": "Microsoft",</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Item": {</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Price":59.99,</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Quantity":1</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Order":{</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Number":"SO43661",</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Date":"2011-06-01T00:00:00“</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Account": “Nokia“,</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Item":{</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Price":24.99,</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Quantity":3</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a:t>
            </a:r>
            <a:b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br>
            <a:r>
              <a:rPr lang="en-US" sz="1200" dirty="0" smtClean="0">
                <a:gradFill>
                  <a:gsLst>
                    <a:gs pos="1250">
                      <a:srgbClr val="000000"/>
                    </a:gs>
                    <a:gs pos="100000">
                      <a:srgbClr val="000000"/>
                    </a:gs>
                  </a:gsLst>
                  <a:lin ang="5400000" scaled="0"/>
                </a:gradFill>
                <a:latin typeface="Consolas" panose="020B0609020204030204" pitchFamily="49" charset="0"/>
                <a:cs typeface="Consolas" panose="020B0609020204030204" pitchFamily="49" charset="0"/>
              </a:rPr>
              <a:t>    ]</a:t>
            </a:r>
            <a:endParaRPr lang="en-US" sz="1200" dirty="0">
              <a:gradFill>
                <a:gsLst>
                  <a:gs pos="1250">
                    <a:srgbClr val="000000"/>
                  </a:gs>
                  <a:gs pos="100000">
                    <a:srgbClr val="000000"/>
                  </a:gs>
                </a:gsLst>
                <a:lin ang="5400000" scaled="0"/>
              </a:gradFill>
              <a:latin typeface="Consolas" panose="020B0609020204030204" pitchFamily="49" charset="0"/>
              <a:cs typeface="Consolas" panose="020B0609020204030204" pitchFamily="49" charset="0"/>
            </a:endParaRPr>
          </a:p>
        </p:txBody>
      </p:sp>
      <p:sp>
        <p:nvSpPr>
          <p:cNvPr id="10" name="Text Placeholder 1"/>
          <p:cNvSpPr txBox="1">
            <a:spLocks/>
          </p:cNvSpPr>
          <p:nvPr/>
        </p:nvSpPr>
        <p:spPr>
          <a:xfrm>
            <a:off x="397457" y="1265386"/>
            <a:ext cx="7799613" cy="2057400"/>
          </a:xfrm>
          <a:prstGeom prst="rect">
            <a:avLst/>
          </a:prstGeom>
          <a:solidFill>
            <a:schemeClr val="accent1">
              <a:lumMod val="20000"/>
              <a:lumOff val="80000"/>
            </a:schemeClr>
          </a:solidFill>
        </p:spPr>
        <p:txBody>
          <a:bodyPr vert="horz" wrap="square" lIns="182880" tIns="146304" rIns="182880" bIns="146304" rtlCol="0" anchor="t" anchorCtr="0">
            <a:noAutofit/>
          </a:bodyPr>
          <a:lstStyle>
            <a:lvl1pPr marL="0" marR="0" indent="0" algn="l" defTabSz="932742" rtl="0" eaLnBrk="1" fontAlgn="auto" latinLnBrk="0" hangingPunct="1">
              <a:lnSpc>
                <a:spcPct val="90000"/>
              </a:lnSpc>
              <a:spcBef>
                <a:spcPct val="20000"/>
              </a:spcBef>
              <a:spcAft>
                <a:spcPts val="0"/>
              </a:spcAft>
              <a:buClr>
                <a:schemeClr val="tx1"/>
              </a:buClr>
              <a:buSzPct val="90000"/>
              <a:buFont typeface="Arial" panose="020B0604020202020204" pitchFamily="34" charset="0"/>
              <a:buNone/>
              <a:tabLst/>
              <a:defRPr lang="en-US" sz="3600" kern="1200" spc="0" baseline="0" dirty="0" smtClean="0">
                <a:gradFill>
                  <a:gsLst>
                    <a:gs pos="1299">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Aft>
                <a:spcPts val="1200"/>
              </a:spcAft>
            </a:pPr>
            <a:r>
              <a:rPr lang="en-US" sz="2400" dirty="0" smtClean="0">
                <a:gradFill>
                  <a:gsLst>
                    <a:gs pos="96970">
                      <a:srgbClr val="525252"/>
                    </a:gs>
                    <a:gs pos="82828">
                      <a:srgbClr val="525252"/>
                    </a:gs>
                  </a:gsLst>
                  <a:lin ang="5400000" scaled="0"/>
                </a:gradFill>
                <a:latin typeface="Segoe UI" panose="020B0502040204020203" pitchFamily="34" charset="0"/>
                <a:cs typeface="Segoe UI" panose="020B0502040204020203" pitchFamily="34" charset="0"/>
              </a:rPr>
              <a:t>Table </a:t>
            </a:r>
            <a:r>
              <a:rPr lang="en-US" sz="2400" dirty="0" err="1" smtClean="0">
                <a:gradFill>
                  <a:gsLst>
                    <a:gs pos="96970">
                      <a:srgbClr val="525252"/>
                    </a:gs>
                    <a:gs pos="82828">
                      <a:srgbClr val="525252"/>
                    </a:gs>
                  </a:gsLst>
                  <a:lin ang="5400000" scaled="0"/>
                </a:gradFill>
                <a:latin typeface="Segoe UI" panose="020B0502040204020203" pitchFamily="34" charset="0"/>
                <a:cs typeface="Segoe UI" panose="020B0502040204020203" pitchFamily="34" charset="0"/>
              </a:rPr>
              <a:t>existante</a:t>
            </a:r>
            <a:r>
              <a:rPr lang="en-US" sz="2400" dirty="0" smtClean="0">
                <a:gradFill>
                  <a:gsLst>
                    <a:gs pos="96970">
                      <a:srgbClr val="525252"/>
                    </a:gs>
                    <a:gs pos="82828">
                      <a:srgbClr val="525252"/>
                    </a:gs>
                  </a:gsLst>
                  <a:lin ang="5400000" scaled="0"/>
                </a:gradFill>
                <a:latin typeface="Segoe UI" panose="020B0502040204020203" pitchFamily="34" charset="0"/>
                <a:cs typeface="Segoe UI" panose="020B0502040204020203" pitchFamily="34" charset="0"/>
              </a:rPr>
              <a:t> :</a:t>
            </a:r>
          </a:p>
        </p:txBody>
      </p:sp>
      <p:graphicFrame>
        <p:nvGraphicFramePr>
          <p:cNvPr id="6" name="Table 5"/>
          <p:cNvGraphicFramePr>
            <a:graphicFrameLocks noGrp="1"/>
          </p:cNvGraphicFramePr>
          <p:nvPr>
            <p:extLst/>
          </p:nvPr>
        </p:nvGraphicFramePr>
        <p:xfrm>
          <a:off x="612805" y="1993857"/>
          <a:ext cx="6775135" cy="1100328"/>
        </p:xfrm>
        <a:graphic>
          <a:graphicData uri="http://schemas.openxmlformats.org/drawingml/2006/table">
            <a:tbl>
              <a:tblPr firstRow="1" bandRow="1">
                <a:tableStyleId>{5C22544A-7EE6-4342-B048-85BDC9FD1C3A}</a:tableStyleId>
              </a:tblPr>
              <a:tblGrid>
                <a:gridCol w="1207839">
                  <a:extLst>
                    <a:ext uri="{9D8B030D-6E8A-4147-A177-3AD203B41FA5}">
                      <a16:colId xmlns:a16="http://schemas.microsoft.com/office/drawing/2014/main" val="20000"/>
                    </a:ext>
                  </a:extLst>
                </a:gridCol>
                <a:gridCol w="2105475">
                  <a:extLst>
                    <a:ext uri="{9D8B030D-6E8A-4147-A177-3AD203B41FA5}">
                      <a16:colId xmlns:a16="http://schemas.microsoft.com/office/drawing/2014/main" val="20001"/>
                    </a:ext>
                  </a:extLst>
                </a:gridCol>
                <a:gridCol w="1344415">
                  <a:extLst>
                    <a:ext uri="{9D8B030D-6E8A-4147-A177-3AD203B41FA5}">
                      <a16:colId xmlns:a16="http://schemas.microsoft.com/office/drawing/2014/main" val="20002"/>
                    </a:ext>
                  </a:extLst>
                </a:gridCol>
                <a:gridCol w="884450">
                  <a:extLst>
                    <a:ext uri="{9D8B030D-6E8A-4147-A177-3AD203B41FA5}">
                      <a16:colId xmlns:a16="http://schemas.microsoft.com/office/drawing/2014/main" val="20003"/>
                    </a:ext>
                  </a:extLst>
                </a:gridCol>
                <a:gridCol w="1232956">
                  <a:extLst>
                    <a:ext uri="{9D8B030D-6E8A-4147-A177-3AD203B41FA5}">
                      <a16:colId xmlns:a16="http://schemas.microsoft.com/office/drawing/2014/main" val="20004"/>
                    </a:ext>
                  </a:extLst>
                </a:gridCol>
              </a:tblGrid>
              <a:tr h="0">
                <a:tc>
                  <a:txBody>
                    <a:bodyPr/>
                    <a:lstStyle/>
                    <a:p>
                      <a:pPr defTabSz="932472" fontAlgn="base">
                        <a:lnSpc>
                          <a:spcPct val="90000"/>
                        </a:lnSpc>
                        <a:spcBef>
                          <a:spcPct val="0"/>
                        </a:spcBef>
                        <a:spcAft>
                          <a:spcPct val="0"/>
                        </a:spcAft>
                      </a:pPr>
                      <a:r>
                        <a:rPr lang="en-US" sz="1800" b="1" kern="1200" dirty="0" smtClean="0">
                          <a:gradFill>
                            <a:gsLst>
                              <a:gs pos="0">
                                <a:srgbClr val="FFFFFF"/>
                              </a:gs>
                              <a:gs pos="100000">
                                <a:srgbClr val="FFFFFF"/>
                              </a:gs>
                            </a:gsLst>
                            <a:lin ang="5400000" scaled="0"/>
                          </a:gradFill>
                          <a:latin typeface="+mj-lt"/>
                          <a:ea typeface="Segoe UI" pitchFamily="34" charset="0"/>
                          <a:cs typeface="Segoe UI" pitchFamily="34" charset="0"/>
                        </a:rPr>
                        <a:t>Number</a:t>
                      </a:r>
                    </a:p>
                  </a:txBody>
                  <a:tcPr marL="182880" marR="182880" marT="91440" marB="91440" anchor="ctr">
                    <a:lnL w="12700" cap="flat" cmpd="sng" algn="ctr">
                      <a:solidFill>
                        <a:schemeClr val="tx1"/>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algn="l" defTabSz="932472" rtl="0" eaLnBrk="1" fontAlgn="base" latinLnBrk="0" hangingPunct="1">
                        <a:lnSpc>
                          <a:spcPct val="90000"/>
                        </a:lnSpc>
                        <a:spcBef>
                          <a:spcPct val="0"/>
                        </a:spcBef>
                        <a:spcAft>
                          <a:spcPct val="0"/>
                        </a:spcAft>
                      </a:pPr>
                      <a:r>
                        <a:rPr lang="en-US" sz="1800" b="1" kern="1200" dirty="0" smtClean="0">
                          <a:gradFill>
                            <a:gsLst>
                              <a:gs pos="0">
                                <a:srgbClr val="FFFFFF"/>
                              </a:gs>
                              <a:gs pos="100000">
                                <a:srgbClr val="FFFFFF"/>
                              </a:gs>
                            </a:gsLst>
                            <a:lin ang="5400000" scaled="0"/>
                          </a:gradFill>
                          <a:latin typeface="+mj-lt"/>
                          <a:ea typeface="Segoe UI" pitchFamily="34" charset="0"/>
                          <a:cs typeface="Segoe UI" pitchFamily="34" charset="0"/>
                        </a:rPr>
                        <a:t>Date</a:t>
                      </a:r>
                      <a:endParaRPr lang="en-US" sz="1800" b="1" kern="1200" dirty="0">
                        <a:gradFill>
                          <a:gsLst>
                            <a:gs pos="0">
                              <a:srgbClr val="FFFFFF"/>
                            </a:gs>
                            <a:gs pos="100000">
                              <a:srgbClr val="FFFFFF"/>
                            </a:gs>
                          </a:gsLst>
                          <a:lin ang="5400000" scaled="0"/>
                        </a:gradFill>
                        <a:latin typeface="+mj-lt"/>
                        <a:ea typeface="Segoe UI" pitchFamily="34" charset="0"/>
                        <a:cs typeface="Segoe UI" pitchFamily="34" charset="0"/>
                      </a:endParaRPr>
                    </a:p>
                  </a:txBody>
                  <a:tcPr marL="182880" marR="182880" marT="91440" marB="91440"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algn="l" defTabSz="932472" rtl="0" eaLnBrk="1" fontAlgn="base" latinLnBrk="0" hangingPunct="1">
                        <a:lnSpc>
                          <a:spcPct val="90000"/>
                        </a:lnSpc>
                        <a:spcBef>
                          <a:spcPct val="0"/>
                        </a:spcBef>
                        <a:spcAft>
                          <a:spcPct val="0"/>
                        </a:spcAft>
                      </a:pPr>
                      <a:r>
                        <a:rPr lang="en-US" sz="1800" b="1" kern="1200" dirty="0" smtClean="0">
                          <a:gradFill>
                            <a:gsLst>
                              <a:gs pos="0">
                                <a:srgbClr val="FFFFFF"/>
                              </a:gs>
                              <a:gs pos="100000">
                                <a:srgbClr val="FFFFFF"/>
                              </a:gs>
                            </a:gsLst>
                            <a:lin ang="5400000" scaled="0"/>
                          </a:gradFill>
                          <a:latin typeface="+mj-lt"/>
                          <a:ea typeface="Segoe UI" pitchFamily="34" charset="0"/>
                          <a:cs typeface="Segoe UI" pitchFamily="34" charset="0"/>
                        </a:rPr>
                        <a:t>Customer</a:t>
                      </a:r>
                      <a:endParaRPr lang="en-US" sz="1800" b="1" kern="1200" dirty="0">
                        <a:gradFill>
                          <a:gsLst>
                            <a:gs pos="0">
                              <a:srgbClr val="FFFFFF"/>
                            </a:gs>
                            <a:gs pos="100000">
                              <a:srgbClr val="FFFFFF"/>
                            </a:gs>
                          </a:gsLst>
                          <a:lin ang="5400000" scaled="0"/>
                        </a:gradFill>
                        <a:latin typeface="+mj-lt"/>
                        <a:ea typeface="Segoe UI" pitchFamily="34" charset="0"/>
                        <a:cs typeface="Segoe UI" pitchFamily="34" charset="0"/>
                      </a:endParaRPr>
                    </a:p>
                  </a:txBody>
                  <a:tcPr marL="182880" marR="182880" marT="91440" marB="91440"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algn="l" defTabSz="932472" rtl="0" eaLnBrk="1" fontAlgn="base" latinLnBrk="0" hangingPunct="1">
                        <a:lnSpc>
                          <a:spcPct val="90000"/>
                        </a:lnSpc>
                        <a:spcBef>
                          <a:spcPct val="0"/>
                        </a:spcBef>
                        <a:spcAft>
                          <a:spcPct val="0"/>
                        </a:spcAft>
                      </a:pPr>
                      <a:r>
                        <a:rPr lang="en-US" sz="1800" b="1" kern="1200" dirty="0" smtClean="0">
                          <a:gradFill>
                            <a:gsLst>
                              <a:gs pos="0">
                                <a:srgbClr val="FFFFFF"/>
                              </a:gs>
                              <a:gs pos="100000">
                                <a:srgbClr val="FFFFFF"/>
                              </a:gs>
                            </a:gsLst>
                            <a:lin ang="5400000" scaled="0"/>
                          </a:gradFill>
                          <a:latin typeface="+mj-lt"/>
                          <a:ea typeface="Segoe UI" pitchFamily="34" charset="0"/>
                          <a:cs typeface="Segoe UI" pitchFamily="34" charset="0"/>
                        </a:rPr>
                        <a:t>Price</a:t>
                      </a:r>
                      <a:endParaRPr lang="en-US" sz="1800" b="1" kern="1200" dirty="0">
                        <a:gradFill>
                          <a:gsLst>
                            <a:gs pos="0">
                              <a:srgbClr val="FFFFFF"/>
                            </a:gs>
                            <a:gs pos="100000">
                              <a:srgbClr val="FFFFFF"/>
                            </a:gs>
                          </a:gsLst>
                          <a:lin ang="5400000" scaled="0"/>
                        </a:gradFill>
                        <a:latin typeface="+mj-lt"/>
                        <a:ea typeface="Segoe UI" pitchFamily="34" charset="0"/>
                        <a:cs typeface="Segoe UI" pitchFamily="34" charset="0"/>
                      </a:endParaRPr>
                    </a:p>
                  </a:txBody>
                  <a:tcPr marL="182880" marR="182880" marT="91440" marB="91440"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algn="l" defTabSz="932472" rtl="0" eaLnBrk="1" fontAlgn="base" latinLnBrk="0" hangingPunct="1">
                        <a:lnSpc>
                          <a:spcPct val="90000"/>
                        </a:lnSpc>
                        <a:spcBef>
                          <a:spcPct val="0"/>
                        </a:spcBef>
                        <a:spcAft>
                          <a:spcPct val="0"/>
                        </a:spcAft>
                      </a:pPr>
                      <a:r>
                        <a:rPr lang="en-US" sz="1800" b="1" kern="1200" dirty="0" smtClean="0">
                          <a:gradFill>
                            <a:gsLst>
                              <a:gs pos="0">
                                <a:srgbClr val="FFFFFF"/>
                              </a:gs>
                              <a:gs pos="100000">
                                <a:srgbClr val="FFFFFF"/>
                              </a:gs>
                            </a:gsLst>
                            <a:lin ang="5400000" scaled="0"/>
                          </a:gradFill>
                          <a:latin typeface="+mj-lt"/>
                          <a:ea typeface="Segoe UI" pitchFamily="34" charset="0"/>
                          <a:cs typeface="Segoe UI" pitchFamily="34" charset="0"/>
                        </a:rPr>
                        <a:t>Quantity</a:t>
                      </a:r>
                      <a:endParaRPr lang="en-US" sz="1800" b="1" kern="1200" dirty="0">
                        <a:gradFill>
                          <a:gsLst>
                            <a:gs pos="0">
                              <a:srgbClr val="FFFFFF"/>
                            </a:gs>
                            <a:gs pos="100000">
                              <a:srgbClr val="FFFFFF"/>
                            </a:gs>
                          </a:gsLst>
                          <a:lin ang="5400000" scaled="0"/>
                        </a:gradFill>
                        <a:latin typeface="+mj-lt"/>
                        <a:ea typeface="Segoe UI" pitchFamily="34" charset="0"/>
                        <a:cs typeface="Segoe UI" pitchFamily="34" charset="0"/>
                      </a:endParaRPr>
                    </a:p>
                  </a:txBody>
                  <a:tcPr marL="182880" marR="182880" marT="91440" marB="91440" anchor="ctr">
                    <a:lnL w="9525" cap="flat" cmpd="sng" algn="ctr">
                      <a:solidFill>
                        <a:srgbClr val="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10000"/>
                  </a:ext>
                </a:extLst>
              </a:tr>
              <a:tr h="162400">
                <a:tc>
                  <a:txBody>
                    <a:bodyPr/>
                    <a:lstStyle/>
                    <a:p>
                      <a:r>
                        <a:rPr lang="en-US" sz="1600" dirty="0" smtClean="0"/>
                        <a:t>SO43659</a:t>
                      </a:r>
                      <a:endParaRPr lang="en-US" sz="1600" dirty="0"/>
                    </a:p>
                  </a:txBody>
                  <a:tcPr>
                    <a:lnL w="12700" cap="flat" cmpd="sng" algn="ctr">
                      <a:solidFill>
                        <a:schemeClr val="tx1"/>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r>
                        <a:rPr lang="en-US" sz="1600" dirty="0" smtClean="0"/>
                        <a:t>2011-05-31T00:00:00</a:t>
                      </a:r>
                      <a:endParaRPr lang="en-US" sz="1600" dirty="0"/>
                    </a:p>
                  </a:txBody>
                  <a:tcP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r>
                        <a:rPr lang="en-US" sz="1600" dirty="0" smtClean="0"/>
                        <a:t>MSFT</a:t>
                      </a:r>
                      <a:endParaRPr lang="en-US" sz="1600" dirty="0"/>
                    </a:p>
                  </a:txBody>
                  <a:tcP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r>
                        <a:rPr lang="en-US" sz="1600" dirty="0" smtClean="0"/>
                        <a:t>59.99</a:t>
                      </a:r>
                      <a:endParaRPr lang="en-US" sz="1600" dirty="0"/>
                    </a:p>
                  </a:txBody>
                  <a:tcP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r>
                        <a:rPr lang="en-US" sz="1600" dirty="0" smtClean="0"/>
                        <a:t>1</a:t>
                      </a:r>
                      <a:endParaRPr lang="en-US" sz="1600" dirty="0"/>
                    </a:p>
                  </a:txBody>
                  <a:tcPr>
                    <a:lnL w="9525" cap="flat" cmpd="sng" algn="ctr">
                      <a:solidFill>
                        <a:srgbClr val="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val="10001"/>
                  </a:ext>
                </a:extLst>
              </a:tr>
              <a:tr h="162400">
                <a:tc>
                  <a:txBody>
                    <a:bodyPr/>
                    <a:lstStyle/>
                    <a:p>
                      <a:r>
                        <a:rPr lang="en-US" sz="1600" dirty="0" smtClean="0"/>
                        <a:t>SO43661</a:t>
                      </a:r>
                      <a:endParaRPr lang="en-US" sz="1600" dirty="0"/>
                    </a:p>
                  </a:txBody>
                  <a:tcPr>
                    <a:lnL w="12700" cap="flat" cmpd="sng" algn="ctr">
                      <a:solidFill>
                        <a:schemeClr val="tx1"/>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r>
                        <a:rPr lang="en-US" sz="1600" dirty="0" smtClean="0"/>
                        <a:t>2011-06-01T00:00:00</a:t>
                      </a:r>
                      <a:endParaRPr lang="en-US" sz="1600" dirty="0"/>
                    </a:p>
                  </a:txBody>
                  <a:tcP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r>
                        <a:rPr lang="en-US" sz="1600" dirty="0" smtClean="0"/>
                        <a:t>Nokia</a:t>
                      </a:r>
                      <a:endParaRPr lang="en-US" sz="1600" dirty="0"/>
                    </a:p>
                  </a:txBody>
                  <a:tcP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r>
                        <a:rPr lang="en-US" sz="1600" dirty="0" smtClean="0"/>
                        <a:t>24.99</a:t>
                      </a:r>
                      <a:endParaRPr lang="en-US" sz="1600" dirty="0"/>
                    </a:p>
                  </a:txBody>
                  <a:tcP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r>
                        <a:rPr lang="en-US" sz="1600" dirty="0" smtClean="0"/>
                        <a:t>3</a:t>
                      </a:r>
                      <a:endParaRPr lang="en-US" sz="1600" dirty="0"/>
                    </a:p>
                  </a:txBody>
                  <a:tcPr>
                    <a:lnL w="9525" cap="flat" cmpd="sng" algn="ctr">
                      <a:solidFill>
                        <a:srgbClr val="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FFFFFF"/>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val="10002"/>
                  </a:ext>
                </a:extLst>
              </a:tr>
            </a:tbl>
          </a:graphicData>
        </a:graphic>
      </p:graphicFrame>
      <p:sp>
        <p:nvSpPr>
          <p:cNvPr id="11" name="Text Placeholder 1"/>
          <p:cNvSpPr txBox="1">
            <a:spLocks/>
          </p:cNvSpPr>
          <p:nvPr/>
        </p:nvSpPr>
        <p:spPr>
          <a:xfrm>
            <a:off x="397456" y="3322785"/>
            <a:ext cx="7799613" cy="3070076"/>
          </a:xfrm>
          <a:prstGeom prst="rect">
            <a:avLst/>
          </a:prstGeom>
          <a:solidFill>
            <a:srgbClr val="F0F0F0"/>
          </a:solidFill>
        </p:spPr>
        <p:txBody>
          <a:bodyPr vert="horz" wrap="square" lIns="182880" tIns="146304" rIns="182880" bIns="146304" rtlCol="0" anchor="t" anchorCtr="0">
            <a:noAutofit/>
          </a:bodyPr>
          <a:lstStyle>
            <a:lvl1pPr marL="0" marR="0" indent="0" algn="l" defTabSz="932742" rtl="0" eaLnBrk="1" fontAlgn="auto" latinLnBrk="0" hangingPunct="1">
              <a:lnSpc>
                <a:spcPct val="90000"/>
              </a:lnSpc>
              <a:spcBef>
                <a:spcPct val="20000"/>
              </a:spcBef>
              <a:spcAft>
                <a:spcPts val="0"/>
              </a:spcAft>
              <a:buClr>
                <a:schemeClr val="tx1"/>
              </a:buClr>
              <a:buSzPct val="90000"/>
              <a:buFont typeface="Arial" panose="020B0604020202020204" pitchFamily="34" charset="0"/>
              <a:buNone/>
              <a:tabLst/>
              <a:defRPr lang="en-US" sz="3600" kern="1200" spc="0" baseline="0" dirty="0" smtClean="0">
                <a:gradFill>
                  <a:gsLst>
                    <a:gs pos="1299">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Aft>
                <a:spcPts val="1200"/>
              </a:spcAft>
            </a:pPr>
            <a:r>
              <a:rPr lang="en-US" sz="2400" dirty="0" err="1" smtClean="0">
                <a:gradFill>
                  <a:gsLst>
                    <a:gs pos="96970">
                      <a:srgbClr val="525252"/>
                    </a:gs>
                    <a:gs pos="82828">
                      <a:srgbClr val="525252"/>
                    </a:gs>
                  </a:gsLst>
                  <a:lin ang="5400000" scaled="0"/>
                </a:gradFill>
                <a:latin typeface="Segoe UI" panose="020B0502040204020203" pitchFamily="34" charset="0"/>
                <a:cs typeface="Segoe UI" panose="020B0502040204020203" pitchFamily="34" charset="0"/>
              </a:rPr>
              <a:t>Requête</a:t>
            </a:r>
            <a:r>
              <a:rPr lang="en-US" sz="2400" dirty="0" smtClean="0">
                <a:gradFill>
                  <a:gsLst>
                    <a:gs pos="96970">
                      <a:srgbClr val="525252"/>
                    </a:gs>
                    <a:gs pos="82828">
                      <a:srgbClr val="525252"/>
                    </a:gs>
                  </a:gsLst>
                  <a:lin ang="5400000" scaled="0"/>
                </a:gradFill>
                <a:latin typeface="Segoe UI" panose="020B0502040204020203" pitchFamily="34" charset="0"/>
                <a:cs typeface="Segoe UI" panose="020B0502040204020203" pitchFamily="34" charset="0"/>
              </a:rPr>
              <a:t> avec la clause FOR JSON :</a:t>
            </a:r>
          </a:p>
        </p:txBody>
      </p:sp>
      <p:sp>
        <p:nvSpPr>
          <p:cNvPr id="4" name="Content Placeholder 10"/>
          <p:cNvSpPr txBox="1">
            <a:spLocks/>
          </p:cNvSpPr>
          <p:nvPr/>
        </p:nvSpPr>
        <p:spPr>
          <a:xfrm>
            <a:off x="620124" y="3954462"/>
            <a:ext cx="6753844" cy="1882538"/>
          </a:xfrm>
          <a:prstGeom prst="rect">
            <a:avLst/>
          </a:prstGeom>
          <a:solidFill>
            <a:schemeClr val="bg1"/>
          </a:solid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sr-Latn-RS" sz="1600" b="0" i="0" u="none" strike="noStrike" kern="1200" cap="none" spc="0" normalizeH="0" baseline="0" noProof="0" dirty="0" smtClean="0">
                <a:ln>
                  <a:noFill/>
                </a:ln>
                <a:solidFill>
                  <a:srgbClr val="0000FF"/>
                </a:solidFill>
                <a:effectLst/>
                <a:uLnTx/>
                <a:uFillTx/>
                <a:latin typeface="Consolas"/>
                <a:ea typeface="+mn-ea"/>
                <a:cs typeface="+mn-cs"/>
              </a:rPr>
              <a:t>SELECT	</a:t>
            </a:r>
            <a:r>
              <a:rPr kumimoji="0" lang="sr-Latn-RS" sz="1600" b="0" i="0" u="none" strike="noStrike" kern="1200" cap="none" spc="0" normalizeH="0" baseline="0" noProof="0" dirty="0" smtClean="0">
                <a:ln>
                  <a:noFill/>
                </a:ln>
                <a:solidFill>
                  <a:srgbClr val="008080"/>
                </a:solidFill>
                <a:effectLst/>
                <a:uLnTx/>
                <a:uFillTx/>
                <a:latin typeface="Consolas"/>
                <a:ea typeface="+mn-ea"/>
                <a:cs typeface="+mn-cs"/>
              </a:rPr>
              <a:t>Number</a:t>
            </a:r>
            <a:r>
              <a:rPr kumimoji="0" lang="sr-Latn-RS" sz="1600" b="0" i="0" u="none" strike="noStrike" kern="1200" cap="none" spc="0" normalizeH="0" baseline="0" noProof="0" dirty="0" smtClean="0">
                <a:ln>
                  <a:noFill/>
                </a:ln>
                <a:solidFill>
                  <a:prstClr val="black"/>
                </a:solidFill>
                <a:effectLst/>
                <a:uLnTx/>
                <a:uFillTx/>
                <a:latin typeface="Consolas"/>
                <a:ea typeface="+mn-ea"/>
                <a:cs typeface="+mn-cs"/>
              </a:rPr>
              <a:t> </a:t>
            </a:r>
            <a:r>
              <a:rPr kumimoji="0" lang="sr-Latn-RS" sz="1600" b="0" i="0" u="none" strike="noStrike" kern="1200" cap="none" spc="0" normalizeH="0" baseline="0" noProof="0" dirty="0" smtClean="0">
                <a:ln>
                  <a:noFill/>
                </a:ln>
                <a:solidFill>
                  <a:srgbClr val="0000FF"/>
                </a:solidFill>
                <a:effectLst/>
                <a:uLnTx/>
                <a:uFillTx/>
                <a:latin typeface="Consolas"/>
                <a:ea typeface="+mn-ea"/>
                <a:cs typeface="+mn-cs"/>
              </a:rPr>
              <a:t>AS</a:t>
            </a:r>
            <a:r>
              <a:rPr kumimoji="0" lang="sr-Latn-RS" sz="1600" b="0" i="0" u="none" strike="noStrike" kern="1200" cap="none" spc="0" normalizeH="0" baseline="0" noProof="0" dirty="0" smtClean="0">
                <a:ln>
                  <a:noFill/>
                </a:ln>
                <a:solidFill>
                  <a:prstClr val="black"/>
                </a:solidFill>
                <a:effectLst/>
                <a:uLnTx/>
                <a:uFillTx/>
                <a:latin typeface="Consolas"/>
                <a:ea typeface="+mn-ea"/>
                <a:cs typeface="+mn-cs"/>
              </a:rPr>
              <a:t> </a:t>
            </a:r>
            <a:r>
              <a:rPr kumimoji="0" lang="sr-Latn-RS" sz="1600" b="0" i="0" u="none" strike="noStrike" kern="1200" cap="none" spc="0" normalizeH="0" baseline="0" noProof="0" dirty="0" smtClean="0">
                <a:ln>
                  <a:noFill/>
                </a:ln>
                <a:solidFill>
                  <a:srgbClr val="008080"/>
                </a:solidFill>
                <a:effectLst/>
                <a:uLnTx/>
                <a:uFillTx/>
                <a:latin typeface="Consolas"/>
                <a:ea typeface="+mn-ea"/>
                <a:cs typeface="+mn-cs"/>
              </a:rPr>
              <a:t>[Order.Number]</a:t>
            </a:r>
            <a:r>
              <a:rPr kumimoji="0" lang="sr-Latn-RS" sz="1600" b="0" i="0" u="none" strike="noStrike" kern="1200" cap="none" spc="0" normalizeH="0" baseline="0" noProof="0" dirty="0" smtClean="0">
                <a:ln>
                  <a:noFill/>
                </a:ln>
                <a:solidFill>
                  <a:srgbClr val="808080"/>
                </a:solidFill>
                <a:effectLst/>
                <a:uLnTx/>
                <a:uFillTx/>
                <a:latin typeface="Consolas"/>
                <a:ea typeface="+mn-ea"/>
                <a:cs typeface="+mn-cs"/>
              </a:rPr>
              <a:t>,</a:t>
            </a:r>
            <a:r>
              <a:rPr kumimoji="0" lang="sr-Latn-RS" sz="1600" b="0" i="0" u="none" strike="noStrike" kern="1200" cap="none" spc="0" normalizeH="0" baseline="0" noProof="0" dirty="0" smtClean="0">
                <a:ln>
                  <a:noFill/>
                </a:ln>
                <a:solidFill>
                  <a:prstClr val="black"/>
                </a:solidFill>
                <a:effectLst/>
                <a:uLnTx/>
                <a:uFillTx/>
                <a:latin typeface="Consolas"/>
                <a:ea typeface="+mn-ea"/>
                <a:cs typeface="+mn-cs"/>
              </a:rPr>
              <a:t> </a:t>
            </a:r>
            <a:r>
              <a:rPr kumimoji="0" lang="sr-Latn-RS" sz="1600" b="0" i="0" u="none" strike="noStrike" kern="1200" cap="none" spc="0" normalizeH="0" baseline="0" noProof="0" dirty="0" smtClean="0">
                <a:ln>
                  <a:noFill/>
                </a:ln>
                <a:solidFill>
                  <a:srgbClr val="008080"/>
                </a:solidFill>
                <a:effectLst/>
                <a:uLnTx/>
                <a:uFillTx/>
                <a:latin typeface="Consolas"/>
                <a:ea typeface="+mn-ea"/>
                <a:cs typeface="+mn-cs"/>
              </a:rPr>
              <a:t>Date</a:t>
            </a:r>
            <a:r>
              <a:rPr kumimoji="0" lang="sr-Latn-RS" sz="1600" b="0" i="0" u="none" strike="noStrike" kern="1200" cap="none" spc="0" normalizeH="0" baseline="0" noProof="0" dirty="0" smtClean="0">
                <a:ln>
                  <a:noFill/>
                </a:ln>
                <a:solidFill>
                  <a:prstClr val="black"/>
                </a:solidFill>
                <a:effectLst/>
                <a:uLnTx/>
                <a:uFillTx/>
                <a:latin typeface="Consolas"/>
                <a:ea typeface="+mn-ea"/>
                <a:cs typeface="+mn-cs"/>
              </a:rPr>
              <a:t> </a:t>
            </a:r>
            <a:r>
              <a:rPr kumimoji="0" lang="sr-Latn-RS" sz="1600" b="0" i="0" u="none" strike="noStrike" kern="1200" cap="none" spc="0" normalizeH="0" baseline="0" noProof="0" dirty="0" smtClean="0">
                <a:ln>
                  <a:noFill/>
                </a:ln>
                <a:solidFill>
                  <a:srgbClr val="0000FF"/>
                </a:solidFill>
                <a:effectLst/>
                <a:uLnTx/>
                <a:uFillTx/>
                <a:latin typeface="Consolas"/>
                <a:ea typeface="+mn-ea"/>
                <a:cs typeface="+mn-cs"/>
              </a:rPr>
              <a:t>AS</a:t>
            </a:r>
            <a:r>
              <a:rPr kumimoji="0" lang="sr-Latn-RS" sz="1600" b="0" i="0" u="none" strike="noStrike" kern="1200" cap="none" spc="0" normalizeH="0" baseline="0" noProof="0" dirty="0" smtClean="0">
                <a:ln>
                  <a:noFill/>
                </a:ln>
                <a:solidFill>
                  <a:prstClr val="black"/>
                </a:solidFill>
                <a:effectLst/>
                <a:uLnTx/>
                <a:uFillTx/>
                <a:latin typeface="Consolas"/>
                <a:ea typeface="+mn-ea"/>
                <a:cs typeface="+mn-cs"/>
              </a:rPr>
              <a:t> </a:t>
            </a:r>
            <a:r>
              <a:rPr kumimoji="0" lang="sr-Latn-RS" sz="1600" b="0" i="0" u="none" strike="noStrike" kern="1200" cap="none" spc="0" normalizeH="0" baseline="0" noProof="0" dirty="0" smtClean="0">
                <a:ln>
                  <a:noFill/>
                </a:ln>
                <a:solidFill>
                  <a:srgbClr val="008080"/>
                </a:solidFill>
                <a:effectLst/>
                <a:uLnTx/>
                <a:uFillTx/>
                <a:latin typeface="Consolas"/>
                <a:ea typeface="+mn-ea"/>
                <a:cs typeface="+mn-cs"/>
              </a:rPr>
              <a:t>[Order.Date]</a:t>
            </a:r>
            <a:r>
              <a:rPr kumimoji="0" lang="sr-Latn-RS" sz="1600" b="0" i="0" u="none" strike="noStrike" kern="1200" cap="none" spc="0" normalizeH="0" baseline="0" noProof="0" dirty="0" smtClean="0">
                <a:ln>
                  <a:noFill/>
                </a:ln>
                <a:solidFill>
                  <a:srgbClr val="808080"/>
                </a:solidFill>
                <a:effectLst/>
                <a:uLnTx/>
                <a:uFillTx/>
                <a:latin typeface="Consolas"/>
                <a:ea typeface="+mn-ea"/>
                <a:cs typeface="+mn-cs"/>
              </a:rPr>
              <a:t>,</a:t>
            </a:r>
            <a:r>
              <a:rPr kumimoji="0" lang="sr-Latn-RS" sz="1600" b="0" i="0" u="none" strike="noStrike" kern="1200" cap="none" spc="0" normalizeH="0" baseline="0" noProof="0" dirty="0" smtClean="0">
                <a:ln>
                  <a:noFill/>
                </a:ln>
                <a:solidFill>
                  <a:prstClr val="black"/>
                </a:solidFill>
                <a:effectLst/>
                <a:uLnTx/>
                <a:uFillTx/>
                <a:latin typeface="Consolas"/>
                <a:ea typeface="+mn-ea"/>
                <a:cs typeface="+mn-cs"/>
              </a:rPr>
              <a:t> </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sr-Latn-RS" sz="1600" b="0" i="0" u="none" strike="noStrike" kern="1200" cap="none" spc="0" normalizeH="0" baseline="0" noProof="0" dirty="0" smtClean="0">
                <a:ln>
                  <a:noFill/>
                </a:ln>
                <a:solidFill>
                  <a:prstClr val="black"/>
                </a:solidFill>
                <a:effectLst/>
                <a:uLnTx/>
                <a:uFillTx/>
                <a:latin typeface="Consolas"/>
                <a:ea typeface="+mn-ea"/>
                <a:cs typeface="+mn-cs"/>
              </a:rPr>
              <a:t>	</a:t>
            </a:r>
            <a:r>
              <a:rPr kumimoji="0" lang="sr-Latn-RS" sz="1600" b="0" i="0" u="none" strike="noStrike" kern="1200" cap="none" spc="0" normalizeH="0" baseline="0" noProof="0" dirty="0" smtClean="0">
                <a:ln>
                  <a:noFill/>
                </a:ln>
                <a:solidFill>
                  <a:srgbClr val="008080"/>
                </a:solidFill>
                <a:effectLst/>
                <a:uLnTx/>
                <a:uFillTx/>
                <a:latin typeface="Consolas"/>
                <a:ea typeface="+mn-ea"/>
                <a:cs typeface="+mn-cs"/>
              </a:rPr>
              <a:t>Customer</a:t>
            </a:r>
            <a:r>
              <a:rPr kumimoji="0" lang="sr-Latn-RS" sz="1600" b="0" i="0" u="none" strike="noStrike" kern="1200" cap="none" spc="0" normalizeH="0" baseline="0" noProof="0" dirty="0" smtClean="0">
                <a:ln>
                  <a:noFill/>
                </a:ln>
                <a:solidFill>
                  <a:prstClr val="black"/>
                </a:solidFill>
                <a:effectLst/>
                <a:uLnTx/>
                <a:uFillTx/>
                <a:latin typeface="Consolas"/>
                <a:ea typeface="+mn-ea"/>
                <a:cs typeface="+mn-cs"/>
              </a:rPr>
              <a:t> </a:t>
            </a:r>
            <a:r>
              <a:rPr kumimoji="0" lang="sr-Latn-RS" sz="1600" b="0" i="0" u="none" strike="noStrike" kern="1200" cap="none" spc="0" normalizeH="0" baseline="0" noProof="0" dirty="0" smtClean="0">
                <a:ln>
                  <a:noFill/>
                </a:ln>
                <a:solidFill>
                  <a:srgbClr val="0000FF"/>
                </a:solidFill>
                <a:effectLst/>
                <a:uLnTx/>
                <a:uFillTx/>
                <a:latin typeface="Consolas"/>
                <a:ea typeface="+mn-ea"/>
                <a:cs typeface="+mn-cs"/>
              </a:rPr>
              <a:t>AS</a:t>
            </a:r>
            <a:r>
              <a:rPr kumimoji="0" lang="sr-Latn-RS" sz="1600" b="0" i="0" u="none" strike="noStrike" kern="1200" cap="none" spc="0" normalizeH="0" baseline="0" noProof="0" dirty="0" smtClean="0">
                <a:ln>
                  <a:noFill/>
                </a:ln>
                <a:solidFill>
                  <a:prstClr val="black"/>
                </a:solidFill>
                <a:effectLst/>
                <a:uLnTx/>
                <a:uFillTx/>
                <a:latin typeface="Consolas"/>
                <a:ea typeface="+mn-ea"/>
                <a:cs typeface="+mn-cs"/>
              </a:rPr>
              <a:t> </a:t>
            </a:r>
            <a:r>
              <a:rPr kumimoji="0" lang="sr-Latn-RS" sz="1600" b="0" i="0" u="none" strike="noStrike" kern="1200" cap="none" spc="0" normalizeH="0" baseline="0" noProof="0" dirty="0" smtClean="0">
                <a:ln>
                  <a:noFill/>
                </a:ln>
                <a:solidFill>
                  <a:srgbClr val="008080"/>
                </a:solidFill>
                <a:effectLst/>
                <a:uLnTx/>
                <a:uFillTx/>
                <a:latin typeface="Consolas"/>
                <a:ea typeface="+mn-ea"/>
                <a:cs typeface="+mn-cs"/>
              </a:rPr>
              <a:t>Account</a:t>
            </a:r>
            <a:r>
              <a:rPr kumimoji="0" lang="sr-Latn-RS" sz="1600" b="0" i="0" u="none" strike="noStrike" kern="1200" cap="none" spc="0" normalizeH="0" baseline="0" noProof="0" dirty="0" smtClean="0">
                <a:ln>
                  <a:noFill/>
                </a:ln>
                <a:solidFill>
                  <a:srgbClr val="808080"/>
                </a:solidFill>
                <a:effectLst/>
                <a:uLnTx/>
                <a:uFillTx/>
                <a:latin typeface="Consolas"/>
                <a:ea typeface="+mn-ea"/>
                <a:cs typeface="+mn-cs"/>
              </a:rPr>
              <a:t>,</a:t>
            </a:r>
            <a:endParaRPr kumimoji="0" lang="sr-Latn-RS" sz="1600" b="0" i="0" u="none" strike="noStrike" kern="1200" cap="none" spc="0" normalizeH="0" baseline="0" noProof="0" dirty="0" smtClean="0">
              <a:ln>
                <a:noFill/>
              </a:ln>
              <a:solidFill>
                <a:prstClr val="black"/>
              </a:solidFill>
              <a:effectLst/>
              <a:uLnTx/>
              <a:uFillTx/>
              <a:latin typeface="Consolas"/>
              <a:ea typeface="+mn-ea"/>
              <a:cs typeface="+mn-cs"/>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sr-Latn-RS" sz="1600" b="0" i="0" u="none" strike="noStrike" kern="1200" cap="none" spc="0" normalizeH="0" baseline="0" noProof="0" dirty="0" smtClean="0">
                <a:ln>
                  <a:noFill/>
                </a:ln>
                <a:solidFill>
                  <a:srgbClr val="008080"/>
                </a:solidFill>
                <a:effectLst/>
                <a:uLnTx/>
                <a:uFillTx/>
                <a:latin typeface="Consolas"/>
                <a:ea typeface="+mn-ea"/>
                <a:cs typeface="+mn-cs"/>
              </a:rPr>
              <a:t>	Price</a:t>
            </a:r>
            <a:r>
              <a:rPr kumimoji="0" lang="sr-Latn-RS" sz="1600" b="0" i="0" u="none" strike="noStrike" kern="1200" cap="none" spc="0" normalizeH="0" baseline="0" noProof="0" dirty="0" smtClean="0">
                <a:ln>
                  <a:noFill/>
                </a:ln>
                <a:solidFill>
                  <a:prstClr val="black"/>
                </a:solidFill>
                <a:effectLst/>
                <a:uLnTx/>
                <a:uFillTx/>
                <a:latin typeface="Consolas"/>
                <a:ea typeface="+mn-ea"/>
                <a:cs typeface="+mn-cs"/>
              </a:rPr>
              <a:t> </a:t>
            </a:r>
            <a:r>
              <a:rPr kumimoji="0" lang="sr-Latn-RS" sz="1600" b="0" i="0" u="none" strike="noStrike" kern="1200" cap="none" spc="0" normalizeH="0" baseline="0" noProof="0" dirty="0" smtClean="0">
                <a:ln>
                  <a:noFill/>
                </a:ln>
                <a:solidFill>
                  <a:srgbClr val="0000FF"/>
                </a:solidFill>
                <a:effectLst/>
                <a:uLnTx/>
                <a:uFillTx/>
                <a:latin typeface="Consolas"/>
                <a:ea typeface="+mn-ea"/>
                <a:cs typeface="+mn-cs"/>
              </a:rPr>
              <a:t>AS</a:t>
            </a:r>
            <a:r>
              <a:rPr kumimoji="0" lang="sr-Latn-RS" sz="1600" b="0" i="0" u="none" strike="noStrike" kern="1200" cap="none" spc="0" normalizeH="0" baseline="0" noProof="0" dirty="0" smtClean="0">
                <a:ln>
                  <a:noFill/>
                </a:ln>
                <a:solidFill>
                  <a:prstClr val="black"/>
                </a:solidFill>
                <a:effectLst/>
                <a:uLnTx/>
                <a:uFillTx/>
                <a:latin typeface="Consolas"/>
                <a:ea typeface="+mn-ea"/>
                <a:cs typeface="+mn-cs"/>
              </a:rPr>
              <a:t> </a:t>
            </a:r>
            <a:r>
              <a:rPr kumimoji="0" lang="sr-Latn-RS" sz="1600" b="0" i="0" u="none" strike="noStrike" kern="1200" cap="none" spc="0" normalizeH="0" baseline="0" noProof="0" dirty="0" smtClean="0">
                <a:ln>
                  <a:noFill/>
                </a:ln>
                <a:solidFill>
                  <a:srgbClr val="FF0000"/>
                </a:solidFill>
                <a:effectLst/>
                <a:uLnTx/>
                <a:uFillTx/>
                <a:latin typeface="Consolas"/>
                <a:ea typeface="+mn-ea"/>
                <a:cs typeface="+mn-cs"/>
              </a:rPr>
              <a:t>'Item.UnitPrice'</a:t>
            </a:r>
            <a:r>
              <a:rPr kumimoji="0" lang="sr-Latn-RS" sz="1600" b="0" i="0" u="none" strike="noStrike" kern="1200" cap="none" spc="0" normalizeH="0" baseline="0" noProof="0" dirty="0" smtClean="0">
                <a:ln>
                  <a:noFill/>
                </a:ln>
                <a:solidFill>
                  <a:srgbClr val="808080"/>
                </a:solidFill>
                <a:effectLst/>
                <a:uLnTx/>
                <a:uFillTx/>
                <a:latin typeface="Consolas"/>
                <a:ea typeface="+mn-ea"/>
                <a:cs typeface="+mn-cs"/>
              </a:rPr>
              <a:t>,</a:t>
            </a:r>
            <a:r>
              <a:rPr kumimoji="0" lang="sr-Latn-RS" sz="1600" b="0" i="0" u="none" strike="noStrike" kern="1200" cap="none" spc="0" normalizeH="0" baseline="0" noProof="0" dirty="0" smtClean="0">
                <a:ln>
                  <a:noFill/>
                </a:ln>
                <a:solidFill>
                  <a:prstClr val="black"/>
                </a:solidFill>
                <a:effectLst/>
                <a:uLnTx/>
                <a:uFillTx/>
                <a:latin typeface="Consolas"/>
                <a:ea typeface="+mn-ea"/>
                <a:cs typeface="+mn-cs"/>
              </a:rPr>
              <a:t> </a:t>
            </a:r>
            <a:r>
              <a:rPr kumimoji="0" lang="sr-Latn-RS" sz="1600" b="0" i="0" u="none" strike="noStrike" kern="1200" cap="none" spc="0" normalizeH="0" baseline="0" noProof="0" dirty="0" smtClean="0">
                <a:ln>
                  <a:noFill/>
                </a:ln>
                <a:solidFill>
                  <a:srgbClr val="008080"/>
                </a:solidFill>
                <a:effectLst/>
                <a:uLnTx/>
                <a:uFillTx/>
                <a:latin typeface="Consolas"/>
                <a:ea typeface="+mn-ea"/>
                <a:cs typeface="+mn-cs"/>
              </a:rPr>
              <a:t>Quantity</a:t>
            </a:r>
            <a:r>
              <a:rPr kumimoji="0" lang="sr-Latn-RS" sz="1600" b="0" i="0" u="none" strike="noStrike" kern="1200" cap="none" spc="0" normalizeH="0" baseline="0" noProof="0" dirty="0" smtClean="0">
                <a:ln>
                  <a:noFill/>
                </a:ln>
                <a:solidFill>
                  <a:prstClr val="black"/>
                </a:solidFill>
                <a:effectLst/>
                <a:uLnTx/>
                <a:uFillTx/>
                <a:latin typeface="Consolas"/>
                <a:ea typeface="+mn-ea"/>
                <a:cs typeface="+mn-cs"/>
              </a:rPr>
              <a:t> </a:t>
            </a:r>
            <a:r>
              <a:rPr kumimoji="0" lang="sr-Latn-RS" sz="1600" b="0" i="0" u="none" strike="noStrike" kern="1200" cap="none" spc="0" normalizeH="0" baseline="0" noProof="0" dirty="0" smtClean="0">
                <a:ln>
                  <a:noFill/>
                </a:ln>
                <a:solidFill>
                  <a:srgbClr val="0000FF"/>
                </a:solidFill>
                <a:effectLst/>
                <a:uLnTx/>
                <a:uFillTx/>
                <a:latin typeface="Consolas"/>
                <a:ea typeface="+mn-ea"/>
                <a:cs typeface="+mn-cs"/>
              </a:rPr>
              <a:t>AS</a:t>
            </a:r>
            <a:r>
              <a:rPr kumimoji="0" lang="sr-Latn-RS" sz="1600" b="0" i="0" u="none" strike="noStrike" kern="1200" cap="none" spc="0" normalizeH="0" baseline="0" noProof="0" dirty="0" smtClean="0">
                <a:ln>
                  <a:noFill/>
                </a:ln>
                <a:solidFill>
                  <a:prstClr val="black"/>
                </a:solidFill>
                <a:effectLst/>
                <a:uLnTx/>
                <a:uFillTx/>
                <a:latin typeface="Consolas"/>
                <a:ea typeface="+mn-ea"/>
                <a:cs typeface="+mn-cs"/>
              </a:rPr>
              <a:t> </a:t>
            </a:r>
            <a:r>
              <a:rPr kumimoji="0" lang="sr-Latn-RS" sz="1600" b="0" i="0" u="none" strike="noStrike" kern="1200" cap="none" spc="0" normalizeH="0" baseline="0" noProof="0" dirty="0" smtClean="0">
                <a:ln>
                  <a:noFill/>
                </a:ln>
                <a:solidFill>
                  <a:srgbClr val="FF0000"/>
                </a:solidFill>
                <a:effectLst/>
                <a:uLnTx/>
                <a:uFillTx/>
                <a:latin typeface="Consolas"/>
                <a:ea typeface="+mn-ea"/>
                <a:cs typeface="+mn-cs"/>
              </a:rPr>
              <a:t>'Item.Qty'</a:t>
            </a:r>
            <a:endParaRPr kumimoji="0" lang="sr-Latn-RS" sz="1600" b="0" i="0" u="none" strike="noStrike" kern="1200" cap="none" spc="0" normalizeH="0" baseline="0" noProof="0" dirty="0" smtClean="0">
              <a:ln>
                <a:noFill/>
              </a:ln>
              <a:solidFill>
                <a:prstClr val="black"/>
              </a:solidFill>
              <a:effectLst/>
              <a:uLnTx/>
              <a:uFillTx/>
              <a:latin typeface="Consolas"/>
              <a:ea typeface="+mn-ea"/>
              <a:cs typeface="+mn-cs"/>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sr-Latn-RS" sz="1600" b="0" i="0" u="none" strike="noStrike" kern="1200" cap="none" spc="0" normalizeH="0" baseline="0" noProof="0" dirty="0" smtClean="0">
                <a:ln>
                  <a:noFill/>
                </a:ln>
                <a:solidFill>
                  <a:srgbClr val="0000FF"/>
                </a:solidFill>
                <a:effectLst/>
                <a:uLnTx/>
                <a:uFillTx/>
                <a:latin typeface="Consolas"/>
                <a:ea typeface="+mn-ea"/>
                <a:cs typeface="+mn-cs"/>
              </a:rPr>
              <a:t>FROM</a:t>
            </a:r>
            <a:r>
              <a:rPr kumimoji="0" lang="sr-Latn-RS" sz="1600" b="0" i="0" u="none" strike="noStrike" kern="1200" cap="none" spc="0" normalizeH="0" baseline="0" noProof="0" dirty="0" smtClean="0">
                <a:ln>
                  <a:noFill/>
                </a:ln>
                <a:solidFill>
                  <a:prstClr val="black"/>
                </a:solidFill>
                <a:effectLst/>
                <a:uLnTx/>
                <a:uFillTx/>
                <a:latin typeface="Consolas"/>
                <a:ea typeface="+mn-ea"/>
                <a:cs typeface="+mn-cs"/>
              </a:rPr>
              <a:t> </a:t>
            </a:r>
            <a:r>
              <a:rPr kumimoji="0" lang="sr-Latn-RS" sz="1600" b="0" i="0" u="none" strike="noStrike" kern="1200" cap="none" spc="0" normalizeH="0" baseline="0" noProof="0" dirty="0" smtClean="0">
                <a:ln>
                  <a:noFill/>
                </a:ln>
                <a:solidFill>
                  <a:srgbClr val="008080"/>
                </a:solidFill>
                <a:effectLst/>
                <a:uLnTx/>
                <a:uFillTx/>
                <a:latin typeface="Consolas"/>
                <a:ea typeface="+mn-ea"/>
                <a:cs typeface="+mn-cs"/>
              </a:rPr>
              <a:t>SalesOrder</a:t>
            </a:r>
            <a:endParaRPr kumimoji="0" lang="sr-Latn-RS" sz="1600" b="0" i="0" u="none" strike="noStrike" kern="1200" cap="none" spc="0" normalizeH="0" baseline="0" noProof="0" dirty="0" smtClean="0">
              <a:ln>
                <a:noFill/>
              </a:ln>
              <a:solidFill>
                <a:prstClr val="black"/>
              </a:solidFill>
              <a:effectLst/>
              <a:uLnTx/>
              <a:uFillTx/>
              <a:latin typeface="Consolas"/>
              <a:ea typeface="+mn-ea"/>
              <a:cs typeface="+mn-cs"/>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sr-Latn-RS" sz="1600" b="0" i="0" u="none" strike="noStrike" kern="1200" cap="none" spc="0" normalizeH="0" baseline="0" noProof="0" dirty="0" smtClean="0">
                <a:ln>
                  <a:noFill/>
                </a:ln>
                <a:solidFill>
                  <a:srgbClr val="0000FF"/>
                </a:solidFill>
                <a:effectLst/>
                <a:uLnTx/>
                <a:uFillTx/>
                <a:latin typeface="Consolas"/>
                <a:ea typeface="+mn-ea"/>
                <a:cs typeface="+mn-cs"/>
              </a:rPr>
              <a:t>FOR</a:t>
            </a:r>
            <a:r>
              <a:rPr kumimoji="0" lang="sr-Latn-RS" sz="1600" b="0" i="0" u="none" strike="noStrike" kern="1200" cap="none" spc="0" normalizeH="0" baseline="0" noProof="0" dirty="0" smtClean="0">
                <a:ln>
                  <a:noFill/>
                </a:ln>
                <a:solidFill>
                  <a:prstClr val="black"/>
                </a:solidFill>
                <a:effectLst/>
                <a:uLnTx/>
                <a:uFillTx/>
                <a:latin typeface="Consolas"/>
                <a:ea typeface="+mn-ea"/>
                <a:cs typeface="+mn-cs"/>
              </a:rPr>
              <a:t> </a:t>
            </a:r>
            <a:r>
              <a:rPr kumimoji="0" lang="sr-Latn-RS" sz="1600" b="0" i="0" u="none" strike="noStrike" kern="1200" cap="none" spc="0" normalizeH="0" baseline="0" noProof="0" dirty="0" smtClean="0">
                <a:ln>
                  <a:noFill/>
                </a:ln>
                <a:solidFill>
                  <a:srgbClr val="0000FF"/>
                </a:solidFill>
                <a:effectLst/>
                <a:uLnTx/>
                <a:uFillTx/>
                <a:latin typeface="Consolas"/>
                <a:ea typeface="+mn-ea"/>
                <a:cs typeface="+mn-cs"/>
              </a:rPr>
              <a:t>JSON</a:t>
            </a:r>
            <a:r>
              <a:rPr kumimoji="0" lang="sr-Latn-RS" sz="1600" b="0" i="0" u="none" strike="noStrike" kern="1200" cap="none" spc="0" normalizeH="0" baseline="0" noProof="0" dirty="0" smtClean="0">
                <a:ln>
                  <a:noFill/>
                </a:ln>
                <a:solidFill>
                  <a:prstClr val="black"/>
                </a:solidFill>
                <a:effectLst/>
                <a:uLnTx/>
                <a:uFillTx/>
                <a:latin typeface="Consolas"/>
                <a:ea typeface="+mn-ea"/>
                <a:cs typeface="+mn-cs"/>
              </a:rPr>
              <a:t> </a:t>
            </a:r>
            <a:r>
              <a:rPr kumimoji="0" lang="sr-Latn-RS" sz="1600" b="0" i="0" u="none" strike="noStrike" kern="1200" cap="none" spc="0" normalizeH="0" baseline="0" noProof="0" dirty="0" smtClean="0">
                <a:ln>
                  <a:noFill/>
                </a:ln>
                <a:solidFill>
                  <a:srgbClr val="0000FF"/>
                </a:solidFill>
                <a:effectLst/>
                <a:uLnTx/>
                <a:uFillTx/>
                <a:latin typeface="Consolas"/>
                <a:ea typeface="+mn-ea"/>
                <a:cs typeface="+mn-cs"/>
              </a:rPr>
              <a:t>PATH</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800" b="0" i="0" u="none" strike="noStrike" kern="120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7" name="Notched Right Arrow 3"/>
          <p:cNvSpPr>
            <a:spLocks noChangeAspect="1"/>
          </p:cNvSpPr>
          <p:nvPr/>
        </p:nvSpPr>
        <p:spPr bwMode="black">
          <a:xfrm>
            <a:off x="7578272" y="4564062"/>
            <a:ext cx="1091096" cy="382687"/>
          </a:xfrm>
          <a:custGeom>
            <a:avLst/>
            <a:gdLst>
              <a:gd name="connsiteX0" fmla="*/ 0 w 557696"/>
              <a:gd name="connsiteY0" fmla="*/ 68377 h 382687"/>
              <a:gd name="connsiteX1" fmla="*/ 366353 w 557696"/>
              <a:gd name="connsiteY1" fmla="*/ 68377 h 382687"/>
              <a:gd name="connsiteX2" fmla="*/ 366353 w 557696"/>
              <a:gd name="connsiteY2" fmla="*/ 0 h 382687"/>
              <a:gd name="connsiteX3" fmla="*/ 557696 w 557696"/>
              <a:gd name="connsiteY3" fmla="*/ 191344 h 382687"/>
              <a:gd name="connsiteX4" fmla="*/ 366353 w 557696"/>
              <a:gd name="connsiteY4" fmla="*/ 382687 h 382687"/>
              <a:gd name="connsiteX5" fmla="*/ 366353 w 557696"/>
              <a:gd name="connsiteY5" fmla="*/ 314310 h 382687"/>
              <a:gd name="connsiteX6" fmla="*/ 0 w 557696"/>
              <a:gd name="connsiteY6" fmla="*/ 314310 h 382687"/>
              <a:gd name="connsiteX7" fmla="*/ 122967 w 557696"/>
              <a:gd name="connsiteY7" fmla="*/ 191344 h 382687"/>
              <a:gd name="connsiteX8" fmla="*/ 0 w 557696"/>
              <a:gd name="connsiteY8" fmla="*/ 68377 h 382687"/>
              <a:gd name="connsiteX0" fmla="*/ 0 w 557696"/>
              <a:gd name="connsiteY0" fmla="*/ 68377 h 382687"/>
              <a:gd name="connsiteX1" fmla="*/ 366353 w 557696"/>
              <a:gd name="connsiteY1" fmla="*/ 68377 h 382687"/>
              <a:gd name="connsiteX2" fmla="*/ 366353 w 557696"/>
              <a:gd name="connsiteY2" fmla="*/ 0 h 382687"/>
              <a:gd name="connsiteX3" fmla="*/ 557696 w 557696"/>
              <a:gd name="connsiteY3" fmla="*/ 191344 h 382687"/>
              <a:gd name="connsiteX4" fmla="*/ 366353 w 557696"/>
              <a:gd name="connsiteY4" fmla="*/ 382687 h 382687"/>
              <a:gd name="connsiteX5" fmla="*/ 366353 w 557696"/>
              <a:gd name="connsiteY5" fmla="*/ 314310 h 382687"/>
              <a:gd name="connsiteX6" fmla="*/ 0 w 557696"/>
              <a:gd name="connsiteY6" fmla="*/ 314310 h 382687"/>
              <a:gd name="connsiteX7" fmla="*/ 116143 w 557696"/>
              <a:gd name="connsiteY7" fmla="*/ 191344 h 382687"/>
              <a:gd name="connsiteX8" fmla="*/ 0 w 557696"/>
              <a:gd name="connsiteY8" fmla="*/ 68377 h 382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7696" h="382687">
                <a:moveTo>
                  <a:pt x="0" y="68377"/>
                </a:moveTo>
                <a:lnTo>
                  <a:pt x="366353" y="68377"/>
                </a:lnTo>
                <a:lnTo>
                  <a:pt x="366353" y="0"/>
                </a:lnTo>
                <a:lnTo>
                  <a:pt x="557696" y="191344"/>
                </a:lnTo>
                <a:lnTo>
                  <a:pt x="366353" y="382687"/>
                </a:lnTo>
                <a:lnTo>
                  <a:pt x="366353" y="314310"/>
                </a:lnTo>
                <a:lnTo>
                  <a:pt x="0" y="314310"/>
                </a:lnTo>
                <a:lnTo>
                  <a:pt x="116143" y="191344"/>
                </a:lnTo>
                <a:lnTo>
                  <a:pt x="0" y="68377"/>
                </a:lnTo>
                <a:close/>
              </a:path>
            </a:pathLst>
          </a:custGeom>
          <a:solidFill>
            <a:schemeClr val="bg2">
              <a:lumMod val="20000"/>
              <a:lumOff val="80000"/>
            </a:schemeClr>
          </a:solidFill>
          <a:ln>
            <a:noFill/>
          </a:ln>
        </p:spPr>
        <p:txBody>
          <a:bodyPr vert="horz" wrap="square" lIns="93278" tIns="46639" rIns="93278" bIns="46639" numCol="1" anchor="t" anchorCtr="0" compatLnSpc="1">
            <a:prstTxWarp prst="textNoShape">
              <a:avLst/>
            </a:prstTxWarp>
          </a:bodyPr>
          <a:lstStyle/>
          <a:p>
            <a:endParaRPr lang="en-US" dirty="0">
              <a:solidFill>
                <a:srgbClr val="000000"/>
              </a:solidFill>
            </a:endParaRPr>
          </a:p>
        </p:txBody>
      </p:sp>
    </p:spTree>
    <p:extLst>
      <p:ext uri="{BB962C8B-B14F-4D97-AF65-F5344CB8AC3E}">
        <p14:creationId xmlns:p14="http://schemas.microsoft.com/office/powerpoint/2010/main" val="584170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1"/>
          <p:cNvSpPr txBox="1">
            <a:spLocks/>
          </p:cNvSpPr>
          <p:nvPr/>
        </p:nvSpPr>
        <p:spPr>
          <a:xfrm>
            <a:off x="1825749" y="4109839"/>
            <a:ext cx="7772400" cy="533400"/>
          </a:xfrm>
          <a:prstGeom prst="rect">
            <a:avLst/>
          </a:prstGeom>
          <a:solidFill>
            <a:schemeClr val="accent6">
              <a:lumMod val="10000"/>
              <a:lumOff val="90000"/>
            </a:schemeClr>
          </a:solidFill>
        </p:spPr>
        <p:txBody>
          <a:bodyPr vert="horz" wrap="square" lIns="182880" tIns="146304" rIns="182880" bIns="146304" rtlCol="0" anchor="t" anchorCtr="0">
            <a:noAutofit/>
          </a:bodyPr>
          <a:lstStyle>
            <a:lvl1pPr marL="0" marR="0" indent="0" algn="l" defTabSz="932742" rtl="0" eaLnBrk="1" fontAlgn="auto" latinLnBrk="0" hangingPunct="1">
              <a:lnSpc>
                <a:spcPct val="90000"/>
              </a:lnSpc>
              <a:spcBef>
                <a:spcPct val="20000"/>
              </a:spcBef>
              <a:spcAft>
                <a:spcPts val="0"/>
              </a:spcAft>
              <a:buClr>
                <a:schemeClr val="tx1"/>
              </a:buClr>
              <a:buSzPct val="90000"/>
              <a:buFont typeface="Arial" panose="020B0604020202020204" pitchFamily="34" charset="0"/>
              <a:buNone/>
              <a:tabLst/>
              <a:defRPr lang="en-US" sz="3600" kern="1200" spc="0" baseline="0" dirty="0" smtClean="0">
                <a:gradFill>
                  <a:gsLst>
                    <a:gs pos="1299">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Aft>
                <a:spcPts val="1200"/>
              </a:spcAft>
            </a:pPr>
            <a:endParaRPr lang="en-US" sz="2400" dirty="0" smtClean="0">
              <a:gradFill>
                <a:gsLst>
                  <a:gs pos="96970">
                    <a:srgbClr val="525252"/>
                  </a:gs>
                  <a:gs pos="82828">
                    <a:srgbClr val="525252"/>
                  </a:gs>
                </a:gsLst>
                <a:lin ang="5400000" scaled="0"/>
              </a:gradFill>
              <a:latin typeface="Segoe UI" panose="020B0502040204020203" pitchFamily="34" charset="0"/>
              <a:cs typeface="Segoe UI" panose="020B0502040204020203" pitchFamily="34" charset="0"/>
            </a:endParaRPr>
          </a:p>
        </p:txBody>
      </p:sp>
      <p:sp>
        <p:nvSpPr>
          <p:cNvPr id="6" name="Text Placeholder 1"/>
          <p:cNvSpPr txBox="1">
            <a:spLocks/>
          </p:cNvSpPr>
          <p:nvPr/>
        </p:nvSpPr>
        <p:spPr>
          <a:xfrm>
            <a:off x="1825749" y="3119239"/>
            <a:ext cx="7772400" cy="647700"/>
          </a:xfrm>
          <a:prstGeom prst="rect">
            <a:avLst/>
          </a:prstGeom>
          <a:solidFill>
            <a:schemeClr val="accent5">
              <a:lumMod val="20000"/>
              <a:lumOff val="80000"/>
            </a:schemeClr>
          </a:solidFill>
        </p:spPr>
        <p:txBody>
          <a:bodyPr vert="horz" wrap="square" lIns="182880" tIns="146304" rIns="182880" bIns="146304" rtlCol="0" anchor="t" anchorCtr="0">
            <a:noAutofit/>
          </a:bodyPr>
          <a:lstStyle>
            <a:lvl1pPr marL="0" marR="0" indent="0" algn="l" defTabSz="932742" rtl="0" eaLnBrk="1" fontAlgn="auto" latinLnBrk="0" hangingPunct="1">
              <a:lnSpc>
                <a:spcPct val="90000"/>
              </a:lnSpc>
              <a:spcBef>
                <a:spcPct val="20000"/>
              </a:spcBef>
              <a:spcAft>
                <a:spcPts val="0"/>
              </a:spcAft>
              <a:buClr>
                <a:schemeClr val="tx1"/>
              </a:buClr>
              <a:buSzPct val="90000"/>
              <a:buFont typeface="Arial" panose="020B0604020202020204" pitchFamily="34" charset="0"/>
              <a:buNone/>
              <a:tabLst/>
              <a:defRPr lang="en-US" sz="3600" kern="1200" spc="0" baseline="0" dirty="0" smtClean="0">
                <a:gradFill>
                  <a:gsLst>
                    <a:gs pos="1299">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Aft>
                <a:spcPts val="1200"/>
              </a:spcAft>
            </a:pPr>
            <a:endParaRPr lang="en-US" sz="2400" dirty="0" smtClean="0">
              <a:gradFill>
                <a:gsLst>
                  <a:gs pos="96970">
                    <a:srgbClr val="525252"/>
                  </a:gs>
                  <a:gs pos="82828">
                    <a:srgbClr val="525252"/>
                  </a:gs>
                </a:gsLst>
                <a:lin ang="5400000" scaled="0"/>
              </a:gradFill>
              <a:latin typeface="Segoe UI" panose="020B0502040204020203" pitchFamily="34" charset="0"/>
              <a:cs typeface="Segoe UI" panose="020B0502040204020203" pitchFamily="34" charset="0"/>
            </a:endParaRPr>
          </a:p>
        </p:txBody>
      </p:sp>
      <p:sp>
        <p:nvSpPr>
          <p:cNvPr id="4" name="Title 3"/>
          <p:cNvSpPr>
            <a:spLocks noGrp="1"/>
          </p:cNvSpPr>
          <p:nvPr>
            <p:ph type="title"/>
          </p:nvPr>
        </p:nvSpPr>
        <p:spPr/>
        <p:txBody>
          <a:bodyPr/>
          <a:lstStyle/>
          <a:p>
            <a:r>
              <a:rPr lang="en-US" dirty="0" err="1" smtClean="0"/>
              <a:t>Fonctions</a:t>
            </a:r>
            <a:endParaRPr lang="en-US" dirty="0"/>
          </a:p>
        </p:txBody>
      </p:sp>
      <p:sp>
        <p:nvSpPr>
          <p:cNvPr id="5" name="Text Placeholder 4"/>
          <p:cNvSpPr>
            <a:spLocks noGrp="1"/>
          </p:cNvSpPr>
          <p:nvPr>
            <p:ph type="body" sz="quarter" idx="13"/>
          </p:nvPr>
        </p:nvSpPr>
        <p:spPr>
          <a:xfrm>
            <a:off x="1033661" y="1481038"/>
            <a:ext cx="10408095" cy="4895329"/>
          </a:xfrm>
        </p:spPr>
        <p:txBody>
          <a:bodyPr/>
          <a:lstStyle/>
          <a:p>
            <a:pPr marL="67500" indent="0">
              <a:buNone/>
            </a:pPr>
            <a:r>
              <a:rPr lang="en-US" sz="2400" dirty="0">
                <a:solidFill>
                  <a:schemeClr val="tx1">
                    <a:lumMod val="50000"/>
                  </a:schemeClr>
                </a:solidFill>
              </a:rPr>
              <a:t>CREATE TABLE </a:t>
            </a:r>
            <a:r>
              <a:rPr lang="en-US" sz="2400" dirty="0" err="1">
                <a:solidFill>
                  <a:schemeClr val="tx1">
                    <a:lumMod val="50000"/>
                  </a:schemeClr>
                </a:solidFill>
              </a:rPr>
              <a:t>SalesOrderRecord</a:t>
            </a:r>
            <a:r>
              <a:rPr lang="en-US" sz="2400" dirty="0">
                <a:solidFill>
                  <a:schemeClr val="tx1">
                    <a:lumMod val="50000"/>
                  </a:schemeClr>
                </a:solidFill>
              </a:rPr>
              <a:t> (</a:t>
            </a:r>
            <a:br>
              <a:rPr lang="en-US" sz="2400" dirty="0">
                <a:solidFill>
                  <a:schemeClr val="tx1">
                    <a:lumMod val="50000"/>
                  </a:schemeClr>
                </a:solidFill>
              </a:rPr>
            </a:br>
            <a:r>
              <a:rPr lang="en-US" sz="2400" dirty="0">
                <a:solidFill>
                  <a:schemeClr val="tx1">
                    <a:lumMod val="50000"/>
                  </a:schemeClr>
                </a:solidFill>
              </a:rPr>
              <a:t>    Id </a:t>
            </a:r>
            <a:r>
              <a:rPr lang="en-US" sz="2400" dirty="0" err="1">
                <a:solidFill>
                  <a:schemeClr val="tx1">
                    <a:lumMod val="50000"/>
                  </a:schemeClr>
                </a:solidFill>
              </a:rPr>
              <a:t>int</a:t>
            </a:r>
            <a:r>
              <a:rPr lang="en-US" sz="2400" dirty="0">
                <a:solidFill>
                  <a:schemeClr val="tx1">
                    <a:lumMod val="50000"/>
                  </a:schemeClr>
                </a:solidFill>
              </a:rPr>
              <a:t> PRIMARY KEY IDENTITY,</a:t>
            </a:r>
            <a:br>
              <a:rPr lang="en-US" sz="2400" dirty="0">
                <a:solidFill>
                  <a:schemeClr val="tx1">
                    <a:lumMod val="50000"/>
                  </a:schemeClr>
                </a:solidFill>
              </a:rPr>
            </a:br>
            <a:r>
              <a:rPr lang="en-US" sz="2400" dirty="0">
                <a:solidFill>
                  <a:schemeClr val="tx1">
                    <a:lumMod val="50000"/>
                  </a:schemeClr>
                </a:solidFill>
              </a:rPr>
              <a:t>    </a:t>
            </a:r>
            <a:r>
              <a:rPr lang="en-US" sz="2400" dirty="0" err="1">
                <a:solidFill>
                  <a:schemeClr val="tx1">
                    <a:lumMod val="50000"/>
                  </a:schemeClr>
                </a:solidFill>
              </a:rPr>
              <a:t>OrderNumber</a:t>
            </a:r>
            <a:r>
              <a:rPr lang="en-US" sz="2400" dirty="0">
                <a:solidFill>
                  <a:schemeClr val="tx1">
                    <a:lumMod val="50000"/>
                  </a:schemeClr>
                </a:solidFill>
              </a:rPr>
              <a:t> NVARCHAR(25) NOT NULL,</a:t>
            </a:r>
            <a:br>
              <a:rPr lang="en-US" sz="2400" dirty="0">
                <a:solidFill>
                  <a:schemeClr val="tx1">
                    <a:lumMod val="50000"/>
                  </a:schemeClr>
                </a:solidFill>
              </a:rPr>
            </a:br>
            <a:r>
              <a:rPr lang="en-US" sz="2400" dirty="0">
                <a:solidFill>
                  <a:schemeClr val="tx1">
                    <a:lumMod val="50000"/>
                  </a:schemeClr>
                </a:solidFill>
              </a:rPr>
              <a:t>    </a:t>
            </a:r>
            <a:r>
              <a:rPr lang="en-US" sz="2400" dirty="0" err="1">
                <a:solidFill>
                  <a:schemeClr val="tx1">
                    <a:lumMod val="50000"/>
                  </a:schemeClr>
                </a:solidFill>
              </a:rPr>
              <a:t>OrderDate</a:t>
            </a:r>
            <a:r>
              <a:rPr lang="en-US" sz="2400" dirty="0">
                <a:solidFill>
                  <a:schemeClr val="tx1">
                    <a:lumMod val="50000"/>
                  </a:schemeClr>
                </a:solidFill>
              </a:rPr>
              <a:t> DATETIME NOT NULL,</a:t>
            </a:r>
            <a:br>
              <a:rPr lang="en-US" sz="2400" dirty="0">
                <a:solidFill>
                  <a:schemeClr val="tx1">
                    <a:lumMod val="50000"/>
                  </a:schemeClr>
                </a:solidFill>
              </a:rPr>
            </a:br>
            <a:r>
              <a:rPr lang="en-US" sz="2400" dirty="0">
                <a:solidFill>
                  <a:schemeClr val="tx1">
                    <a:lumMod val="50000"/>
                  </a:schemeClr>
                </a:solidFill>
              </a:rPr>
              <a:t>    </a:t>
            </a:r>
            <a:r>
              <a:rPr lang="en-US" sz="2400" dirty="0" err="1" smtClean="0">
                <a:solidFill>
                  <a:schemeClr val="tx1">
                    <a:lumMod val="50000"/>
                  </a:schemeClr>
                </a:solidFill>
              </a:rPr>
              <a:t>SalesOrderItems</a:t>
            </a:r>
            <a:r>
              <a:rPr lang="en-US" sz="2400" dirty="0" smtClean="0">
                <a:solidFill>
                  <a:schemeClr val="tx1">
                    <a:lumMod val="50000"/>
                  </a:schemeClr>
                </a:solidFill>
              </a:rPr>
              <a:t> NVARCHAR(MAX)</a:t>
            </a:r>
            <a:r>
              <a:rPr lang="en-US" sz="2400" dirty="0">
                <a:solidFill>
                  <a:schemeClr val="tx1">
                    <a:lumMod val="50000"/>
                  </a:schemeClr>
                </a:solidFill>
              </a:rPr>
              <a:t/>
            </a:r>
            <a:br>
              <a:rPr lang="en-US" sz="2400" dirty="0">
                <a:solidFill>
                  <a:schemeClr val="tx1">
                    <a:lumMod val="50000"/>
                  </a:schemeClr>
                </a:solidFill>
              </a:rPr>
            </a:br>
            <a:r>
              <a:rPr lang="en-US" sz="2400" dirty="0"/>
              <a:t>         CONSTRAINT </a:t>
            </a:r>
            <a:r>
              <a:rPr lang="en-US" sz="2400" dirty="0" err="1" smtClean="0"/>
              <a:t>SalesOrderDetails_IS_JSON</a:t>
            </a:r>
            <a:r>
              <a:rPr lang="en-US" sz="2400" dirty="0" smtClean="0"/>
              <a:t> </a:t>
            </a:r>
            <a:r>
              <a:rPr lang="en-US" sz="2400" dirty="0"/>
              <a:t/>
            </a:r>
            <a:br>
              <a:rPr lang="en-US" sz="2400" dirty="0"/>
            </a:br>
            <a:r>
              <a:rPr lang="en-US" sz="2400" dirty="0"/>
              <a:t>			CHECK ( </a:t>
            </a:r>
            <a:r>
              <a:rPr lang="en-US" sz="2400" dirty="0" smtClean="0"/>
              <a:t>ISJSON(</a:t>
            </a:r>
            <a:r>
              <a:rPr lang="en-US" sz="2400" dirty="0" err="1" smtClean="0"/>
              <a:t>SalesOrderItems</a:t>
            </a:r>
            <a:r>
              <a:rPr lang="en-US" sz="2400" dirty="0" smtClean="0"/>
              <a:t>)&gt;</a:t>
            </a:r>
            <a:r>
              <a:rPr lang="en-US" sz="2400" dirty="0"/>
              <a:t>0 </a:t>
            </a:r>
            <a:r>
              <a:rPr lang="en-US" sz="2400" dirty="0" smtClean="0"/>
              <a:t>),</a:t>
            </a:r>
            <a:r>
              <a:rPr lang="en-US" sz="2400" dirty="0"/>
              <a:t/>
            </a:r>
            <a:br>
              <a:rPr lang="en-US" sz="2400" dirty="0"/>
            </a:br>
            <a:r>
              <a:rPr lang="en-US" sz="2400" dirty="0"/>
              <a:t>    </a:t>
            </a:r>
            <a:r>
              <a:rPr lang="en-US" sz="2400" dirty="0">
                <a:solidFill>
                  <a:schemeClr val="tx1">
                    <a:lumMod val="50000"/>
                  </a:schemeClr>
                </a:solidFill>
              </a:rPr>
              <a:t>Price AS</a:t>
            </a:r>
          </a:p>
          <a:p>
            <a:pPr marL="67500" indent="0">
              <a:buNone/>
            </a:pPr>
            <a:r>
              <a:rPr lang="en-US" sz="2400" dirty="0"/>
              <a:t>         </a:t>
            </a:r>
            <a:r>
              <a:rPr lang="en-US" sz="2400" dirty="0" smtClean="0"/>
              <a:t>JSON_VALUE(</a:t>
            </a:r>
            <a:r>
              <a:rPr lang="en-US" sz="2400" dirty="0" err="1" smtClean="0"/>
              <a:t>SalesOrderItems</a:t>
            </a:r>
            <a:r>
              <a:rPr lang="en-US" sz="2400" dirty="0" smtClean="0"/>
              <a:t>, '$.</a:t>
            </a:r>
            <a:r>
              <a:rPr lang="en-US" sz="2400" dirty="0" err="1"/>
              <a:t>Order.Price</a:t>
            </a:r>
            <a:r>
              <a:rPr lang="en-US" sz="2400" dirty="0" smtClean="0"/>
              <a:t>')</a:t>
            </a:r>
            <a:r>
              <a:rPr lang="en-US" sz="2400" dirty="0"/>
              <a:t/>
            </a:r>
            <a:br>
              <a:rPr lang="en-US" sz="2400" dirty="0"/>
            </a:br>
            <a:r>
              <a:rPr lang="en-US" sz="2400" dirty="0" smtClean="0">
                <a:solidFill>
                  <a:schemeClr val="tx1">
                    <a:lumMod val="50000"/>
                  </a:schemeClr>
                </a:solidFill>
              </a:rPr>
              <a:t>)</a:t>
            </a:r>
          </a:p>
          <a:p>
            <a:pPr marL="67500" indent="0">
              <a:buNone/>
            </a:pPr>
            <a:endParaRPr lang="en-US" sz="2400" dirty="0"/>
          </a:p>
          <a:p>
            <a:pPr marL="67500" indent="0">
              <a:buNone/>
            </a:pPr>
            <a:r>
              <a:rPr lang="en-US" sz="2400" dirty="0" smtClean="0">
                <a:solidFill>
                  <a:schemeClr val="tx1">
                    <a:lumMod val="50000"/>
                  </a:schemeClr>
                </a:solidFill>
              </a:rPr>
              <a:t>CREATE INDEX </a:t>
            </a:r>
            <a:r>
              <a:rPr lang="en-US" sz="2400" dirty="0" err="1" smtClean="0">
                <a:solidFill>
                  <a:schemeClr val="tx1">
                    <a:lumMod val="50000"/>
                  </a:schemeClr>
                </a:solidFill>
              </a:rPr>
              <a:t>idx_JsonPrice</a:t>
            </a:r>
            <a:r>
              <a:rPr lang="en-US" sz="2400" dirty="0" smtClean="0">
                <a:solidFill>
                  <a:schemeClr val="tx1">
                    <a:lumMod val="50000"/>
                  </a:schemeClr>
                </a:solidFill>
              </a:rPr>
              <a:t> ON </a:t>
            </a:r>
            <a:r>
              <a:rPr lang="en-US" sz="2400" dirty="0" err="1" smtClean="0">
                <a:solidFill>
                  <a:schemeClr val="tx1">
                    <a:lumMod val="50000"/>
                  </a:schemeClr>
                </a:solidFill>
              </a:rPr>
              <a:t>SalesOrderRecord</a:t>
            </a:r>
            <a:r>
              <a:rPr lang="en-US" sz="2400" dirty="0" smtClean="0">
                <a:solidFill>
                  <a:schemeClr val="tx1">
                    <a:lumMod val="50000"/>
                  </a:schemeClr>
                </a:solidFill>
              </a:rPr>
              <a:t>(Price)</a:t>
            </a:r>
          </a:p>
          <a:p>
            <a:pPr marL="67500" indent="0">
              <a:buNone/>
            </a:pPr>
            <a:r>
              <a:rPr lang="en-US" sz="2400" dirty="0" smtClean="0">
                <a:solidFill>
                  <a:schemeClr val="tx1">
                    <a:lumMod val="50000"/>
                  </a:schemeClr>
                </a:solidFill>
              </a:rPr>
              <a:t>INCLUDE (Id, </a:t>
            </a:r>
            <a:r>
              <a:rPr lang="en-US" sz="2400" dirty="0" err="1" smtClean="0">
                <a:solidFill>
                  <a:schemeClr val="tx1">
                    <a:lumMod val="50000"/>
                  </a:schemeClr>
                </a:solidFill>
              </a:rPr>
              <a:t>OrderNumber</a:t>
            </a:r>
            <a:r>
              <a:rPr lang="en-US" sz="2400" dirty="0" smtClean="0">
                <a:solidFill>
                  <a:schemeClr val="tx1">
                    <a:lumMod val="50000"/>
                  </a:schemeClr>
                </a:solidFill>
              </a:rPr>
              <a:t>, </a:t>
            </a:r>
            <a:r>
              <a:rPr lang="en-US" sz="2400" dirty="0" err="1" smtClean="0">
                <a:solidFill>
                  <a:schemeClr val="tx1">
                    <a:lumMod val="50000"/>
                  </a:schemeClr>
                </a:solidFill>
              </a:rPr>
              <a:t>OrderDate</a:t>
            </a:r>
            <a:r>
              <a:rPr lang="en-US" sz="2400" dirty="0" smtClean="0">
                <a:solidFill>
                  <a:schemeClr val="tx1">
                    <a:lumMod val="50000"/>
                  </a:schemeClr>
                </a:solidFill>
              </a:rPr>
              <a:t>)</a:t>
            </a:r>
          </a:p>
        </p:txBody>
      </p:sp>
      <p:sp>
        <p:nvSpPr>
          <p:cNvPr id="3" name="Text Placeholder 2"/>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spTree>
    <p:extLst>
      <p:ext uri="{BB962C8B-B14F-4D97-AF65-F5344CB8AC3E}">
        <p14:creationId xmlns:p14="http://schemas.microsoft.com/office/powerpoint/2010/main" val="1409357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p:txBody>
          <a:bodyPr/>
          <a:lstStyle/>
          <a:p>
            <a:r>
              <a:rPr lang="fr-FR" dirty="0" smtClean="0"/>
              <a:t>Démonstration</a:t>
            </a:r>
            <a:endParaRPr lang="fr-FR" dirty="0"/>
          </a:p>
        </p:txBody>
      </p:sp>
      <p:sp>
        <p:nvSpPr>
          <p:cNvPr id="8" name="Text Placeholder 7"/>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sp>
        <p:nvSpPr>
          <p:cNvPr id="6" name="Title 5"/>
          <p:cNvSpPr>
            <a:spLocks noGrp="1"/>
          </p:cNvSpPr>
          <p:nvPr>
            <p:ph type="title"/>
          </p:nvPr>
        </p:nvSpPr>
        <p:spPr/>
        <p:txBody>
          <a:bodyPr/>
          <a:lstStyle/>
          <a:p>
            <a:r>
              <a:rPr lang="fr-FR" dirty="0" smtClean="0"/>
              <a:t>JSON</a:t>
            </a:r>
            <a:endParaRPr lang="fr-FR" dirty="0"/>
          </a:p>
        </p:txBody>
      </p:sp>
    </p:spTree>
    <p:extLst>
      <p:ext uri="{BB962C8B-B14F-4D97-AF65-F5344CB8AC3E}">
        <p14:creationId xmlns:p14="http://schemas.microsoft.com/office/powerpoint/2010/main" val="644811856"/>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p:cNvSpPr/>
          <p:nvPr/>
        </p:nvSpPr>
        <p:spPr bwMode="auto">
          <a:xfrm>
            <a:off x="274639" y="1533694"/>
            <a:ext cx="11888787" cy="741757"/>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a:lnSpc>
                <a:spcPct val="90000"/>
              </a:lnSpc>
              <a:buFont typeface="Wingdings 3" panose="05040102010807070707" pitchFamily="18" charset="2"/>
              <a:buChar char="Æ"/>
            </a:pPr>
            <a:endParaRPr lang="en-US" sz="2000" b="1" dirty="0" err="1" smtClean="0">
              <a:solidFill>
                <a:srgbClr val="FFFFFF"/>
              </a:solidFill>
              <a:latin typeface="Segoe UI Light"/>
              <a:ea typeface="Segoe UI" pitchFamily="34" charset="0"/>
              <a:cs typeface="Segoe UI" pitchFamily="34" charset="0"/>
            </a:endParaRPr>
          </a:p>
        </p:txBody>
      </p:sp>
      <p:sp>
        <p:nvSpPr>
          <p:cNvPr id="2" name="Title 1"/>
          <p:cNvSpPr>
            <a:spLocks noGrp="1"/>
          </p:cNvSpPr>
          <p:nvPr>
            <p:ph type="title"/>
          </p:nvPr>
        </p:nvSpPr>
        <p:spPr/>
        <p:txBody>
          <a:bodyPr/>
          <a:lstStyle/>
          <a:p>
            <a:r>
              <a:rPr lang="en-US" dirty="0" err="1" smtClean="0"/>
              <a:t>Mais</a:t>
            </a:r>
            <a:r>
              <a:rPr lang="en-US" dirty="0" smtClean="0"/>
              <a:t> encore…</a:t>
            </a:r>
            <a:endParaRPr lang="en-US" dirty="0"/>
          </a:p>
        </p:txBody>
      </p:sp>
      <p:sp>
        <p:nvSpPr>
          <p:cNvPr id="5" name="Text Placeholder 4"/>
          <p:cNvSpPr>
            <a:spLocks noGrp="1"/>
          </p:cNvSpPr>
          <p:nvPr>
            <p:ph type="body" sz="quarter" idx="14"/>
          </p:nvPr>
        </p:nvSpPr>
        <p:spPr/>
        <p:txBody>
          <a:bodyPr/>
          <a:lstStyle/>
          <a:p>
            <a:endParaRPr lang="fr-FR"/>
          </a:p>
        </p:txBody>
      </p:sp>
      <p:sp>
        <p:nvSpPr>
          <p:cNvPr id="6" name="Text Placeholder 5"/>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sp>
        <p:nvSpPr>
          <p:cNvPr id="4" name="Rectangle 3"/>
          <p:cNvSpPr/>
          <p:nvPr/>
        </p:nvSpPr>
        <p:spPr>
          <a:xfrm>
            <a:off x="537340" y="1596143"/>
            <a:ext cx="2368341" cy="584775"/>
          </a:xfrm>
          <a:prstGeom prst="rect">
            <a:avLst/>
          </a:prstGeom>
        </p:spPr>
        <p:txBody>
          <a:bodyPr wrap="none">
            <a:spAutoFit/>
          </a:bodyPr>
          <a:lstStyle/>
          <a:p>
            <a:r>
              <a:rPr lang="en-US" sz="3200" dirty="0">
                <a:solidFill>
                  <a:srgbClr val="FFFFFF"/>
                </a:solidFill>
                <a:latin typeface="Segoe UI Light"/>
                <a:cs typeface="+mn-cs"/>
              </a:rPr>
              <a:t>Performance</a:t>
            </a:r>
            <a:endParaRPr lang="en-US" sz="2800" dirty="0">
              <a:solidFill>
                <a:srgbClr val="FFFFFF"/>
              </a:solidFill>
            </a:endParaRPr>
          </a:p>
        </p:txBody>
      </p:sp>
      <p:sp>
        <p:nvSpPr>
          <p:cNvPr id="14" name="Rectangle 13"/>
          <p:cNvSpPr/>
          <p:nvPr/>
        </p:nvSpPr>
        <p:spPr>
          <a:xfrm>
            <a:off x="537341" y="2594640"/>
            <a:ext cx="2637710" cy="3394775"/>
          </a:xfrm>
          <a:prstGeom prst="rect">
            <a:avLst/>
          </a:prstGeom>
        </p:spPr>
        <p:txBody>
          <a:bodyPr wrap="square">
            <a:spAutoFit/>
          </a:bodyPr>
          <a:lstStyle/>
          <a:p>
            <a:pPr defTabSz="932742" fontAlgn="auto">
              <a:lnSpc>
                <a:spcPct val="90000"/>
              </a:lnSpc>
              <a:spcBef>
                <a:spcPts val="600"/>
              </a:spcBef>
              <a:spcAft>
                <a:spcPts val="2400"/>
              </a:spcAft>
            </a:pPr>
            <a:r>
              <a:rPr lang="en-US" sz="2000" dirty="0">
                <a:solidFill>
                  <a:srgbClr val="C00000"/>
                </a:solidFill>
                <a:latin typeface="Segoe UI Light" panose="020B0502040204020203" pitchFamily="34" charset="0"/>
                <a:cs typeface="Segoe UI Light" panose="020B0502040204020203" pitchFamily="34" charset="0"/>
              </a:rPr>
              <a:t>Operational analytics</a:t>
            </a:r>
          </a:p>
          <a:p>
            <a:pPr defTabSz="932742" fontAlgn="auto">
              <a:lnSpc>
                <a:spcPct val="90000"/>
              </a:lnSpc>
              <a:spcBef>
                <a:spcPts val="600"/>
              </a:spcBef>
              <a:spcAft>
                <a:spcPts val="2400"/>
              </a:spcAft>
            </a:pPr>
            <a:r>
              <a:rPr lang="en-US" sz="2000" dirty="0">
                <a:solidFill>
                  <a:srgbClr val="C00000"/>
                </a:solidFill>
                <a:latin typeface="Segoe UI Light" panose="020B0502040204020203" pitchFamily="34" charset="0"/>
                <a:cs typeface="Segoe UI Light" panose="020B0502040204020203" pitchFamily="34" charset="0"/>
              </a:rPr>
              <a:t>In-memory OLTP for </a:t>
            </a:r>
            <a:r>
              <a:rPr lang="en-US" sz="2000" dirty="0" smtClean="0">
                <a:solidFill>
                  <a:srgbClr val="C00000"/>
                </a:solidFill>
                <a:latin typeface="Segoe UI Light" panose="020B0502040204020203" pitchFamily="34" charset="0"/>
                <a:cs typeface="Segoe UI Light" panose="020B0502040204020203" pitchFamily="34" charset="0"/>
              </a:rPr>
              <a:t/>
            </a:r>
            <a:br>
              <a:rPr lang="en-US" sz="2000" dirty="0" smtClean="0">
                <a:solidFill>
                  <a:srgbClr val="C00000"/>
                </a:solidFill>
                <a:latin typeface="Segoe UI Light" panose="020B0502040204020203" pitchFamily="34" charset="0"/>
                <a:cs typeface="Segoe UI Light" panose="020B0502040204020203" pitchFamily="34" charset="0"/>
              </a:rPr>
            </a:br>
            <a:r>
              <a:rPr lang="en-US" sz="2000" dirty="0" smtClean="0">
                <a:solidFill>
                  <a:srgbClr val="C00000"/>
                </a:solidFill>
                <a:latin typeface="Segoe UI Light" panose="020B0502040204020203" pitchFamily="34" charset="0"/>
                <a:cs typeface="Segoe UI Light" panose="020B0502040204020203" pitchFamily="34" charset="0"/>
              </a:rPr>
              <a:t>more </a:t>
            </a:r>
            <a:r>
              <a:rPr lang="en-US" sz="2000" dirty="0">
                <a:solidFill>
                  <a:srgbClr val="C00000"/>
                </a:solidFill>
                <a:latin typeface="Segoe UI Light" panose="020B0502040204020203" pitchFamily="34" charset="0"/>
                <a:cs typeface="Segoe UI Light" panose="020B0502040204020203" pitchFamily="34" charset="0"/>
              </a:rPr>
              <a:t>applications </a:t>
            </a:r>
          </a:p>
          <a:p>
            <a:pPr defTabSz="932472" fontAlgn="auto">
              <a:lnSpc>
                <a:spcPct val="90000"/>
              </a:lnSpc>
              <a:spcBef>
                <a:spcPts val="0"/>
              </a:spcBef>
              <a:spcAft>
                <a:spcPts val="2400"/>
              </a:spcAft>
            </a:pPr>
            <a:r>
              <a:rPr lang="en-US" sz="2000" dirty="0">
                <a:solidFill>
                  <a:srgbClr val="C00000"/>
                </a:solidFill>
                <a:latin typeface="Segoe UI Light" panose="020B0502040204020203" pitchFamily="34" charset="0"/>
                <a:cs typeface="Segoe UI Light" panose="020B0502040204020203" pitchFamily="34" charset="0"/>
              </a:rPr>
              <a:t>Query </a:t>
            </a:r>
            <a:r>
              <a:rPr lang="en-US" sz="2000" dirty="0" smtClean="0">
                <a:solidFill>
                  <a:srgbClr val="C00000"/>
                </a:solidFill>
                <a:latin typeface="Segoe UI Light" panose="020B0502040204020203" pitchFamily="34" charset="0"/>
                <a:cs typeface="Segoe UI Light" panose="020B0502040204020203" pitchFamily="34" charset="0"/>
              </a:rPr>
              <a:t>store </a:t>
            </a:r>
            <a:endParaRPr lang="en-US" sz="2000" dirty="0">
              <a:solidFill>
                <a:srgbClr val="C00000"/>
              </a:solidFill>
              <a:latin typeface="Segoe UI Light" panose="020B0502040204020203" pitchFamily="34" charset="0"/>
              <a:cs typeface="Segoe UI Light" panose="020B0502040204020203" pitchFamily="34" charset="0"/>
            </a:endParaRPr>
          </a:p>
          <a:p>
            <a:pPr defTabSz="932472" fontAlgn="auto">
              <a:lnSpc>
                <a:spcPct val="90000"/>
              </a:lnSpc>
              <a:spcBef>
                <a:spcPts val="0"/>
              </a:spcBef>
              <a:spcAft>
                <a:spcPts val="2400"/>
              </a:spcAft>
            </a:pPr>
            <a:r>
              <a:rPr lang="en-US" sz="2000" dirty="0">
                <a:solidFill>
                  <a:srgbClr val="C00000"/>
                </a:solidFill>
                <a:latin typeface="Segoe UI Light" panose="020B0502040204020203" pitchFamily="34" charset="0"/>
                <a:cs typeface="Segoe UI Light" panose="020B0502040204020203" pitchFamily="34" charset="0"/>
              </a:rPr>
              <a:t>Native JSON</a:t>
            </a:r>
            <a:r>
              <a:rPr lang="en-US" dirty="0">
                <a:solidFill>
                  <a:srgbClr val="C00000"/>
                </a:solidFill>
                <a:latin typeface="Segoe UI Light" panose="020B0502040204020203" pitchFamily="34" charset="0"/>
                <a:cs typeface="Segoe UI Light" panose="020B0502040204020203" pitchFamily="34" charset="0"/>
              </a:rPr>
              <a:t> </a:t>
            </a:r>
          </a:p>
          <a:p>
            <a:pPr defTabSz="932472" fontAlgn="auto">
              <a:lnSpc>
                <a:spcPct val="90000"/>
              </a:lnSpc>
              <a:spcBef>
                <a:spcPts val="0"/>
              </a:spcBef>
              <a:spcAft>
                <a:spcPts val="2400"/>
              </a:spcAft>
            </a:pPr>
            <a:r>
              <a:rPr lang="en-US" sz="2000" dirty="0">
                <a:solidFill>
                  <a:srgbClr val="C00000"/>
                </a:solidFill>
                <a:latin typeface="Segoe UI Light" panose="020B0502040204020203" pitchFamily="34" charset="0"/>
                <a:cs typeface="Segoe UI Light" panose="020B0502040204020203" pitchFamily="34" charset="0"/>
              </a:rPr>
              <a:t>Temporal database support </a:t>
            </a:r>
          </a:p>
        </p:txBody>
      </p:sp>
      <p:sp>
        <p:nvSpPr>
          <p:cNvPr id="7" name="Rectangle 6"/>
          <p:cNvSpPr/>
          <p:nvPr/>
        </p:nvSpPr>
        <p:spPr>
          <a:xfrm>
            <a:off x="3802139" y="1596143"/>
            <a:ext cx="1547218" cy="584775"/>
          </a:xfrm>
          <a:prstGeom prst="rect">
            <a:avLst/>
          </a:prstGeom>
        </p:spPr>
        <p:txBody>
          <a:bodyPr wrap="none">
            <a:spAutoFit/>
          </a:bodyPr>
          <a:lstStyle/>
          <a:p>
            <a:pPr algn="ctr" defTabSz="932563" fontAlgn="auto">
              <a:spcBef>
                <a:spcPts val="0"/>
              </a:spcBef>
              <a:spcAft>
                <a:spcPts val="0"/>
              </a:spcAft>
            </a:pPr>
            <a:r>
              <a:rPr lang="en-US" sz="3200" dirty="0" err="1" smtClean="0">
                <a:solidFill>
                  <a:srgbClr val="FFFFFF"/>
                </a:solidFill>
                <a:latin typeface="Segoe UI Light"/>
                <a:cs typeface="+mn-cs"/>
              </a:rPr>
              <a:t>Securité</a:t>
            </a:r>
            <a:endParaRPr lang="en-US" sz="3200" dirty="0">
              <a:solidFill>
                <a:srgbClr val="FFFFFF"/>
              </a:solidFill>
              <a:latin typeface="Segoe UI Light"/>
              <a:cs typeface="+mn-cs"/>
            </a:endParaRPr>
          </a:p>
        </p:txBody>
      </p:sp>
      <p:sp>
        <p:nvSpPr>
          <p:cNvPr id="16" name="Rectangle 15"/>
          <p:cNvSpPr/>
          <p:nvPr/>
        </p:nvSpPr>
        <p:spPr>
          <a:xfrm>
            <a:off x="3812559" y="2594640"/>
            <a:ext cx="2106990" cy="2092881"/>
          </a:xfrm>
          <a:prstGeom prst="rect">
            <a:avLst/>
          </a:prstGeom>
        </p:spPr>
        <p:txBody>
          <a:bodyPr wrap="square">
            <a:spAutoFit/>
          </a:bodyPr>
          <a:lstStyle/>
          <a:p>
            <a:pPr defTabSz="932472" fontAlgn="auto">
              <a:lnSpc>
                <a:spcPct val="90000"/>
              </a:lnSpc>
              <a:spcBef>
                <a:spcPts val="0"/>
              </a:spcBef>
              <a:spcAft>
                <a:spcPts val="2400"/>
              </a:spcAft>
            </a:pPr>
            <a:r>
              <a:rPr lang="en-US" sz="2000" dirty="0">
                <a:solidFill>
                  <a:srgbClr val="C00000"/>
                </a:solidFill>
                <a:latin typeface="Segoe UI Light"/>
                <a:cs typeface="+mn-cs"/>
              </a:rPr>
              <a:t>Always Encrypted</a:t>
            </a:r>
            <a:endParaRPr lang="en-US" sz="2000" b="1" spc="-102" dirty="0">
              <a:ln w="3175">
                <a:noFill/>
              </a:ln>
              <a:solidFill>
                <a:srgbClr val="C00000"/>
              </a:solidFill>
              <a:latin typeface="Segoe UI Light"/>
              <a:ea typeface="ＭＳ Ｐゴシック" charset="0"/>
              <a:cs typeface="Segoe UI" panose="020B0502040204020203" pitchFamily="34" charset="0"/>
            </a:endParaRPr>
          </a:p>
          <a:p>
            <a:pPr defTabSz="932472" fontAlgn="auto">
              <a:lnSpc>
                <a:spcPct val="90000"/>
              </a:lnSpc>
              <a:spcBef>
                <a:spcPts val="0"/>
              </a:spcBef>
              <a:spcAft>
                <a:spcPts val="2400"/>
              </a:spcAft>
            </a:pPr>
            <a:r>
              <a:rPr lang="en-US" sz="2000" dirty="0">
                <a:solidFill>
                  <a:srgbClr val="C00000"/>
                </a:solidFill>
                <a:latin typeface="Segoe UI Light"/>
                <a:cs typeface="+mn-cs"/>
              </a:rPr>
              <a:t>Row </a:t>
            </a:r>
            <a:r>
              <a:rPr lang="en-US" sz="2000" dirty="0" smtClean="0">
                <a:solidFill>
                  <a:srgbClr val="C00000"/>
                </a:solidFill>
                <a:latin typeface="Segoe UI Light"/>
                <a:cs typeface="+mn-cs"/>
              </a:rPr>
              <a:t>Level Security</a:t>
            </a:r>
            <a:endParaRPr lang="en-US" sz="2000" dirty="0">
              <a:solidFill>
                <a:srgbClr val="C00000"/>
              </a:solidFill>
              <a:latin typeface="Segoe UI Light"/>
              <a:cs typeface="+mn-cs"/>
            </a:endParaRPr>
          </a:p>
          <a:p>
            <a:pPr defTabSz="932472" fontAlgn="auto">
              <a:lnSpc>
                <a:spcPct val="90000"/>
              </a:lnSpc>
              <a:spcBef>
                <a:spcPts val="0"/>
              </a:spcBef>
              <a:spcAft>
                <a:spcPts val="2400"/>
              </a:spcAft>
            </a:pPr>
            <a:r>
              <a:rPr lang="en-US" sz="2000" dirty="0">
                <a:solidFill>
                  <a:srgbClr val="C00000"/>
                </a:solidFill>
                <a:latin typeface="Segoe UI Light"/>
                <a:cs typeface="+mn-cs"/>
              </a:rPr>
              <a:t>Dynamic Data </a:t>
            </a:r>
            <a:r>
              <a:rPr lang="en-US" sz="2000" dirty="0" smtClean="0">
                <a:solidFill>
                  <a:srgbClr val="C00000"/>
                </a:solidFill>
                <a:latin typeface="Segoe UI Light"/>
                <a:cs typeface="+mn-cs"/>
              </a:rPr>
              <a:t/>
            </a:r>
            <a:br>
              <a:rPr lang="en-US" sz="2000" dirty="0" smtClean="0">
                <a:solidFill>
                  <a:srgbClr val="C00000"/>
                </a:solidFill>
                <a:latin typeface="Segoe UI Light"/>
                <a:cs typeface="+mn-cs"/>
              </a:rPr>
            </a:br>
            <a:r>
              <a:rPr lang="en-US" sz="2000" dirty="0" smtClean="0">
                <a:solidFill>
                  <a:srgbClr val="C00000"/>
                </a:solidFill>
                <a:latin typeface="Segoe UI Light"/>
                <a:cs typeface="+mn-cs"/>
              </a:rPr>
              <a:t>Masking</a:t>
            </a:r>
            <a:endParaRPr lang="en-US" sz="2000" dirty="0">
              <a:solidFill>
                <a:srgbClr val="C00000"/>
              </a:solidFill>
              <a:latin typeface="Segoe UI Light"/>
              <a:cs typeface="+mn-cs"/>
            </a:endParaRPr>
          </a:p>
        </p:txBody>
      </p:sp>
      <p:sp>
        <p:nvSpPr>
          <p:cNvPr id="9" name="Rectangle 8"/>
          <p:cNvSpPr/>
          <p:nvPr/>
        </p:nvSpPr>
        <p:spPr>
          <a:xfrm>
            <a:off x="6407788" y="1596143"/>
            <a:ext cx="2282997" cy="584775"/>
          </a:xfrm>
          <a:prstGeom prst="rect">
            <a:avLst/>
          </a:prstGeom>
        </p:spPr>
        <p:txBody>
          <a:bodyPr wrap="none">
            <a:spAutoFit/>
          </a:bodyPr>
          <a:lstStyle/>
          <a:p>
            <a:pPr algn="ctr" defTabSz="932563" fontAlgn="auto">
              <a:spcBef>
                <a:spcPts val="0"/>
              </a:spcBef>
              <a:spcAft>
                <a:spcPts val="0"/>
              </a:spcAft>
            </a:pPr>
            <a:r>
              <a:rPr lang="en-US" sz="3200" dirty="0" err="1" smtClean="0">
                <a:solidFill>
                  <a:srgbClr val="FFFFFF"/>
                </a:solidFill>
                <a:latin typeface="Segoe UI Light"/>
                <a:cs typeface="+mn-cs"/>
              </a:rPr>
              <a:t>Disponibilité</a:t>
            </a:r>
            <a:endParaRPr lang="en-US" sz="3200" dirty="0">
              <a:solidFill>
                <a:srgbClr val="FFFFFF"/>
              </a:solidFill>
              <a:latin typeface="Segoe UI Light"/>
              <a:cs typeface="+mn-cs"/>
            </a:endParaRPr>
          </a:p>
        </p:txBody>
      </p:sp>
      <p:sp>
        <p:nvSpPr>
          <p:cNvPr id="18" name="Rectangle 17"/>
          <p:cNvSpPr/>
          <p:nvPr/>
        </p:nvSpPr>
        <p:spPr>
          <a:xfrm>
            <a:off x="6557057" y="2594640"/>
            <a:ext cx="2360961" cy="2973122"/>
          </a:xfrm>
          <a:prstGeom prst="rect">
            <a:avLst/>
          </a:prstGeom>
        </p:spPr>
        <p:txBody>
          <a:bodyPr wrap="square">
            <a:spAutoFit/>
          </a:bodyPr>
          <a:lstStyle/>
          <a:p>
            <a:pPr defTabSz="932472" fontAlgn="auto">
              <a:lnSpc>
                <a:spcPct val="90000"/>
              </a:lnSpc>
              <a:spcBef>
                <a:spcPts val="0"/>
              </a:spcBef>
              <a:spcAft>
                <a:spcPts val="1200"/>
              </a:spcAft>
            </a:pPr>
            <a:r>
              <a:rPr lang="en-US" sz="2000" dirty="0">
                <a:solidFill>
                  <a:srgbClr val="C00000"/>
                </a:solidFill>
                <a:latin typeface="Segoe UI Light"/>
                <a:cs typeface="+mn-cs"/>
              </a:rPr>
              <a:t>Enhanced AlwaysOn</a:t>
            </a:r>
          </a:p>
          <a:p>
            <a:pPr marL="173038" lvl="1" indent="-173038" defTabSz="932472" fontAlgn="auto">
              <a:lnSpc>
                <a:spcPct val="90000"/>
              </a:lnSpc>
              <a:spcBef>
                <a:spcPts val="0"/>
              </a:spcBef>
              <a:spcAft>
                <a:spcPts val="600"/>
              </a:spcAft>
              <a:buClr>
                <a:srgbClr val="C00000"/>
              </a:buClr>
              <a:buFont typeface="Arial" panose="020B0604020202020204" pitchFamily="34" charset="0"/>
              <a:buChar char="•"/>
            </a:pPr>
            <a:r>
              <a:rPr lang="en-US" sz="1400" spc="-102" dirty="0">
                <a:ln w="3175">
                  <a:noFill/>
                </a:ln>
                <a:solidFill>
                  <a:srgbClr val="611C15"/>
                </a:solidFill>
                <a:latin typeface="Segoe UI"/>
                <a:ea typeface="ＭＳ Ｐゴシック" charset="0"/>
                <a:cs typeface="Segoe UI" panose="020B0502040204020203" pitchFamily="34" charset="0"/>
              </a:rPr>
              <a:t>3 synchronous replicas for </a:t>
            </a:r>
            <a:r>
              <a:rPr lang="en-US" sz="1400" spc="-102" dirty="0" smtClean="0">
                <a:ln w="3175">
                  <a:noFill/>
                </a:ln>
                <a:solidFill>
                  <a:srgbClr val="611C15"/>
                </a:solidFill>
                <a:latin typeface="Segoe UI"/>
                <a:ea typeface="ＭＳ Ｐゴシック" charset="0"/>
                <a:cs typeface="Segoe UI" panose="020B0502040204020203" pitchFamily="34" charset="0"/>
              </a:rPr>
              <a:t/>
            </a:r>
            <a:br>
              <a:rPr lang="en-US" sz="1400" spc="-102" dirty="0" smtClean="0">
                <a:ln w="3175">
                  <a:noFill/>
                </a:ln>
                <a:solidFill>
                  <a:srgbClr val="611C15"/>
                </a:solidFill>
                <a:latin typeface="Segoe UI"/>
                <a:ea typeface="ＭＳ Ｐゴシック" charset="0"/>
                <a:cs typeface="Segoe UI" panose="020B0502040204020203" pitchFamily="34" charset="0"/>
              </a:rPr>
            </a:br>
            <a:r>
              <a:rPr lang="en-US" sz="1400" spc="-102" dirty="0" smtClean="0">
                <a:ln w="3175">
                  <a:noFill/>
                </a:ln>
                <a:solidFill>
                  <a:srgbClr val="611C15"/>
                </a:solidFill>
                <a:latin typeface="Segoe UI"/>
                <a:ea typeface="ＭＳ Ｐゴシック" charset="0"/>
                <a:cs typeface="Segoe UI" panose="020B0502040204020203" pitchFamily="34" charset="0"/>
              </a:rPr>
              <a:t>auto </a:t>
            </a:r>
            <a:r>
              <a:rPr lang="en-US" sz="1400" spc="-102" dirty="0">
                <a:ln w="3175">
                  <a:noFill/>
                </a:ln>
                <a:solidFill>
                  <a:srgbClr val="611C15"/>
                </a:solidFill>
                <a:latin typeface="Segoe UI"/>
                <a:ea typeface="ＭＳ Ｐゴシック" charset="0"/>
                <a:cs typeface="Segoe UI" panose="020B0502040204020203" pitchFamily="34" charset="0"/>
              </a:rPr>
              <a:t>failover across domains</a:t>
            </a:r>
          </a:p>
          <a:p>
            <a:pPr marL="173038" lvl="1" indent="-173038" defTabSz="932472" fontAlgn="auto">
              <a:lnSpc>
                <a:spcPct val="90000"/>
              </a:lnSpc>
              <a:spcBef>
                <a:spcPts val="0"/>
              </a:spcBef>
              <a:spcAft>
                <a:spcPts val="600"/>
              </a:spcAft>
              <a:buClr>
                <a:srgbClr val="C00000"/>
              </a:buClr>
              <a:buFont typeface="Arial" panose="020B0604020202020204" pitchFamily="34" charset="0"/>
              <a:buChar char="•"/>
            </a:pPr>
            <a:r>
              <a:rPr lang="en-US" sz="1400" spc="-102" dirty="0">
                <a:ln w="3175">
                  <a:noFill/>
                </a:ln>
                <a:solidFill>
                  <a:srgbClr val="611C15"/>
                </a:solidFill>
                <a:latin typeface="Segoe UI"/>
                <a:ea typeface="ＭＳ Ｐゴシック" charset="0"/>
                <a:cs typeface="Segoe UI" panose="020B0502040204020203" pitchFamily="34" charset="0"/>
              </a:rPr>
              <a:t>Round robin load balancing </a:t>
            </a:r>
            <a:r>
              <a:rPr lang="en-US" sz="1400" spc="-102" dirty="0" smtClean="0">
                <a:ln w="3175">
                  <a:noFill/>
                </a:ln>
                <a:solidFill>
                  <a:srgbClr val="611C15"/>
                </a:solidFill>
                <a:latin typeface="Segoe UI"/>
                <a:ea typeface="ＭＳ Ｐゴシック" charset="0"/>
                <a:cs typeface="Segoe UI" panose="020B0502040204020203" pitchFamily="34" charset="0"/>
              </a:rPr>
              <a:t/>
            </a:r>
            <a:br>
              <a:rPr lang="en-US" sz="1400" spc="-102" dirty="0" smtClean="0">
                <a:ln w="3175">
                  <a:noFill/>
                </a:ln>
                <a:solidFill>
                  <a:srgbClr val="611C15"/>
                </a:solidFill>
                <a:latin typeface="Segoe UI"/>
                <a:ea typeface="ＭＳ Ｐゴシック" charset="0"/>
                <a:cs typeface="Segoe UI" panose="020B0502040204020203" pitchFamily="34" charset="0"/>
              </a:rPr>
            </a:br>
            <a:r>
              <a:rPr lang="en-US" sz="1400" spc="-102" dirty="0" smtClean="0">
                <a:ln w="3175">
                  <a:noFill/>
                </a:ln>
                <a:solidFill>
                  <a:srgbClr val="611C15"/>
                </a:solidFill>
                <a:latin typeface="Segoe UI"/>
                <a:ea typeface="ＭＳ Ｐゴシック" charset="0"/>
                <a:cs typeface="Segoe UI" panose="020B0502040204020203" pitchFamily="34" charset="0"/>
              </a:rPr>
              <a:t>of </a:t>
            </a:r>
            <a:r>
              <a:rPr lang="en-US" sz="1400" spc="-102" dirty="0">
                <a:ln w="3175">
                  <a:noFill/>
                </a:ln>
                <a:solidFill>
                  <a:srgbClr val="611C15"/>
                </a:solidFill>
                <a:latin typeface="Segoe UI"/>
                <a:ea typeface="ＭＳ Ｐゴシック" charset="0"/>
                <a:cs typeface="Segoe UI" panose="020B0502040204020203" pitchFamily="34" charset="0"/>
              </a:rPr>
              <a:t>replicas </a:t>
            </a:r>
          </a:p>
          <a:p>
            <a:pPr marL="173038" lvl="1" indent="-173038" defTabSz="932472" fontAlgn="auto">
              <a:lnSpc>
                <a:spcPct val="90000"/>
              </a:lnSpc>
              <a:spcBef>
                <a:spcPts val="0"/>
              </a:spcBef>
              <a:spcAft>
                <a:spcPts val="600"/>
              </a:spcAft>
              <a:buClr>
                <a:srgbClr val="C00000"/>
              </a:buClr>
              <a:buFont typeface="Arial" panose="020B0604020202020204" pitchFamily="34" charset="0"/>
              <a:buChar char="•"/>
            </a:pPr>
            <a:r>
              <a:rPr lang="en-US" sz="1400" spc="-102" dirty="0">
                <a:ln w="3175">
                  <a:noFill/>
                </a:ln>
                <a:solidFill>
                  <a:srgbClr val="611C15"/>
                </a:solidFill>
                <a:latin typeface="Segoe UI"/>
                <a:ea typeface="ＭＳ Ｐゴシック" charset="0"/>
                <a:cs typeface="Segoe UI" panose="020B0502040204020203" pitchFamily="34" charset="0"/>
              </a:rPr>
              <a:t>DTC for transactional integrity </a:t>
            </a:r>
            <a:r>
              <a:rPr lang="en-US" sz="1400" spc="-102" dirty="0" smtClean="0">
                <a:ln w="3175">
                  <a:noFill/>
                </a:ln>
                <a:solidFill>
                  <a:srgbClr val="611C15"/>
                </a:solidFill>
                <a:latin typeface="Segoe UI"/>
                <a:ea typeface="ＭＳ Ｐゴシック" charset="0"/>
                <a:cs typeface="Segoe UI" panose="020B0502040204020203" pitchFamily="34" charset="0"/>
              </a:rPr>
              <a:t/>
            </a:r>
            <a:br>
              <a:rPr lang="en-US" sz="1400" spc="-102" dirty="0" smtClean="0">
                <a:ln w="3175">
                  <a:noFill/>
                </a:ln>
                <a:solidFill>
                  <a:srgbClr val="611C15"/>
                </a:solidFill>
                <a:latin typeface="Segoe UI"/>
                <a:ea typeface="ＭＳ Ｐゴシック" charset="0"/>
                <a:cs typeface="Segoe UI" panose="020B0502040204020203" pitchFamily="34" charset="0"/>
              </a:rPr>
            </a:br>
            <a:r>
              <a:rPr lang="en-US" sz="1400" spc="-102" dirty="0" smtClean="0">
                <a:ln w="3175">
                  <a:noFill/>
                </a:ln>
                <a:solidFill>
                  <a:srgbClr val="611C15"/>
                </a:solidFill>
                <a:latin typeface="Segoe UI"/>
                <a:ea typeface="ＭＳ Ｐゴシック" charset="0"/>
                <a:cs typeface="Segoe UI" panose="020B0502040204020203" pitchFamily="34" charset="0"/>
              </a:rPr>
              <a:t>across </a:t>
            </a:r>
            <a:r>
              <a:rPr lang="en-US" sz="1400" spc="-102" dirty="0">
                <a:ln w="3175">
                  <a:noFill/>
                </a:ln>
                <a:solidFill>
                  <a:srgbClr val="611C15"/>
                </a:solidFill>
                <a:latin typeface="Segoe UI"/>
                <a:ea typeface="ＭＳ Ｐゴシック" charset="0"/>
                <a:cs typeface="Segoe UI" panose="020B0502040204020203" pitchFamily="34" charset="0"/>
              </a:rPr>
              <a:t>database instances </a:t>
            </a:r>
            <a:r>
              <a:rPr lang="en-US" sz="1400" spc="-102" dirty="0" smtClean="0">
                <a:ln w="3175">
                  <a:noFill/>
                </a:ln>
                <a:solidFill>
                  <a:srgbClr val="611C15"/>
                </a:solidFill>
                <a:latin typeface="Segoe UI"/>
                <a:ea typeface="ＭＳ Ｐゴシック" charset="0"/>
                <a:cs typeface="Segoe UI" panose="020B0502040204020203" pitchFamily="34" charset="0"/>
              </a:rPr>
              <a:t/>
            </a:r>
            <a:br>
              <a:rPr lang="en-US" sz="1400" spc="-102" dirty="0" smtClean="0">
                <a:ln w="3175">
                  <a:noFill/>
                </a:ln>
                <a:solidFill>
                  <a:srgbClr val="611C15"/>
                </a:solidFill>
                <a:latin typeface="Segoe UI"/>
                <a:ea typeface="ＭＳ Ｐゴシック" charset="0"/>
                <a:cs typeface="Segoe UI" panose="020B0502040204020203" pitchFamily="34" charset="0"/>
              </a:rPr>
            </a:br>
            <a:r>
              <a:rPr lang="en-US" sz="1400" spc="-102" dirty="0" smtClean="0">
                <a:ln w="3175">
                  <a:noFill/>
                </a:ln>
                <a:solidFill>
                  <a:srgbClr val="611C15"/>
                </a:solidFill>
                <a:latin typeface="Segoe UI"/>
                <a:ea typeface="ＭＳ Ｐゴシック" charset="0"/>
                <a:cs typeface="Segoe UI" panose="020B0502040204020203" pitchFamily="34" charset="0"/>
              </a:rPr>
              <a:t>with </a:t>
            </a:r>
            <a:r>
              <a:rPr lang="en-US" sz="1400" spc="-102" dirty="0">
                <a:ln w="3175">
                  <a:noFill/>
                </a:ln>
                <a:solidFill>
                  <a:srgbClr val="611C15"/>
                </a:solidFill>
                <a:latin typeface="Segoe UI"/>
                <a:ea typeface="ＭＳ Ｐゴシック" charset="0"/>
                <a:cs typeface="Segoe UI" panose="020B0502040204020203" pitchFamily="34" charset="0"/>
              </a:rPr>
              <a:t>AlwaysOn</a:t>
            </a:r>
          </a:p>
          <a:p>
            <a:pPr marL="0" lvl="1" indent="0" defTabSz="932472" fontAlgn="auto">
              <a:lnSpc>
                <a:spcPct val="90000"/>
              </a:lnSpc>
              <a:spcBef>
                <a:spcPts val="2400"/>
              </a:spcBef>
              <a:spcAft>
                <a:spcPts val="1200"/>
              </a:spcAft>
            </a:pPr>
            <a:r>
              <a:rPr lang="en-US" sz="2000" dirty="0">
                <a:solidFill>
                  <a:srgbClr val="C00000"/>
                </a:solidFill>
                <a:latin typeface="Segoe UI Light"/>
                <a:cs typeface="+mn-cs"/>
              </a:rPr>
              <a:t>Enhanced online operations </a:t>
            </a:r>
          </a:p>
        </p:txBody>
      </p:sp>
      <p:sp>
        <p:nvSpPr>
          <p:cNvPr id="11" name="Rectangle 10"/>
          <p:cNvSpPr/>
          <p:nvPr/>
        </p:nvSpPr>
        <p:spPr>
          <a:xfrm>
            <a:off x="9545108" y="1596143"/>
            <a:ext cx="1875835" cy="584775"/>
          </a:xfrm>
          <a:prstGeom prst="rect">
            <a:avLst/>
          </a:prstGeom>
        </p:spPr>
        <p:txBody>
          <a:bodyPr wrap="none">
            <a:spAutoFit/>
          </a:bodyPr>
          <a:lstStyle/>
          <a:p>
            <a:pPr algn="ctr" defTabSz="932563" fontAlgn="auto">
              <a:spcBef>
                <a:spcPts val="0"/>
              </a:spcBef>
              <a:spcAft>
                <a:spcPts val="0"/>
              </a:spcAft>
            </a:pPr>
            <a:r>
              <a:rPr lang="en-US" sz="3200" dirty="0" err="1" smtClean="0">
                <a:solidFill>
                  <a:srgbClr val="FFFFFF"/>
                </a:solidFill>
                <a:latin typeface="Segoe UI Light"/>
                <a:cs typeface="+mn-cs"/>
              </a:rPr>
              <a:t>Scalabilité</a:t>
            </a:r>
            <a:endParaRPr lang="en-US" sz="3200" dirty="0">
              <a:solidFill>
                <a:srgbClr val="FFFFFF"/>
              </a:solidFill>
              <a:latin typeface="Segoe UI Light"/>
              <a:cs typeface="+mn-cs"/>
            </a:endParaRPr>
          </a:p>
        </p:txBody>
      </p:sp>
      <p:sp>
        <p:nvSpPr>
          <p:cNvPr id="20" name="Rectangle 19"/>
          <p:cNvSpPr/>
          <p:nvPr/>
        </p:nvSpPr>
        <p:spPr>
          <a:xfrm>
            <a:off x="9555528" y="2594640"/>
            <a:ext cx="2533517" cy="2209836"/>
          </a:xfrm>
          <a:prstGeom prst="rect">
            <a:avLst/>
          </a:prstGeom>
        </p:spPr>
        <p:txBody>
          <a:bodyPr wrap="square">
            <a:spAutoFit/>
          </a:bodyPr>
          <a:lstStyle/>
          <a:p>
            <a:pPr defTabSz="932472" fontAlgn="auto">
              <a:lnSpc>
                <a:spcPct val="90000"/>
              </a:lnSpc>
              <a:spcBef>
                <a:spcPts val="0"/>
              </a:spcBef>
              <a:spcAft>
                <a:spcPts val="2400"/>
              </a:spcAft>
            </a:pPr>
            <a:r>
              <a:rPr lang="en-US" sz="2000" dirty="0">
                <a:solidFill>
                  <a:srgbClr val="C00000"/>
                </a:solidFill>
                <a:latin typeface="Segoe UI Light"/>
                <a:cs typeface="+mn-cs"/>
              </a:rPr>
              <a:t>Enhanced database caching </a:t>
            </a:r>
          </a:p>
          <a:p>
            <a:pPr defTabSz="932472" fontAlgn="auto">
              <a:lnSpc>
                <a:spcPct val="90000"/>
              </a:lnSpc>
              <a:spcBef>
                <a:spcPts val="0"/>
              </a:spcBef>
              <a:spcAft>
                <a:spcPts val="1200"/>
              </a:spcAft>
            </a:pPr>
            <a:r>
              <a:rPr lang="en-US" sz="2000" dirty="0">
                <a:solidFill>
                  <a:srgbClr val="C00000"/>
                </a:solidFill>
                <a:latin typeface="Segoe UI Light"/>
                <a:cs typeface="+mn-cs"/>
              </a:rPr>
              <a:t>Support </a:t>
            </a:r>
            <a:r>
              <a:rPr lang="en-US" sz="2000" dirty="0" smtClean="0">
                <a:solidFill>
                  <a:srgbClr val="C00000"/>
                </a:solidFill>
                <a:latin typeface="Segoe UI Light"/>
                <a:cs typeface="+mn-cs"/>
              </a:rPr>
              <a:t>for Windows </a:t>
            </a:r>
            <a:r>
              <a:rPr lang="en-US" sz="2000" dirty="0">
                <a:solidFill>
                  <a:srgbClr val="C00000"/>
                </a:solidFill>
                <a:latin typeface="Segoe UI Light"/>
                <a:cs typeface="+mn-cs"/>
              </a:rPr>
              <a:t>Server </a:t>
            </a:r>
            <a:r>
              <a:rPr lang="en-US" sz="2000" dirty="0" smtClean="0">
                <a:solidFill>
                  <a:srgbClr val="C00000"/>
                </a:solidFill>
                <a:latin typeface="Segoe UI Light"/>
                <a:cs typeface="+mn-cs"/>
              </a:rPr>
              <a:t>2016</a:t>
            </a:r>
          </a:p>
          <a:p>
            <a:pPr marL="173038" lvl="1" indent="-173038" defTabSz="932472" fontAlgn="auto">
              <a:lnSpc>
                <a:spcPct val="90000"/>
              </a:lnSpc>
              <a:spcBef>
                <a:spcPts val="0"/>
              </a:spcBef>
              <a:spcAft>
                <a:spcPts val="600"/>
              </a:spcAft>
              <a:buClr>
                <a:srgbClr val="C00000"/>
              </a:buClr>
              <a:buFont typeface="Arial" panose="020B0604020202020204" pitchFamily="34" charset="0"/>
              <a:buChar char="•"/>
            </a:pPr>
            <a:r>
              <a:rPr lang="en-US" sz="1400" spc="-102" dirty="0" smtClean="0">
                <a:ln w="3175">
                  <a:noFill/>
                </a:ln>
                <a:solidFill>
                  <a:srgbClr val="611C15"/>
                </a:solidFill>
                <a:latin typeface="Segoe UI"/>
                <a:ea typeface="ＭＳ Ｐゴシック" charset="0"/>
                <a:cs typeface="Segoe UI" panose="020B0502040204020203" pitchFamily="34" charset="0"/>
              </a:rPr>
              <a:t>12 TB memory support </a:t>
            </a:r>
            <a:endParaRPr lang="en-US" sz="1400" spc="-102" dirty="0">
              <a:ln w="3175">
                <a:noFill/>
              </a:ln>
              <a:solidFill>
                <a:srgbClr val="611C15"/>
              </a:solidFill>
              <a:latin typeface="Segoe UI"/>
              <a:ea typeface="ＭＳ Ｐゴシック" charset="0"/>
              <a:cs typeface="Segoe UI" panose="020B0502040204020203" pitchFamily="34" charset="0"/>
            </a:endParaRPr>
          </a:p>
          <a:p>
            <a:pPr defTabSz="932472" fontAlgn="auto">
              <a:lnSpc>
                <a:spcPct val="90000"/>
              </a:lnSpc>
              <a:spcBef>
                <a:spcPts val="0"/>
              </a:spcBef>
              <a:spcAft>
                <a:spcPts val="2400"/>
              </a:spcAft>
            </a:pPr>
            <a:endParaRPr lang="en-US" sz="2000" dirty="0">
              <a:solidFill>
                <a:srgbClr val="C00000"/>
              </a:solidFill>
              <a:latin typeface="Segoe UI Light"/>
              <a:cs typeface="+mn-cs"/>
            </a:endParaRPr>
          </a:p>
        </p:txBody>
      </p:sp>
      <p:cxnSp>
        <p:nvCxnSpPr>
          <p:cNvPr id="22" name="Straight Connector 21"/>
          <p:cNvCxnSpPr/>
          <p:nvPr/>
        </p:nvCxnSpPr>
        <p:spPr>
          <a:xfrm>
            <a:off x="274639" y="2275451"/>
            <a:ext cx="11814406" cy="0"/>
          </a:xfrm>
          <a:prstGeom prst="line">
            <a:avLst/>
          </a:prstGeom>
          <a:ln>
            <a:solidFill>
              <a:schemeClr val="bg1">
                <a:lumMod val="5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rot="5400000">
            <a:off x="1438980" y="4326525"/>
            <a:ext cx="4114800" cy="0"/>
          </a:xfrm>
          <a:prstGeom prst="line">
            <a:avLst/>
          </a:prstGeom>
          <a:ln>
            <a:solidFill>
              <a:schemeClr val="bg1">
                <a:lumMod val="5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rot="5400000">
            <a:off x="4181426" y="4326525"/>
            <a:ext cx="4114800" cy="0"/>
          </a:xfrm>
          <a:prstGeom prst="line">
            <a:avLst/>
          </a:prstGeom>
          <a:ln>
            <a:solidFill>
              <a:schemeClr val="bg1">
                <a:lumMod val="5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rot="5400000">
            <a:off x="7179372" y="4326525"/>
            <a:ext cx="4114800" cy="0"/>
          </a:xfrm>
          <a:prstGeom prst="line">
            <a:avLst/>
          </a:prstGeom>
          <a:ln>
            <a:solidFill>
              <a:schemeClr val="bg1">
                <a:lumMod val="5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3496380" y="1540599"/>
            <a:ext cx="0" cy="731520"/>
          </a:xfrm>
          <a:prstGeom prst="line">
            <a:avLst/>
          </a:prstGeom>
          <a:ln>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6238826" y="1540599"/>
            <a:ext cx="0" cy="731520"/>
          </a:xfrm>
          <a:prstGeom prst="line">
            <a:avLst/>
          </a:prstGeom>
          <a:ln>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9236772" y="1540599"/>
            <a:ext cx="0" cy="731520"/>
          </a:xfrm>
          <a:prstGeom prst="line">
            <a:avLst/>
          </a:prstGeom>
          <a:ln>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46341782"/>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p:cNvGrpSpPr/>
          <p:nvPr/>
        </p:nvGrpSpPr>
        <p:grpSpPr>
          <a:xfrm>
            <a:off x="4197176" y="2126070"/>
            <a:ext cx="3657600" cy="3657599"/>
            <a:chOff x="4197176" y="2126070"/>
            <a:chExt cx="3657600" cy="3657599"/>
          </a:xfrm>
        </p:grpSpPr>
        <p:sp>
          <p:nvSpPr>
            <p:cNvPr id="36" name="TextBox 35"/>
            <p:cNvSpPr txBox="1"/>
            <p:nvPr/>
          </p:nvSpPr>
          <p:spPr>
            <a:xfrm>
              <a:off x="4197176" y="2126070"/>
              <a:ext cx="3657600" cy="3657599"/>
            </a:xfrm>
            <a:prstGeom prst="rect">
              <a:avLst/>
            </a:prstGeom>
            <a:solidFill>
              <a:schemeClr val="accent5"/>
            </a:solidFill>
          </p:spPr>
          <p:txBody>
            <a:bodyPr wrap="square" lIns="182880" tIns="146304" rIns="182880" bIns="146304" rtlCol="0">
              <a:noAutofit/>
            </a:bodyPr>
            <a:lstStyle/>
            <a:p>
              <a:pPr defTabSz="932688">
                <a:lnSpc>
                  <a:spcPct val="90000"/>
                </a:lnSpc>
              </a:pPr>
              <a:r>
                <a:rPr lang="en-US" sz="4000" spc="-30" dirty="0" err="1" smtClean="0">
                  <a:gradFill>
                    <a:gsLst>
                      <a:gs pos="77483">
                        <a:srgbClr val="FFFFFF"/>
                      </a:gs>
                      <a:gs pos="62252">
                        <a:srgbClr val="FFFFFF"/>
                      </a:gs>
                    </a:gsLst>
                    <a:lin ang="5400000" scaled="0"/>
                  </a:gradFill>
                  <a:latin typeface="Segoe UI Light"/>
                </a:rPr>
                <a:t>Analyse</a:t>
              </a:r>
              <a:r>
                <a:rPr lang="en-US" sz="4000" spc="-30" dirty="0" smtClean="0">
                  <a:gradFill>
                    <a:gsLst>
                      <a:gs pos="77483">
                        <a:srgbClr val="FFFFFF"/>
                      </a:gs>
                      <a:gs pos="62252">
                        <a:srgbClr val="FFFFFF"/>
                      </a:gs>
                    </a:gsLst>
                    <a:lin ang="5400000" scaled="0"/>
                  </a:gradFill>
                  <a:latin typeface="Segoe UI Light"/>
                </a:rPr>
                <a:t> des </a:t>
              </a:r>
              <a:r>
                <a:rPr lang="en-US" sz="4000" spc="-30" dirty="0" err="1" smtClean="0">
                  <a:gradFill>
                    <a:gsLst>
                      <a:gs pos="77483">
                        <a:srgbClr val="FFFFFF"/>
                      </a:gs>
                      <a:gs pos="62252">
                        <a:srgbClr val="FFFFFF"/>
                      </a:gs>
                    </a:gsLst>
                    <a:lin ang="5400000" scaled="0"/>
                  </a:gradFill>
                  <a:latin typeface="Segoe UI Light"/>
                </a:rPr>
                <a:t>données</a:t>
              </a:r>
              <a:endParaRPr lang="en-US" sz="2800" b="1" spc="-30" dirty="0">
                <a:gradFill>
                  <a:gsLst>
                    <a:gs pos="2917">
                      <a:srgbClr val="FFFFFF"/>
                    </a:gs>
                    <a:gs pos="100000">
                      <a:srgbClr val="FFFFFF"/>
                    </a:gs>
                  </a:gsLst>
                  <a:lin ang="5400000" scaled="0"/>
                </a:gradFill>
                <a:latin typeface="Segoe UI Light"/>
              </a:endParaRPr>
            </a:p>
          </p:txBody>
        </p:sp>
        <p:grpSp>
          <p:nvGrpSpPr>
            <p:cNvPr id="148" name="Group 147"/>
            <p:cNvGrpSpPr/>
            <p:nvPr/>
          </p:nvGrpSpPr>
          <p:grpSpPr>
            <a:xfrm>
              <a:off x="5252628" y="3882326"/>
              <a:ext cx="1620171" cy="1620172"/>
              <a:chOff x="11092177" y="4747627"/>
              <a:chExt cx="540526" cy="540526"/>
            </a:xfrm>
          </p:grpSpPr>
          <p:sp>
            <p:nvSpPr>
              <p:cNvPr id="149" name="Freeform 186"/>
              <p:cNvSpPr>
                <a:spLocks/>
              </p:cNvSpPr>
              <p:nvPr/>
            </p:nvSpPr>
            <p:spPr bwMode="auto">
              <a:xfrm>
                <a:off x="11092177" y="4747627"/>
                <a:ext cx="540526" cy="540526"/>
              </a:xfrm>
              <a:prstGeom prst="ellipse">
                <a:avLst/>
              </a:prstGeom>
              <a:solidFill>
                <a:schemeClr val="bg1">
                  <a:alpha val="28000"/>
                </a:schemeClr>
              </a:solidFill>
              <a:ln>
                <a:noFill/>
              </a:ln>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150" name="Freeform 187"/>
              <p:cNvSpPr>
                <a:spLocks noEditPoints="1"/>
              </p:cNvSpPr>
              <p:nvPr/>
            </p:nvSpPr>
            <p:spPr bwMode="auto">
              <a:xfrm>
                <a:off x="11185499" y="4841873"/>
                <a:ext cx="352959" cy="352035"/>
              </a:xfrm>
              <a:prstGeom prst="ellipse">
                <a:avLst/>
              </a:prstGeom>
              <a:solidFill>
                <a:schemeClr val="bg1">
                  <a:alpha val="51000"/>
                </a:schemeClr>
              </a:solidFill>
              <a:ln>
                <a:noFill/>
              </a:ln>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grpSp>
            <p:nvGrpSpPr>
              <p:cNvPr id="151" name="Group 150"/>
              <p:cNvGrpSpPr/>
              <p:nvPr/>
            </p:nvGrpSpPr>
            <p:grpSpPr>
              <a:xfrm>
                <a:off x="11258851" y="4915585"/>
                <a:ext cx="207178" cy="289828"/>
                <a:chOff x="-2260600" y="4106863"/>
                <a:chExt cx="298450" cy="417513"/>
              </a:xfrm>
            </p:grpSpPr>
            <p:sp>
              <p:nvSpPr>
                <p:cNvPr id="152" name="Freeform 188"/>
                <p:cNvSpPr>
                  <a:spLocks/>
                </p:cNvSpPr>
                <p:nvPr/>
              </p:nvSpPr>
              <p:spPr bwMode="auto">
                <a:xfrm>
                  <a:off x="-2260600" y="4106863"/>
                  <a:ext cx="298450" cy="376238"/>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153" name="Freeform 192"/>
                <p:cNvSpPr>
                  <a:spLocks noEditPoints="1"/>
                </p:cNvSpPr>
                <p:nvPr/>
              </p:nvSpPr>
              <p:spPr bwMode="auto">
                <a:xfrm>
                  <a:off x="-2260600" y="4254501"/>
                  <a:ext cx="230188" cy="198438"/>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EA8C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154" name="Rectangle 194"/>
                <p:cNvSpPr>
                  <a:spLocks noChangeArrowheads="1"/>
                </p:cNvSpPr>
                <p:nvPr/>
              </p:nvSpPr>
              <p:spPr bwMode="auto">
                <a:xfrm>
                  <a:off x="-2168525" y="4452938"/>
                  <a:ext cx="114300" cy="71438"/>
                </a:xfrm>
                <a:prstGeom prst="rect">
                  <a:avLst/>
                </a:prstGeom>
                <a:solidFill>
                  <a:schemeClr val="bg2">
                    <a:lumMod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156" name="Freeform 193"/>
                <p:cNvSpPr>
                  <a:spLocks/>
                </p:cNvSpPr>
                <p:nvPr/>
              </p:nvSpPr>
              <p:spPr bwMode="auto">
                <a:xfrm>
                  <a:off x="-2260600" y="4179888"/>
                  <a:ext cx="230188" cy="276225"/>
                </a:xfrm>
                <a:custGeom>
                  <a:avLst/>
                  <a:gdLst>
                    <a:gd name="T0" fmla="*/ 28 w 308"/>
                    <a:gd name="T1" fmla="*/ 0 h 370"/>
                    <a:gd name="T2" fmla="*/ 0 w 308"/>
                    <a:gd name="T3" fmla="*/ 100 h 370"/>
                    <a:gd name="T4" fmla="*/ 0 w 308"/>
                    <a:gd name="T5" fmla="*/ 100 h 370"/>
                    <a:gd name="T6" fmla="*/ 0 w 308"/>
                    <a:gd name="T7" fmla="*/ 100 h 370"/>
                    <a:gd name="T8" fmla="*/ 0 w 308"/>
                    <a:gd name="T9" fmla="*/ 100 h 370"/>
                    <a:gd name="T10" fmla="*/ 0 w 308"/>
                    <a:gd name="T11" fmla="*/ 100 h 370"/>
                    <a:gd name="T12" fmla="*/ 0 w 308"/>
                    <a:gd name="T13" fmla="*/ 100 h 370"/>
                    <a:gd name="T14" fmla="*/ 0 w 308"/>
                    <a:gd name="T15" fmla="*/ 101 h 370"/>
                    <a:gd name="T16" fmla="*/ 0 w 308"/>
                    <a:gd name="T17" fmla="*/ 101 h 370"/>
                    <a:gd name="T18" fmla="*/ 60 w 308"/>
                    <a:gd name="T19" fmla="*/ 243 h 370"/>
                    <a:gd name="T20" fmla="*/ 60 w 308"/>
                    <a:gd name="T21" fmla="*/ 243 h 370"/>
                    <a:gd name="T22" fmla="*/ 60 w 308"/>
                    <a:gd name="T23" fmla="*/ 243 h 370"/>
                    <a:gd name="T24" fmla="*/ 60 w 308"/>
                    <a:gd name="T25" fmla="*/ 243 h 370"/>
                    <a:gd name="T26" fmla="*/ 122 w 308"/>
                    <a:gd name="T27" fmla="*/ 370 h 370"/>
                    <a:gd name="T28" fmla="*/ 276 w 308"/>
                    <a:gd name="T29" fmla="*/ 367 h 370"/>
                    <a:gd name="T30" fmla="*/ 276 w 308"/>
                    <a:gd name="T31" fmla="*/ 367 h 370"/>
                    <a:gd name="T32" fmla="*/ 276 w 308"/>
                    <a:gd name="T33" fmla="*/ 367 h 370"/>
                    <a:gd name="T34" fmla="*/ 276 w 308"/>
                    <a:gd name="T35" fmla="*/ 361 h 370"/>
                    <a:gd name="T36" fmla="*/ 308 w 308"/>
                    <a:gd name="T37" fmla="*/ 280 h 370"/>
                    <a:gd name="T38" fmla="*/ 28 w 308"/>
                    <a:gd name="T39"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70">
                      <a:moveTo>
                        <a:pt x="28" y="0"/>
                      </a:moveTo>
                      <a:cubicBezTo>
                        <a:pt x="10" y="29"/>
                        <a:pt x="0" y="63"/>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1"/>
                        <a:pt x="0" y="101"/>
                        <a:pt x="0" y="101"/>
                      </a:cubicBezTo>
                      <a:cubicBezTo>
                        <a:pt x="0" y="101"/>
                        <a:pt x="0" y="101"/>
                        <a:pt x="0" y="101"/>
                      </a:cubicBezTo>
                      <a:cubicBezTo>
                        <a:pt x="0" y="157"/>
                        <a:pt x="23" y="207"/>
                        <a:pt x="60" y="243"/>
                      </a:cubicBezTo>
                      <a:cubicBezTo>
                        <a:pt x="60" y="243"/>
                        <a:pt x="60" y="243"/>
                        <a:pt x="60" y="243"/>
                      </a:cubicBezTo>
                      <a:cubicBezTo>
                        <a:pt x="60" y="243"/>
                        <a:pt x="60" y="243"/>
                        <a:pt x="60" y="243"/>
                      </a:cubicBezTo>
                      <a:cubicBezTo>
                        <a:pt x="60" y="243"/>
                        <a:pt x="60" y="243"/>
                        <a:pt x="60" y="243"/>
                      </a:cubicBezTo>
                      <a:cubicBezTo>
                        <a:pt x="120" y="304"/>
                        <a:pt x="122" y="370"/>
                        <a:pt x="122" y="370"/>
                      </a:cubicBezTo>
                      <a:cubicBezTo>
                        <a:pt x="276" y="367"/>
                        <a:pt x="276" y="367"/>
                        <a:pt x="276" y="367"/>
                      </a:cubicBezTo>
                      <a:cubicBezTo>
                        <a:pt x="276" y="367"/>
                        <a:pt x="276" y="367"/>
                        <a:pt x="276" y="367"/>
                      </a:cubicBezTo>
                      <a:cubicBezTo>
                        <a:pt x="276" y="367"/>
                        <a:pt x="276" y="367"/>
                        <a:pt x="276" y="367"/>
                      </a:cubicBezTo>
                      <a:cubicBezTo>
                        <a:pt x="276" y="366"/>
                        <a:pt x="276" y="364"/>
                        <a:pt x="276" y="361"/>
                      </a:cubicBezTo>
                      <a:cubicBezTo>
                        <a:pt x="279" y="346"/>
                        <a:pt x="286" y="314"/>
                        <a:pt x="308" y="280"/>
                      </a:cubicBezTo>
                      <a:cubicBezTo>
                        <a:pt x="28" y="0"/>
                        <a:pt x="28" y="0"/>
                        <a:pt x="28" y="0"/>
                      </a:cubicBezTo>
                    </a:path>
                  </a:pathLst>
                </a:custGeom>
                <a:solidFill>
                  <a:srgbClr val="F2F2F2">
                    <a:alpha val="49000"/>
                  </a:srgbClr>
                </a:solidFill>
                <a:ln>
                  <a:noFill/>
                </a:ln>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grpSp>
        </p:grpSp>
      </p:grpSp>
      <p:grpSp>
        <p:nvGrpSpPr>
          <p:cNvPr id="2" name="Group 1"/>
          <p:cNvGrpSpPr/>
          <p:nvPr/>
        </p:nvGrpSpPr>
        <p:grpSpPr>
          <a:xfrm>
            <a:off x="464626" y="2126070"/>
            <a:ext cx="3657600" cy="3657600"/>
            <a:chOff x="464626" y="2126070"/>
            <a:chExt cx="3657600" cy="3657600"/>
          </a:xfrm>
        </p:grpSpPr>
        <p:sp>
          <p:nvSpPr>
            <p:cNvPr id="19" name="TextBox 18"/>
            <p:cNvSpPr txBox="1"/>
            <p:nvPr/>
          </p:nvSpPr>
          <p:spPr>
            <a:xfrm>
              <a:off x="464626" y="2126070"/>
              <a:ext cx="3657600" cy="3657600"/>
            </a:xfrm>
            <a:prstGeom prst="rect">
              <a:avLst/>
            </a:prstGeom>
            <a:solidFill>
              <a:srgbClr val="C00000"/>
            </a:solidFill>
          </p:spPr>
          <p:txBody>
            <a:bodyPr wrap="square" lIns="182880" tIns="146304" rIns="182880" bIns="146304" rtlCol="0">
              <a:noAutofit/>
            </a:bodyPr>
            <a:lstStyle>
              <a:defPPr>
                <a:defRPr lang="en-US"/>
              </a:defPPr>
              <a:lvl1pPr defTabSz="932688">
                <a:lnSpc>
                  <a:spcPct val="90000"/>
                </a:lnSpc>
                <a:defRPr sz="4000" spc="-30">
                  <a:gradFill>
                    <a:gsLst>
                      <a:gs pos="77483">
                        <a:srgbClr val="FFFFFF"/>
                      </a:gs>
                      <a:gs pos="62252">
                        <a:srgbClr val="FFFFFF"/>
                      </a:gs>
                    </a:gsLst>
                    <a:lin ang="5400000" scaled="0"/>
                  </a:gradFill>
                  <a:latin typeface="Segoe UI Light"/>
                </a:defRPr>
              </a:lvl1pPr>
            </a:lstStyle>
            <a:p>
              <a:pPr defTabSz="932133"/>
              <a:r>
                <a:rPr lang="en-US" dirty="0" smtClean="0">
                  <a:ln>
                    <a:solidFill>
                      <a:srgbClr val="FFFFFF">
                        <a:alpha val="0"/>
                      </a:srgbClr>
                    </a:solidFill>
                  </a:ln>
                  <a:gradFill>
                    <a:gsLst>
                      <a:gs pos="0">
                        <a:srgbClr val="FFFFFF"/>
                      </a:gs>
                      <a:gs pos="100000">
                        <a:srgbClr val="FFFFFF"/>
                      </a:gs>
                    </a:gsLst>
                    <a:lin ang="5400000" scaled="0"/>
                  </a:gradFill>
                  <a:ea typeface="Segoe UI" pitchFamily="34" charset="0"/>
                  <a:cs typeface="Segoe UI" pitchFamily="34" charset="0"/>
                </a:rPr>
                <a:t>Performance critique</a:t>
              </a:r>
              <a:endParaRPr lang="en-US" dirty="0">
                <a:ln>
                  <a:solidFill>
                    <a:srgbClr val="FFFFFF">
                      <a:alpha val="0"/>
                    </a:srgbClr>
                  </a:solidFill>
                </a:ln>
                <a:gradFill>
                  <a:gsLst>
                    <a:gs pos="0">
                      <a:srgbClr val="FFFFFF"/>
                    </a:gs>
                    <a:gs pos="100000">
                      <a:srgbClr val="FFFFFF"/>
                    </a:gs>
                  </a:gsLst>
                  <a:lin ang="5400000" scaled="0"/>
                </a:gradFill>
                <a:ea typeface="Segoe UI" pitchFamily="34" charset="0"/>
                <a:cs typeface="Segoe UI" pitchFamily="34" charset="0"/>
              </a:endParaRPr>
            </a:p>
          </p:txBody>
        </p:sp>
        <p:grpSp>
          <p:nvGrpSpPr>
            <p:cNvPr id="113" name="Group 112"/>
            <p:cNvGrpSpPr/>
            <p:nvPr/>
          </p:nvGrpSpPr>
          <p:grpSpPr>
            <a:xfrm>
              <a:off x="1586195" y="3983494"/>
              <a:ext cx="1414462" cy="1414463"/>
              <a:chOff x="1428494" y="3983494"/>
              <a:chExt cx="1414462" cy="1414463"/>
            </a:xfrm>
          </p:grpSpPr>
          <p:sp>
            <p:nvSpPr>
              <p:cNvPr id="109" name="Donut 108"/>
              <p:cNvSpPr/>
              <p:nvPr/>
            </p:nvSpPr>
            <p:spPr bwMode="auto">
              <a:xfrm>
                <a:off x="1428494" y="3983494"/>
                <a:ext cx="1414462" cy="1414462"/>
              </a:xfrm>
              <a:prstGeom prst="donut">
                <a:avLst>
                  <a:gd name="adj" fmla="val 7423"/>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a:lnSpc>
                    <a:spcPct val="90000"/>
                  </a:lnSpc>
                  <a:buFont typeface="Wingdings 3" panose="05040102010807070707" pitchFamily="18" charset="2"/>
                  <a:buChar char="Æ"/>
                </a:pPr>
                <a:endParaRPr lang="en-IN" sz="2000" b="1" dirty="0" err="1" smtClean="0">
                  <a:solidFill>
                    <a:srgbClr val="FFFFFF"/>
                  </a:solidFill>
                  <a:latin typeface="Segoe UI Light"/>
                  <a:ea typeface="Segoe UI" pitchFamily="34" charset="0"/>
                  <a:cs typeface="Segoe UI" pitchFamily="34" charset="0"/>
                </a:endParaRPr>
              </a:p>
            </p:txBody>
          </p:sp>
          <p:grpSp>
            <p:nvGrpSpPr>
              <p:cNvPr id="111" name="Group 110"/>
              <p:cNvGrpSpPr/>
              <p:nvPr/>
            </p:nvGrpSpPr>
            <p:grpSpPr>
              <a:xfrm>
                <a:off x="1621657" y="4173291"/>
                <a:ext cx="1006705" cy="796614"/>
                <a:chOff x="1621657" y="4173291"/>
                <a:chExt cx="1006705" cy="796614"/>
              </a:xfrm>
            </p:grpSpPr>
            <p:sp>
              <p:nvSpPr>
                <p:cNvPr id="99" name="Freeform 5"/>
                <p:cNvSpPr>
                  <a:spLocks/>
                </p:cNvSpPr>
                <p:nvPr/>
              </p:nvSpPr>
              <p:spPr bwMode="auto">
                <a:xfrm rot="18900000">
                  <a:off x="1864473" y="4183165"/>
                  <a:ext cx="300038" cy="280988"/>
                </a:xfrm>
                <a:custGeom>
                  <a:avLst/>
                  <a:gdLst>
                    <a:gd name="T0" fmla="*/ 53 w 53"/>
                    <a:gd name="T1" fmla="*/ 22 h 49"/>
                    <a:gd name="T2" fmla="*/ 2 w 53"/>
                    <a:gd name="T3" fmla="*/ 0 h 49"/>
                    <a:gd name="T4" fmla="*/ 0 w 53"/>
                    <a:gd name="T5" fmla="*/ 37 h 49"/>
                    <a:gd name="T6" fmla="*/ 28 w 53"/>
                    <a:gd name="T7" fmla="*/ 49 h 49"/>
                    <a:gd name="T8" fmla="*/ 53 w 53"/>
                    <a:gd name="T9" fmla="*/ 22 h 49"/>
                  </a:gdLst>
                  <a:ahLst/>
                  <a:cxnLst>
                    <a:cxn ang="0">
                      <a:pos x="T0" y="T1"/>
                    </a:cxn>
                    <a:cxn ang="0">
                      <a:pos x="T2" y="T3"/>
                    </a:cxn>
                    <a:cxn ang="0">
                      <a:pos x="T4" y="T5"/>
                    </a:cxn>
                    <a:cxn ang="0">
                      <a:pos x="T6" y="T7"/>
                    </a:cxn>
                    <a:cxn ang="0">
                      <a:pos x="T8" y="T9"/>
                    </a:cxn>
                  </a:cxnLst>
                  <a:rect l="0" t="0" r="r" b="b"/>
                  <a:pathLst>
                    <a:path w="53" h="49">
                      <a:moveTo>
                        <a:pt x="53" y="22"/>
                      </a:moveTo>
                      <a:cubicBezTo>
                        <a:pt x="39" y="9"/>
                        <a:pt x="21" y="2"/>
                        <a:pt x="2" y="0"/>
                      </a:cubicBezTo>
                      <a:cubicBezTo>
                        <a:pt x="0" y="37"/>
                        <a:pt x="0" y="37"/>
                        <a:pt x="0" y="37"/>
                      </a:cubicBezTo>
                      <a:cubicBezTo>
                        <a:pt x="10" y="38"/>
                        <a:pt x="20" y="42"/>
                        <a:pt x="28" y="49"/>
                      </a:cubicBezTo>
                      <a:lnTo>
                        <a:pt x="53" y="22"/>
                      </a:lnTo>
                      <a:close/>
                    </a:path>
                  </a:pathLst>
                </a:custGeom>
                <a:solidFill>
                  <a:schemeClr val="accent1">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100" name="Freeform 6"/>
                <p:cNvSpPr>
                  <a:spLocks/>
                </p:cNvSpPr>
                <p:nvPr/>
              </p:nvSpPr>
              <p:spPr bwMode="auto">
                <a:xfrm rot="18900000">
                  <a:off x="2124042" y="4173291"/>
                  <a:ext cx="280988" cy="302420"/>
                </a:xfrm>
                <a:custGeom>
                  <a:avLst/>
                  <a:gdLst>
                    <a:gd name="T0" fmla="*/ 12 w 49"/>
                    <a:gd name="T1" fmla="*/ 53 h 53"/>
                    <a:gd name="T2" fmla="*/ 49 w 49"/>
                    <a:gd name="T3" fmla="*/ 51 h 53"/>
                    <a:gd name="T4" fmla="*/ 27 w 49"/>
                    <a:gd name="T5" fmla="*/ 0 h 53"/>
                    <a:gd name="T6" fmla="*/ 0 w 49"/>
                    <a:gd name="T7" fmla="*/ 24 h 53"/>
                    <a:gd name="T8" fmla="*/ 12 w 49"/>
                    <a:gd name="T9" fmla="*/ 53 h 53"/>
                  </a:gdLst>
                  <a:ahLst/>
                  <a:cxnLst>
                    <a:cxn ang="0">
                      <a:pos x="T0" y="T1"/>
                    </a:cxn>
                    <a:cxn ang="0">
                      <a:pos x="T2" y="T3"/>
                    </a:cxn>
                    <a:cxn ang="0">
                      <a:pos x="T4" y="T5"/>
                    </a:cxn>
                    <a:cxn ang="0">
                      <a:pos x="T6" y="T7"/>
                    </a:cxn>
                    <a:cxn ang="0">
                      <a:pos x="T8" y="T9"/>
                    </a:cxn>
                  </a:cxnLst>
                  <a:rect l="0" t="0" r="r" b="b"/>
                  <a:pathLst>
                    <a:path w="49" h="53">
                      <a:moveTo>
                        <a:pt x="12" y="53"/>
                      </a:moveTo>
                      <a:cubicBezTo>
                        <a:pt x="49" y="51"/>
                        <a:pt x="49" y="51"/>
                        <a:pt x="49" y="51"/>
                      </a:cubicBezTo>
                      <a:cubicBezTo>
                        <a:pt x="47" y="32"/>
                        <a:pt x="40" y="14"/>
                        <a:pt x="27" y="0"/>
                      </a:cubicBezTo>
                      <a:cubicBezTo>
                        <a:pt x="0" y="24"/>
                        <a:pt x="0" y="24"/>
                        <a:pt x="0" y="24"/>
                      </a:cubicBezTo>
                      <a:cubicBezTo>
                        <a:pt x="7" y="32"/>
                        <a:pt x="11" y="43"/>
                        <a:pt x="12" y="53"/>
                      </a:cubicBez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grpSp>
              <p:nvGrpSpPr>
                <p:cNvPr id="110" name="Group 109"/>
                <p:cNvGrpSpPr/>
                <p:nvPr/>
              </p:nvGrpSpPr>
              <p:grpSpPr>
                <a:xfrm>
                  <a:off x="1621657" y="4397457"/>
                  <a:ext cx="1006705" cy="572448"/>
                  <a:chOff x="1621657" y="4397457"/>
                  <a:chExt cx="1006705" cy="572448"/>
                </a:xfrm>
              </p:grpSpPr>
              <p:sp>
                <p:nvSpPr>
                  <p:cNvPr id="101" name="Freeform 7"/>
                  <p:cNvSpPr>
                    <a:spLocks/>
                  </p:cNvSpPr>
                  <p:nvPr/>
                </p:nvSpPr>
                <p:spPr bwMode="auto">
                  <a:xfrm rot="18900000">
                    <a:off x="1621657" y="4424790"/>
                    <a:ext cx="302420" cy="280988"/>
                  </a:xfrm>
                  <a:custGeom>
                    <a:avLst/>
                    <a:gdLst>
                      <a:gd name="T0" fmla="*/ 53 w 53"/>
                      <a:gd name="T1" fmla="*/ 37 h 49"/>
                      <a:gd name="T2" fmla="*/ 51 w 53"/>
                      <a:gd name="T3" fmla="*/ 0 h 49"/>
                      <a:gd name="T4" fmla="*/ 0 w 53"/>
                      <a:gd name="T5" fmla="*/ 21 h 49"/>
                      <a:gd name="T6" fmla="*/ 24 w 53"/>
                      <a:gd name="T7" fmla="*/ 49 h 49"/>
                      <a:gd name="T8" fmla="*/ 53 w 53"/>
                      <a:gd name="T9" fmla="*/ 37 h 49"/>
                    </a:gdLst>
                    <a:ahLst/>
                    <a:cxnLst>
                      <a:cxn ang="0">
                        <a:pos x="T0" y="T1"/>
                      </a:cxn>
                      <a:cxn ang="0">
                        <a:pos x="T2" y="T3"/>
                      </a:cxn>
                      <a:cxn ang="0">
                        <a:pos x="T4" y="T5"/>
                      </a:cxn>
                      <a:cxn ang="0">
                        <a:pos x="T6" y="T7"/>
                      </a:cxn>
                      <a:cxn ang="0">
                        <a:pos x="T8" y="T9"/>
                      </a:cxn>
                    </a:cxnLst>
                    <a:rect l="0" t="0" r="r" b="b"/>
                    <a:pathLst>
                      <a:path w="53" h="49">
                        <a:moveTo>
                          <a:pt x="53" y="37"/>
                        </a:moveTo>
                        <a:cubicBezTo>
                          <a:pt x="51" y="0"/>
                          <a:pt x="51" y="0"/>
                          <a:pt x="51" y="0"/>
                        </a:cubicBezTo>
                        <a:cubicBezTo>
                          <a:pt x="32" y="1"/>
                          <a:pt x="14" y="9"/>
                          <a:pt x="0" y="21"/>
                        </a:cubicBezTo>
                        <a:cubicBezTo>
                          <a:pt x="24" y="49"/>
                          <a:pt x="24" y="49"/>
                          <a:pt x="24" y="49"/>
                        </a:cubicBezTo>
                        <a:cubicBezTo>
                          <a:pt x="32" y="42"/>
                          <a:pt x="43" y="38"/>
                          <a:pt x="53" y="37"/>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102" name="Freeform 8"/>
                  <p:cNvSpPr>
                    <a:spLocks/>
                  </p:cNvSpPr>
                  <p:nvPr/>
                </p:nvSpPr>
                <p:spPr bwMode="auto">
                  <a:xfrm rot="18900000">
                    <a:off x="1637773" y="4667485"/>
                    <a:ext cx="278607" cy="302420"/>
                  </a:xfrm>
                  <a:custGeom>
                    <a:avLst/>
                    <a:gdLst>
                      <a:gd name="T0" fmla="*/ 48 w 49"/>
                      <a:gd name="T1" fmla="*/ 23 h 53"/>
                      <a:gd name="T2" fmla="*/ 21 w 49"/>
                      <a:gd name="T3" fmla="*/ 0 h 53"/>
                      <a:gd name="T4" fmla="*/ 0 w 49"/>
                      <a:gd name="T5" fmla="*/ 51 h 53"/>
                      <a:gd name="T6" fmla="*/ 37 w 49"/>
                      <a:gd name="T7" fmla="*/ 53 h 53"/>
                      <a:gd name="T8" fmla="*/ 49 w 49"/>
                      <a:gd name="T9" fmla="*/ 24 h 53"/>
                      <a:gd name="T10" fmla="*/ 48 w 49"/>
                      <a:gd name="T11" fmla="*/ 23 h 53"/>
                    </a:gdLst>
                    <a:ahLst/>
                    <a:cxnLst>
                      <a:cxn ang="0">
                        <a:pos x="T0" y="T1"/>
                      </a:cxn>
                      <a:cxn ang="0">
                        <a:pos x="T2" y="T3"/>
                      </a:cxn>
                      <a:cxn ang="0">
                        <a:pos x="T4" y="T5"/>
                      </a:cxn>
                      <a:cxn ang="0">
                        <a:pos x="T6" y="T7"/>
                      </a:cxn>
                      <a:cxn ang="0">
                        <a:pos x="T8" y="T9"/>
                      </a:cxn>
                      <a:cxn ang="0">
                        <a:pos x="T10" y="T11"/>
                      </a:cxn>
                    </a:cxnLst>
                    <a:rect l="0" t="0" r="r" b="b"/>
                    <a:pathLst>
                      <a:path w="49" h="53">
                        <a:moveTo>
                          <a:pt x="48" y="23"/>
                        </a:moveTo>
                        <a:cubicBezTo>
                          <a:pt x="21" y="0"/>
                          <a:pt x="21" y="0"/>
                          <a:pt x="21" y="0"/>
                        </a:cubicBezTo>
                        <a:cubicBezTo>
                          <a:pt x="8" y="14"/>
                          <a:pt x="1" y="32"/>
                          <a:pt x="0" y="51"/>
                        </a:cubicBezTo>
                        <a:cubicBezTo>
                          <a:pt x="37" y="53"/>
                          <a:pt x="37" y="53"/>
                          <a:pt x="37" y="53"/>
                        </a:cubicBezTo>
                        <a:cubicBezTo>
                          <a:pt x="38" y="42"/>
                          <a:pt x="42" y="32"/>
                          <a:pt x="49" y="24"/>
                        </a:cubicBezTo>
                        <a:cubicBezTo>
                          <a:pt x="48" y="23"/>
                          <a:pt x="48" y="23"/>
                          <a:pt x="48" y="2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132" name="Freeform 131"/>
                  <p:cNvSpPr>
                    <a:spLocks/>
                  </p:cNvSpPr>
                  <p:nvPr/>
                </p:nvSpPr>
                <p:spPr bwMode="auto">
                  <a:xfrm rot="18900000">
                    <a:off x="2155256" y="4397457"/>
                    <a:ext cx="473106" cy="380327"/>
                  </a:xfrm>
                  <a:custGeom>
                    <a:avLst/>
                    <a:gdLst>
                      <a:gd name="connsiteX0" fmla="*/ 42335 w 473106"/>
                      <a:gd name="connsiteY0" fmla="*/ 21859 h 380327"/>
                      <a:gd name="connsiteX1" fmla="*/ 61057 w 473106"/>
                      <a:gd name="connsiteY1" fmla="*/ 49049 h 380327"/>
                      <a:gd name="connsiteX2" fmla="*/ 64322 w 473106"/>
                      <a:gd name="connsiteY2" fmla="*/ 64322 h 380327"/>
                      <a:gd name="connsiteX3" fmla="*/ 0 w 473106"/>
                      <a:gd name="connsiteY3" fmla="*/ 0 h 380327"/>
                      <a:gd name="connsiteX4" fmla="*/ 15056 w 473106"/>
                      <a:gd name="connsiteY4" fmla="*/ 3198 h 380327"/>
                      <a:gd name="connsiteX5" fmla="*/ 42335 w 473106"/>
                      <a:gd name="connsiteY5" fmla="*/ 21859 h 380327"/>
                      <a:gd name="connsiteX6" fmla="*/ 473106 w 473106"/>
                      <a:gd name="connsiteY6" fmla="*/ 104320 h 380327"/>
                      <a:gd name="connsiteX7" fmla="*/ 376111 w 473106"/>
                      <a:gd name="connsiteY7" fmla="*/ 371609 h 380327"/>
                      <a:gd name="connsiteX8" fmla="*/ 380327 w 473106"/>
                      <a:gd name="connsiteY8" fmla="*/ 380327 h 380327"/>
                      <a:gd name="connsiteX9" fmla="*/ 222557 w 473106"/>
                      <a:gd name="connsiteY9" fmla="*/ 222557 h 380327"/>
                      <a:gd name="connsiteX10" fmla="*/ 248449 w 473106"/>
                      <a:gd name="connsiteY10" fmla="*/ 160479 h 380327"/>
                      <a:gd name="connsiteX11" fmla="*/ 262000 w 473106"/>
                      <a:gd name="connsiteY11" fmla="*/ 92946 h 380327"/>
                      <a:gd name="connsiteX12" fmla="*/ 473106 w 473106"/>
                      <a:gd name="connsiteY12" fmla="*/ 104320 h 380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3106" h="380327">
                        <a:moveTo>
                          <a:pt x="42335" y="21859"/>
                        </a:moveTo>
                        <a:cubicBezTo>
                          <a:pt x="50181" y="29678"/>
                          <a:pt x="56599" y="38919"/>
                          <a:pt x="61057" y="49049"/>
                        </a:cubicBezTo>
                        <a:lnTo>
                          <a:pt x="64322" y="64322"/>
                        </a:lnTo>
                        <a:lnTo>
                          <a:pt x="0" y="0"/>
                        </a:lnTo>
                        <a:lnTo>
                          <a:pt x="15056" y="3198"/>
                        </a:lnTo>
                        <a:cubicBezTo>
                          <a:pt x="25218" y="7641"/>
                          <a:pt x="34490" y="14039"/>
                          <a:pt x="42335" y="21859"/>
                        </a:cubicBezTo>
                        <a:close/>
                        <a:moveTo>
                          <a:pt x="473106" y="104320"/>
                        </a:moveTo>
                        <a:cubicBezTo>
                          <a:pt x="467401" y="200999"/>
                          <a:pt x="433167" y="297678"/>
                          <a:pt x="376111" y="371609"/>
                        </a:cubicBezTo>
                        <a:lnTo>
                          <a:pt x="380327" y="380327"/>
                        </a:lnTo>
                        <a:lnTo>
                          <a:pt x="222557" y="222557"/>
                        </a:lnTo>
                        <a:lnTo>
                          <a:pt x="248449" y="160479"/>
                        </a:lnTo>
                        <a:cubicBezTo>
                          <a:pt x="254868" y="138442"/>
                          <a:pt x="259147" y="115694"/>
                          <a:pt x="262000" y="92946"/>
                        </a:cubicBezTo>
                        <a:cubicBezTo>
                          <a:pt x="262000" y="92946"/>
                          <a:pt x="262000" y="92946"/>
                          <a:pt x="473106" y="104320"/>
                        </a:cubicBezTo>
                        <a:close/>
                      </a:path>
                    </a:pathLst>
                  </a:custGeom>
                  <a:solidFill>
                    <a:srgbClr val="0088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IN">
                      <a:solidFill>
                        <a:srgbClr val="000000"/>
                      </a:solidFill>
                    </a:endParaRPr>
                  </a:p>
                </p:txBody>
              </p:sp>
              <p:sp>
                <p:nvSpPr>
                  <p:cNvPr id="131" name="Freeform 130"/>
                  <p:cNvSpPr>
                    <a:spLocks/>
                  </p:cNvSpPr>
                  <p:nvPr/>
                </p:nvSpPr>
                <p:spPr bwMode="auto">
                  <a:xfrm rot="19008074">
                    <a:off x="2111413" y="4447007"/>
                    <a:ext cx="491469" cy="477708"/>
                  </a:xfrm>
                  <a:custGeom>
                    <a:avLst/>
                    <a:gdLst>
                      <a:gd name="connsiteX0" fmla="*/ 145492 w 491469"/>
                      <a:gd name="connsiteY0" fmla="*/ 25592 h 477708"/>
                      <a:gd name="connsiteX1" fmla="*/ 171167 w 491469"/>
                      <a:gd name="connsiteY1" fmla="*/ 85305 h 477708"/>
                      <a:gd name="connsiteX2" fmla="*/ 325218 w 491469"/>
                      <a:gd name="connsiteY2" fmla="*/ 227480 h 477708"/>
                      <a:gd name="connsiteX3" fmla="*/ 325539 w 491469"/>
                      <a:gd name="connsiteY3" fmla="*/ 226709 h 477708"/>
                      <a:gd name="connsiteX4" fmla="*/ 484040 w 491469"/>
                      <a:gd name="connsiteY4" fmla="*/ 385210 h 477708"/>
                      <a:gd name="connsiteX5" fmla="*/ 488807 w 491469"/>
                      <a:gd name="connsiteY5" fmla="*/ 395069 h 477708"/>
                      <a:gd name="connsiteX6" fmla="*/ 473563 w 491469"/>
                      <a:gd name="connsiteY6" fmla="*/ 460647 h 477708"/>
                      <a:gd name="connsiteX7" fmla="*/ 387979 w 491469"/>
                      <a:gd name="connsiteY7" fmla="*/ 460647 h 477708"/>
                      <a:gd name="connsiteX8" fmla="*/ 85584 w 491469"/>
                      <a:gd name="connsiteY8" fmla="*/ 170610 h 477708"/>
                      <a:gd name="connsiteX9" fmla="*/ 0 w 491469"/>
                      <a:gd name="connsiteY9" fmla="*/ 85305 h 477708"/>
                      <a:gd name="connsiteX10" fmla="*/ 85584 w 491469"/>
                      <a:gd name="connsiteY10" fmla="*/ 0 h 477708"/>
                      <a:gd name="connsiteX11" fmla="*/ 145492 w 491469"/>
                      <a:gd name="connsiteY11" fmla="*/ 25592 h 477708"/>
                      <a:gd name="connsiteX0" fmla="*/ 145492 w 491469"/>
                      <a:gd name="connsiteY0" fmla="*/ 25592 h 477708"/>
                      <a:gd name="connsiteX1" fmla="*/ 171167 w 491469"/>
                      <a:gd name="connsiteY1" fmla="*/ 85305 h 477708"/>
                      <a:gd name="connsiteX2" fmla="*/ 325218 w 491469"/>
                      <a:gd name="connsiteY2" fmla="*/ 227480 h 477708"/>
                      <a:gd name="connsiteX3" fmla="*/ 484040 w 491469"/>
                      <a:gd name="connsiteY3" fmla="*/ 385210 h 477708"/>
                      <a:gd name="connsiteX4" fmla="*/ 488807 w 491469"/>
                      <a:gd name="connsiteY4" fmla="*/ 395069 h 477708"/>
                      <a:gd name="connsiteX5" fmla="*/ 473563 w 491469"/>
                      <a:gd name="connsiteY5" fmla="*/ 460647 h 477708"/>
                      <a:gd name="connsiteX6" fmla="*/ 387979 w 491469"/>
                      <a:gd name="connsiteY6" fmla="*/ 460647 h 477708"/>
                      <a:gd name="connsiteX7" fmla="*/ 85584 w 491469"/>
                      <a:gd name="connsiteY7" fmla="*/ 170610 h 477708"/>
                      <a:gd name="connsiteX8" fmla="*/ 0 w 491469"/>
                      <a:gd name="connsiteY8" fmla="*/ 85305 h 477708"/>
                      <a:gd name="connsiteX9" fmla="*/ 85584 w 491469"/>
                      <a:gd name="connsiteY9" fmla="*/ 0 h 477708"/>
                      <a:gd name="connsiteX10" fmla="*/ 145492 w 491469"/>
                      <a:gd name="connsiteY10" fmla="*/ 25592 h 477708"/>
                      <a:gd name="connsiteX0" fmla="*/ 145492 w 491469"/>
                      <a:gd name="connsiteY0" fmla="*/ 25592 h 477708"/>
                      <a:gd name="connsiteX1" fmla="*/ 171167 w 491469"/>
                      <a:gd name="connsiteY1" fmla="*/ 85305 h 477708"/>
                      <a:gd name="connsiteX2" fmla="*/ 484040 w 491469"/>
                      <a:gd name="connsiteY2" fmla="*/ 385210 h 477708"/>
                      <a:gd name="connsiteX3" fmla="*/ 488807 w 491469"/>
                      <a:gd name="connsiteY3" fmla="*/ 395069 h 477708"/>
                      <a:gd name="connsiteX4" fmla="*/ 473563 w 491469"/>
                      <a:gd name="connsiteY4" fmla="*/ 460647 h 477708"/>
                      <a:gd name="connsiteX5" fmla="*/ 387979 w 491469"/>
                      <a:gd name="connsiteY5" fmla="*/ 460647 h 477708"/>
                      <a:gd name="connsiteX6" fmla="*/ 85584 w 491469"/>
                      <a:gd name="connsiteY6" fmla="*/ 170610 h 477708"/>
                      <a:gd name="connsiteX7" fmla="*/ 0 w 491469"/>
                      <a:gd name="connsiteY7" fmla="*/ 85305 h 477708"/>
                      <a:gd name="connsiteX8" fmla="*/ 85584 w 491469"/>
                      <a:gd name="connsiteY8" fmla="*/ 0 h 477708"/>
                      <a:gd name="connsiteX9" fmla="*/ 145492 w 491469"/>
                      <a:gd name="connsiteY9" fmla="*/ 25592 h 477708"/>
                      <a:gd name="connsiteX0" fmla="*/ 145492 w 491469"/>
                      <a:gd name="connsiteY0" fmla="*/ 25592 h 477708"/>
                      <a:gd name="connsiteX1" fmla="*/ 171167 w 491469"/>
                      <a:gd name="connsiteY1" fmla="*/ 85305 h 477708"/>
                      <a:gd name="connsiteX2" fmla="*/ 488807 w 491469"/>
                      <a:gd name="connsiteY2" fmla="*/ 395069 h 477708"/>
                      <a:gd name="connsiteX3" fmla="*/ 473563 w 491469"/>
                      <a:gd name="connsiteY3" fmla="*/ 460647 h 477708"/>
                      <a:gd name="connsiteX4" fmla="*/ 387979 w 491469"/>
                      <a:gd name="connsiteY4" fmla="*/ 460647 h 477708"/>
                      <a:gd name="connsiteX5" fmla="*/ 85584 w 491469"/>
                      <a:gd name="connsiteY5" fmla="*/ 170610 h 477708"/>
                      <a:gd name="connsiteX6" fmla="*/ 0 w 491469"/>
                      <a:gd name="connsiteY6" fmla="*/ 85305 h 477708"/>
                      <a:gd name="connsiteX7" fmla="*/ 85584 w 491469"/>
                      <a:gd name="connsiteY7" fmla="*/ 0 h 477708"/>
                      <a:gd name="connsiteX8" fmla="*/ 145492 w 491469"/>
                      <a:gd name="connsiteY8" fmla="*/ 25592 h 477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1469" h="477708">
                        <a:moveTo>
                          <a:pt x="145492" y="25592"/>
                        </a:moveTo>
                        <a:cubicBezTo>
                          <a:pt x="161183" y="41231"/>
                          <a:pt x="171167" y="62557"/>
                          <a:pt x="171167" y="85305"/>
                        </a:cubicBezTo>
                        <a:lnTo>
                          <a:pt x="488807" y="395069"/>
                        </a:lnTo>
                        <a:cubicBezTo>
                          <a:pt x="494959" y="416928"/>
                          <a:pt x="490679" y="443586"/>
                          <a:pt x="473563" y="460647"/>
                        </a:cubicBezTo>
                        <a:cubicBezTo>
                          <a:pt x="450740" y="483395"/>
                          <a:pt x="410801" y="483395"/>
                          <a:pt x="387979" y="460647"/>
                        </a:cubicBezTo>
                        <a:lnTo>
                          <a:pt x="85584" y="170610"/>
                        </a:lnTo>
                        <a:cubicBezTo>
                          <a:pt x="39939" y="170610"/>
                          <a:pt x="0" y="136488"/>
                          <a:pt x="0" y="85305"/>
                        </a:cubicBezTo>
                        <a:cubicBezTo>
                          <a:pt x="0" y="39809"/>
                          <a:pt x="39939" y="0"/>
                          <a:pt x="85584" y="0"/>
                        </a:cubicBezTo>
                        <a:cubicBezTo>
                          <a:pt x="108406" y="0"/>
                          <a:pt x="129802" y="9952"/>
                          <a:pt x="145492" y="2559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IN">
                      <a:solidFill>
                        <a:srgbClr val="000000"/>
                      </a:solidFill>
                    </a:endParaRPr>
                  </a:p>
                </p:txBody>
              </p:sp>
            </p:grpSp>
          </p:grpSp>
          <p:sp>
            <p:nvSpPr>
              <p:cNvPr id="144" name="Freeform 143"/>
              <p:cNvSpPr/>
              <p:nvPr/>
            </p:nvSpPr>
            <p:spPr bwMode="auto">
              <a:xfrm>
                <a:off x="1791732" y="4041568"/>
                <a:ext cx="1051224" cy="1356389"/>
              </a:xfrm>
              <a:custGeom>
                <a:avLst/>
                <a:gdLst>
                  <a:gd name="connsiteX0" fmla="*/ 623876 w 1051224"/>
                  <a:gd name="connsiteY0" fmla="*/ 0 h 1356389"/>
                  <a:gd name="connsiteX1" fmla="*/ 739413 w 1051224"/>
                  <a:gd name="connsiteY1" fmla="*/ 62711 h 1356389"/>
                  <a:gd name="connsiteX2" fmla="*/ 1051224 w 1051224"/>
                  <a:gd name="connsiteY2" fmla="*/ 649158 h 1356389"/>
                  <a:gd name="connsiteX3" fmla="*/ 343993 w 1051224"/>
                  <a:gd name="connsiteY3" fmla="*/ 1356389 h 1356389"/>
                  <a:gd name="connsiteX4" fmla="*/ 68707 w 1051224"/>
                  <a:gd name="connsiteY4" fmla="*/ 1300812 h 1356389"/>
                  <a:gd name="connsiteX5" fmla="*/ 0 w 1051224"/>
                  <a:gd name="connsiteY5" fmla="*/ 1263518 h 1356389"/>
                  <a:gd name="connsiteX6" fmla="*/ 46310 w 1051224"/>
                  <a:gd name="connsiteY6" fmla="*/ 1169727 h 1356389"/>
                  <a:gd name="connsiteX7" fmla="*/ 109576 w 1051224"/>
                  <a:gd name="connsiteY7" fmla="*/ 1204067 h 1356389"/>
                  <a:gd name="connsiteX8" fmla="*/ 343993 w 1051224"/>
                  <a:gd name="connsiteY8" fmla="*/ 1251393 h 1356389"/>
                  <a:gd name="connsiteX9" fmla="*/ 946228 w 1051224"/>
                  <a:gd name="connsiteY9" fmla="*/ 649158 h 1356389"/>
                  <a:gd name="connsiteX10" fmla="*/ 578410 w 1051224"/>
                  <a:gd name="connsiteY10" fmla="*/ 94250 h 1356389"/>
                  <a:gd name="connsiteX11" fmla="*/ 577481 w 1051224"/>
                  <a:gd name="connsiteY11" fmla="*/ 93961 h 1356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51224" h="1356389">
                    <a:moveTo>
                      <a:pt x="623876" y="0"/>
                    </a:moveTo>
                    <a:lnTo>
                      <a:pt x="739413" y="62711"/>
                    </a:lnTo>
                    <a:cubicBezTo>
                      <a:pt x="927537" y="189806"/>
                      <a:pt x="1051224" y="405038"/>
                      <a:pt x="1051224" y="649158"/>
                    </a:cubicBezTo>
                    <a:cubicBezTo>
                      <a:pt x="1051224" y="1039751"/>
                      <a:pt x="734586" y="1356389"/>
                      <a:pt x="343993" y="1356389"/>
                    </a:cubicBezTo>
                    <a:cubicBezTo>
                      <a:pt x="246345" y="1356389"/>
                      <a:pt x="153319" y="1336599"/>
                      <a:pt x="68707" y="1300812"/>
                    </a:cubicBezTo>
                    <a:lnTo>
                      <a:pt x="0" y="1263518"/>
                    </a:lnTo>
                    <a:lnTo>
                      <a:pt x="46310" y="1169727"/>
                    </a:lnTo>
                    <a:lnTo>
                      <a:pt x="109576" y="1204067"/>
                    </a:lnTo>
                    <a:cubicBezTo>
                      <a:pt x="181627" y="1234541"/>
                      <a:pt x="260842" y="1251393"/>
                      <a:pt x="343993" y="1251393"/>
                    </a:cubicBezTo>
                    <a:cubicBezTo>
                      <a:pt x="676598" y="1251393"/>
                      <a:pt x="946228" y="981763"/>
                      <a:pt x="946228" y="649158"/>
                    </a:cubicBezTo>
                    <a:cubicBezTo>
                      <a:pt x="946228" y="399705"/>
                      <a:pt x="794561" y="185674"/>
                      <a:pt x="578410" y="94250"/>
                    </a:cubicBezTo>
                    <a:lnTo>
                      <a:pt x="577481" y="9396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a:lnSpc>
                    <a:spcPct val="90000"/>
                  </a:lnSpc>
                  <a:buFont typeface="Wingdings 3" panose="05040102010807070707" pitchFamily="18" charset="2"/>
                  <a:buChar char="Æ"/>
                </a:pPr>
                <a:endParaRPr lang="en-IN" sz="2000" b="1" dirty="0" err="1" smtClean="0">
                  <a:solidFill>
                    <a:srgbClr val="FFFFFF"/>
                  </a:solidFill>
                  <a:latin typeface="Segoe UI Light"/>
                  <a:ea typeface="Segoe UI" pitchFamily="34" charset="0"/>
                  <a:cs typeface="Segoe UI" pitchFamily="34" charset="0"/>
                </a:endParaRPr>
              </a:p>
            </p:txBody>
          </p:sp>
        </p:grpSp>
      </p:grpSp>
      <p:grpSp>
        <p:nvGrpSpPr>
          <p:cNvPr id="4" name="Group 3"/>
          <p:cNvGrpSpPr/>
          <p:nvPr/>
        </p:nvGrpSpPr>
        <p:grpSpPr>
          <a:xfrm>
            <a:off x="7929726" y="2126069"/>
            <a:ext cx="3657600" cy="3657600"/>
            <a:chOff x="7929726" y="2126069"/>
            <a:chExt cx="3657600" cy="3657600"/>
          </a:xfrm>
        </p:grpSpPr>
        <p:sp>
          <p:nvSpPr>
            <p:cNvPr id="25" name="TextBox 24"/>
            <p:cNvSpPr txBox="1"/>
            <p:nvPr/>
          </p:nvSpPr>
          <p:spPr>
            <a:xfrm>
              <a:off x="7929726" y="2126069"/>
              <a:ext cx="3657600" cy="3657600"/>
            </a:xfrm>
            <a:prstGeom prst="rect">
              <a:avLst/>
            </a:prstGeom>
            <a:solidFill>
              <a:schemeClr val="accent1"/>
            </a:solidFill>
          </p:spPr>
          <p:txBody>
            <a:bodyPr wrap="square" lIns="182880" tIns="146304" rIns="182880" bIns="146304" rtlCol="0">
              <a:noAutofit/>
            </a:bodyPr>
            <a:lstStyle/>
            <a:p>
              <a:pPr defTabSz="932688">
                <a:lnSpc>
                  <a:spcPct val="90000"/>
                </a:lnSpc>
              </a:pPr>
              <a:r>
                <a:rPr lang="en-US" sz="4000" spc="-30" dirty="0" err="1" smtClean="0">
                  <a:gradFill>
                    <a:gsLst>
                      <a:gs pos="77483">
                        <a:srgbClr val="FFFFFF"/>
                      </a:gs>
                      <a:gs pos="62252">
                        <a:srgbClr val="FFFFFF"/>
                      </a:gs>
                    </a:gsLst>
                    <a:lin ang="5400000" scaled="0"/>
                  </a:gradFill>
                  <a:latin typeface="Segoe UI Light"/>
                </a:rPr>
                <a:t>Scénarios</a:t>
              </a:r>
              <a:r>
                <a:rPr lang="en-US" sz="4000" spc="-30" dirty="0" smtClean="0">
                  <a:gradFill>
                    <a:gsLst>
                      <a:gs pos="77483">
                        <a:srgbClr val="FFFFFF"/>
                      </a:gs>
                      <a:gs pos="62252">
                        <a:srgbClr val="FFFFFF"/>
                      </a:gs>
                    </a:gsLst>
                    <a:lin ang="5400000" scaled="0"/>
                  </a:gradFill>
                  <a:latin typeface="Segoe UI Light"/>
                </a:rPr>
                <a:t> </a:t>
              </a:r>
              <a:r>
                <a:rPr lang="en-US" sz="4000" spc="-30" dirty="0" err="1" smtClean="0">
                  <a:gradFill>
                    <a:gsLst>
                      <a:gs pos="77483">
                        <a:srgbClr val="FFFFFF"/>
                      </a:gs>
                      <a:gs pos="62252">
                        <a:srgbClr val="FFFFFF"/>
                      </a:gs>
                    </a:gsLst>
                    <a:lin ang="5400000" scaled="0"/>
                  </a:gradFill>
                  <a:latin typeface="Segoe UI Light"/>
                </a:rPr>
                <a:t>hybrides</a:t>
              </a:r>
              <a:endParaRPr lang="en-US" sz="4000" spc="-30" dirty="0">
                <a:gradFill>
                  <a:gsLst>
                    <a:gs pos="77483">
                      <a:srgbClr val="FFFFFF"/>
                    </a:gs>
                    <a:gs pos="62252">
                      <a:srgbClr val="FFFFFF"/>
                    </a:gs>
                  </a:gsLst>
                  <a:lin ang="5400000" scaled="0"/>
                </a:gradFill>
                <a:latin typeface="Segoe UI Light"/>
              </a:endParaRPr>
            </a:p>
          </p:txBody>
        </p:sp>
        <p:grpSp>
          <p:nvGrpSpPr>
            <p:cNvPr id="3" name="Group 2"/>
            <p:cNvGrpSpPr/>
            <p:nvPr/>
          </p:nvGrpSpPr>
          <p:grpSpPr>
            <a:xfrm>
              <a:off x="8512352" y="3954868"/>
              <a:ext cx="2540882" cy="1594241"/>
              <a:chOff x="8512352" y="3954868"/>
              <a:chExt cx="2540882" cy="1594241"/>
            </a:xfrm>
          </p:grpSpPr>
          <p:sp>
            <p:nvSpPr>
              <p:cNvPr id="119" name="Freeform 118"/>
              <p:cNvSpPr/>
              <p:nvPr/>
            </p:nvSpPr>
            <p:spPr bwMode="auto">
              <a:xfrm>
                <a:off x="8512352" y="3954868"/>
                <a:ext cx="2540882" cy="1594241"/>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chemeClr val="bg1">
                  <a:alpha val="2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pPr>
                <a:endParaRPr lang="en-IN" sz="2000" b="1" dirty="0" smtClean="0">
                  <a:solidFill>
                    <a:srgbClr val="FFFFFF"/>
                  </a:solidFill>
                  <a:latin typeface="Segoe UI Light"/>
                  <a:ea typeface="Segoe UI" pitchFamily="34" charset="0"/>
                  <a:cs typeface="Segoe UI" pitchFamily="34" charset="0"/>
                </a:endParaRPr>
              </a:p>
            </p:txBody>
          </p:sp>
          <p:sp>
            <p:nvSpPr>
              <p:cNvPr id="120" name="Freeform 119"/>
              <p:cNvSpPr>
                <a:spLocks noChangeAspect="1"/>
              </p:cNvSpPr>
              <p:nvPr/>
            </p:nvSpPr>
            <p:spPr bwMode="auto">
              <a:xfrm>
                <a:off x="8887465" y="4250219"/>
                <a:ext cx="1787491" cy="1131942"/>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chemeClr val="bg1">
                  <a:alpha val="4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pPr>
                <a:endParaRPr lang="en-IN" sz="2000" b="1" dirty="0" smtClean="0">
                  <a:solidFill>
                    <a:srgbClr val="FFFFFF"/>
                  </a:solidFill>
                  <a:latin typeface="Segoe UI Light"/>
                  <a:ea typeface="Segoe UI" pitchFamily="34" charset="0"/>
                  <a:cs typeface="Segoe UI" pitchFamily="34" charset="0"/>
                </a:endParaRPr>
              </a:p>
            </p:txBody>
          </p:sp>
          <p:sp>
            <p:nvSpPr>
              <p:cNvPr id="121" name="Freeform 120"/>
              <p:cNvSpPr>
                <a:spLocks noChangeAspect="1"/>
              </p:cNvSpPr>
              <p:nvPr/>
            </p:nvSpPr>
            <p:spPr bwMode="auto">
              <a:xfrm>
                <a:off x="9217419" y="4491382"/>
                <a:ext cx="1130749" cy="716056"/>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chemeClr val="bg1">
                  <a:alpha val="3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pPr>
                <a:endParaRPr lang="en-IN" sz="2000" b="1" dirty="0" smtClean="0">
                  <a:solidFill>
                    <a:srgbClr val="FFFFFF"/>
                  </a:solidFill>
                  <a:latin typeface="Segoe UI Light"/>
                  <a:ea typeface="Segoe UI" pitchFamily="34" charset="0"/>
                  <a:cs typeface="Segoe UI" pitchFamily="34" charset="0"/>
                </a:endParaRPr>
              </a:p>
            </p:txBody>
          </p:sp>
          <p:sp>
            <p:nvSpPr>
              <p:cNvPr id="122" name="Freeform 121"/>
              <p:cNvSpPr>
                <a:spLocks noChangeAspect="1"/>
              </p:cNvSpPr>
              <p:nvPr/>
            </p:nvSpPr>
            <p:spPr bwMode="auto">
              <a:xfrm>
                <a:off x="9458905" y="4676098"/>
                <a:ext cx="647777" cy="410210"/>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chemeClr val="bg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pPr>
                <a:endParaRPr lang="en-IN" sz="2000" b="1" dirty="0" smtClean="0">
                  <a:solidFill>
                    <a:srgbClr val="FFFFFF"/>
                  </a:solidFill>
                  <a:latin typeface="Segoe UI Light"/>
                  <a:ea typeface="Segoe UI" pitchFamily="34" charset="0"/>
                  <a:cs typeface="Segoe UI" pitchFamily="34" charset="0"/>
                </a:endParaRPr>
              </a:p>
            </p:txBody>
          </p:sp>
        </p:grpSp>
      </p:grpSp>
      <p:sp>
        <p:nvSpPr>
          <p:cNvPr id="5" name="Title 4"/>
          <p:cNvSpPr>
            <a:spLocks noGrp="1"/>
          </p:cNvSpPr>
          <p:nvPr>
            <p:ph type="title"/>
          </p:nvPr>
        </p:nvSpPr>
        <p:spPr/>
        <p:txBody>
          <a:bodyPr/>
          <a:lstStyle/>
          <a:p>
            <a:r>
              <a:rPr lang="fr-FR" dirty="0"/>
              <a:t>SQL</a:t>
            </a:r>
            <a:r>
              <a:rPr lang="fr-FR"/>
              <a:t> </a:t>
            </a:r>
            <a:r>
              <a:rPr lang="fr-FR" dirty="0"/>
              <a:t>Server </a:t>
            </a:r>
            <a:r>
              <a:rPr lang="fr-FR"/>
              <a:t>2016</a:t>
            </a:r>
          </a:p>
        </p:txBody>
      </p:sp>
      <p:sp>
        <p:nvSpPr>
          <p:cNvPr id="9" name="Text Placeholder 8"/>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spTree>
    <p:extLst>
      <p:ext uri="{BB962C8B-B14F-4D97-AF65-F5344CB8AC3E}">
        <p14:creationId xmlns:p14="http://schemas.microsoft.com/office/powerpoint/2010/main" val="1227195148"/>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Rectangle 56"/>
          <p:cNvSpPr/>
          <p:nvPr/>
        </p:nvSpPr>
        <p:spPr bwMode="auto">
          <a:xfrm>
            <a:off x="405598" y="2006599"/>
            <a:ext cx="7193729" cy="434125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1954"/>
            <a:endParaRPr lang="en-US" dirty="0">
              <a:ln>
                <a:solidFill>
                  <a:srgbClr val="FFFFFF">
                    <a:alpha val="0"/>
                  </a:srgbClr>
                </a:solidFill>
              </a:ln>
              <a:solidFill>
                <a:srgbClr val="C00000"/>
              </a:solidFill>
              <a:latin typeface="Segoe UI Light"/>
              <a:ea typeface="Segoe UI" pitchFamily="34" charset="0"/>
              <a:cs typeface="Segoe UI" pitchFamily="34" charset="0"/>
            </a:endParaRPr>
          </a:p>
        </p:txBody>
      </p:sp>
      <p:graphicFrame>
        <p:nvGraphicFramePr>
          <p:cNvPr id="26" name="Object 25" hidden="1"/>
          <p:cNvGraphicFramePr>
            <a:graphicFrameLocks noChangeAspect="1"/>
          </p:cNvGraphicFramePr>
          <p:nvPr>
            <p:custDataLst>
              <p:tags r:id="rId2"/>
            </p:custDataLst>
            <p:extLst/>
          </p:nvPr>
        </p:nvGraphicFramePr>
        <p:xfrm>
          <a:off x="3353" y="2581"/>
          <a:ext cx="1587" cy="1587"/>
        </p:xfrm>
        <a:graphic>
          <a:graphicData uri="http://schemas.openxmlformats.org/presentationml/2006/ole">
            <mc:AlternateContent xmlns:mc="http://schemas.openxmlformats.org/markup-compatibility/2006">
              <mc:Choice xmlns:v="urn:schemas-microsoft-com:vml" Requires="v">
                <p:oleObj spid="_x0000_s208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3353" y="2581"/>
                        <a:ext cx="1587" cy="1587"/>
                      </a:xfrm>
                      <a:prstGeom prst="rect">
                        <a:avLst/>
                      </a:prstGeom>
                    </p:spPr>
                  </p:pic>
                </p:oleObj>
              </mc:Fallback>
            </mc:AlternateContent>
          </a:graphicData>
        </a:graphic>
      </p:graphicFrame>
      <p:sp>
        <p:nvSpPr>
          <p:cNvPr id="4" name="Title 3"/>
          <p:cNvSpPr>
            <a:spLocks noGrp="1"/>
          </p:cNvSpPr>
          <p:nvPr>
            <p:ph type="title"/>
          </p:nvPr>
        </p:nvSpPr>
        <p:spPr/>
        <p:txBody>
          <a:bodyPr/>
          <a:lstStyle/>
          <a:p>
            <a:r>
              <a:rPr lang="en-US" dirty="0" err="1" smtClean="0"/>
              <a:t>PolyBase</a:t>
            </a:r>
            <a:r>
              <a:rPr lang="en-US" dirty="0" smtClean="0"/>
              <a:t/>
            </a:r>
            <a:br>
              <a:rPr lang="en-US" dirty="0" smtClean="0"/>
            </a:br>
            <a:endParaRPr lang="en-US" sz="3598" dirty="0">
              <a:solidFill>
                <a:schemeClr val="accent5"/>
              </a:solidFill>
            </a:endParaRPr>
          </a:p>
        </p:txBody>
      </p:sp>
      <p:sp>
        <p:nvSpPr>
          <p:cNvPr id="5" name="Text Placeholder 4"/>
          <p:cNvSpPr>
            <a:spLocks noGrp="1"/>
          </p:cNvSpPr>
          <p:nvPr>
            <p:ph type="body" sz="quarter" idx="13"/>
          </p:nvPr>
        </p:nvSpPr>
        <p:spPr/>
        <p:txBody>
          <a:bodyPr/>
          <a:lstStyle/>
          <a:p>
            <a:endParaRPr lang="fr-FR"/>
          </a:p>
        </p:txBody>
      </p:sp>
      <p:sp>
        <p:nvSpPr>
          <p:cNvPr id="6" name="Text Placeholder 5"/>
          <p:cNvSpPr>
            <a:spLocks noGrp="1"/>
          </p:cNvSpPr>
          <p:nvPr>
            <p:ph type="body" sz="quarter" idx="14"/>
          </p:nvPr>
        </p:nvSpPr>
        <p:spPr/>
        <p:txBody>
          <a:bodyPr/>
          <a:lstStyle/>
          <a:p>
            <a:r>
              <a:rPr lang="fr-FR" dirty="0" smtClean="0"/>
              <a:t>Requêter des données relationnelles et non relationnelles</a:t>
            </a:r>
            <a:endParaRPr lang="fr-FR" dirty="0"/>
          </a:p>
        </p:txBody>
      </p:sp>
      <p:sp>
        <p:nvSpPr>
          <p:cNvPr id="16" name="Text Placeholder 15"/>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grpSp>
        <p:nvGrpSpPr>
          <p:cNvPr id="20" name="Group 19"/>
          <p:cNvGrpSpPr/>
          <p:nvPr/>
        </p:nvGrpSpPr>
        <p:grpSpPr>
          <a:xfrm>
            <a:off x="1437652" y="3740980"/>
            <a:ext cx="1365476" cy="845521"/>
            <a:chOff x="1218574" y="3607143"/>
            <a:chExt cx="1365671" cy="845641"/>
          </a:xfrm>
        </p:grpSpPr>
        <p:sp>
          <p:nvSpPr>
            <p:cNvPr id="8" name="TextBox 7"/>
            <p:cNvSpPr txBox="1"/>
            <p:nvPr/>
          </p:nvSpPr>
          <p:spPr>
            <a:xfrm>
              <a:off x="1218574" y="3607143"/>
              <a:ext cx="1353650" cy="845641"/>
            </a:xfrm>
            <a:prstGeom prst="rect">
              <a:avLst/>
            </a:prstGeom>
            <a:noFill/>
          </p:spPr>
          <p:txBody>
            <a:bodyPr wrap="square" lIns="91427" tIns="146262" rIns="182828" bIns="146262" rtlCol="0">
              <a:noAutofit/>
            </a:bodyPr>
            <a:lstStyle/>
            <a:p>
              <a:pPr defTabSz="931505">
                <a:lnSpc>
                  <a:spcPct val="90000"/>
                </a:lnSpc>
                <a:spcAft>
                  <a:spcPts val="600"/>
                </a:spcAft>
              </a:pPr>
              <a:r>
                <a:rPr lang="en-US" sz="1399" dirty="0">
                  <a:solidFill>
                    <a:srgbClr val="505050"/>
                  </a:solidFill>
                  <a:latin typeface="Segoe UI Semibold" panose="020B0702040204020203" pitchFamily="34" charset="0"/>
                  <a:cs typeface="Segoe UI Semibold" panose="020B0702040204020203" pitchFamily="34" charset="0"/>
                </a:rPr>
                <a:t>T-SQL query</a:t>
              </a:r>
            </a:p>
          </p:txBody>
        </p:sp>
        <p:sp>
          <p:nvSpPr>
            <p:cNvPr id="11" name="Right Arrow 10"/>
            <p:cNvSpPr/>
            <p:nvPr/>
          </p:nvSpPr>
          <p:spPr bwMode="auto">
            <a:xfrm>
              <a:off x="1303902" y="3937409"/>
              <a:ext cx="1280343" cy="182880"/>
            </a:xfrm>
            <a:prstGeom prst="rightArrow">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342768" indent="-342768" algn="ctr" defTabSz="932114">
                <a:lnSpc>
                  <a:spcPct val="90000"/>
                </a:lnSpc>
                <a:buFont typeface="Wingdings 3" panose="05040102010807070707" pitchFamily="18" charset="2"/>
                <a:buChar char="Æ"/>
              </a:pPr>
              <a:endParaRPr lang="en-US" sz="2000" b="1" dirty="0" err="1">
                <a:solidFill>
                  <a:srgbClr val="FFFFFF"/>
                </a:solidFill>
                <a:latin typeface="Segoe UI Light"/>
                <a:ea typeface="Segoe UI" pitchFamily="34" charset="0"/>
                <a:cs typeface="Segoe UI" pitchFamily="34" charset="0"/>
              </a:endParaRPr>
            </a:p>
          </p:txBody>
        </p:sp>
      </p:grpSp>
      <p:sp>
        <p:nvSpPr>
          <p:cNvPr id="7" name="Rectangle 6"/>
          <p:cNvSpPr/>
          <p:nvPr/>
        </p:nvSpPr>
        <p:spPr bwMode="auto">
          <a:xfrm>
            <a:off x="8003602" y="1931035"/>
            <a:ext cx="3848532" cy="363173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06" rIns="0" bIns="45706" numCol="1" spcCol="0" rtlCol="0" fromWordArt="0" anchor="t" anchorCtr="0" forceAA="0" compatLnSpc="1">
            <a:prstTxWarp prst="textNoShape">
              <a:avLst/>
            </a:prstTxWarp>
            <a:spAutoFit/>
          </a:bodyPr>
          <a:lstStyle/>
          <a:p>
            <a:pPr defTabSz="931776">
              <a:spcBef>
                <a:spcPts val="1198"/>
              </a:spcBef>
            </a:pPr>
            <a:r>
              <a:rPr lang="en-US" sz="2800" dirty="0" err="1">
                <a:ln>
                  <a:solidFill>
                    <a:srgbClr val="FFFFFF">
                      <a:alpha val="0"/>
                    </a:srgbClr>
                  </a:solidFill>
                </a:ln>
                <a:solidFill>
                  <a:srgbClr val="FF8C00"/>
                </a:solidFill>
                <a:latin typeface="Segoe UI Light"/>
                <a:ea typeface="Segoe UI" pitchFamily="34" charset="0"/>
                <a:cs typeface="Segoe UI" pitchFamily="34" charset="0"/>
              </a:rPr>
              <a:t>Capacités</a:t>
            </a:r>
            <a:endParaRPr lang="en-US" sz="2800" dirty="0">
              <a:ln>
                <a:solidFill>
                  <a:srgbClr val="FFFFFF">
                    <a:alpha val="0"/>
                  </a:srgbClr>
                </a:solidFill>
              </a:ln>
              <a:solidFill>
                <a:srgbClr val="FF8C00"/>
              </a:solidFill>
              <a:latin typeface="Segoe UI Light"/>
              <a:ea typeface="Segoe UI" pitchFamily="34" charset="0"/>
              <a:cs typeface="Segoe UI" pitchFamily="34" charset="0"/>
            </a:endParaRPr>
          </a:p>
          <a:p>
            <a:pPr defTabSz="931776">
              <a:spcBef>
                <a:spcPts val="600"/>
              </a:spcBef>
            </a:pPr>
            <a:r>
              <a:rPr lang="en-US" sz="1800" dirty="0" err="1">
                <a:ln>
                  <a:solidFill>
                    <a:srgbClr val="FFFFFF">
                      <a:alpha val="0"/>
                    </a:srgbClr>
                  </a:solidFill>
                </a:ln>
                <a:solidFill>
                  <a:srgbClr val="505050"/>
                </a:solidFill>
                <a:ea typeface="Segoe UI" panose="020B0502040204020203" pitchFamily="34" charset="0"/>
                <a:cs typeface="Segoe UI" panose="020B0502040204020203" pitchFamily="34" charset="0"/>
              </a:rPr>
              <a:t>Possibilité</a:t>
            </a:r>
            <a:r>
              <a:rPr lang="en-US" sz="1800" dirty="0">
                <a:ln>
                  <a:solidFill>
                    <a:srgbClr val="FFFFFF">
                      <a:alpha val="0"/>
                    </a:srgbClr>
                  </a:solidFill>
                </a:ln>
                <a:solidFill>
                  <a:srgbClr val="505050"/>
                </a:solidFill>
                <a:ea typeface="Segoe UI" panose="020B0502040204020203" pitchFamily="34" charset="0"/>
                <a:cs typeface="Segoe UI" panose="020B0502040204020203" pitchFamily="34" charset="0"/>
              </a:rPr>
              <a:t> de </a:t>
            </a:r>
            <a:r>
              <a:rPr lang="en-US" sz="1800" dirty="0" err="1">
                <a:ln>
                  <a:solidFill>
                    <a:srgbClr val="FFFFFF">
                      <a:alpha val="0"/>
                    </a:srgbClr>
                  </a:solidFill>
                </a:ln>
                <a:solidFill>
                  <a:srgbClr val="505050"/>
                </a:solidFill>
                <a:ea typeface="Segoe UI" panose="020B0502040204020203" pitchFamily="34" charset="0"/>
                <a:cs typeface="Segoe UI" panose="020B0502040204020203" pitchFamily="34" charset="0"/>
              </a:rPr>
              <a:t>requéter</a:t>
            </a:r>
            <a:r>
              <a:rPr lang="en-US" sz="1800" dirty="0">
                <a:ln>
                  <a:solidFill>
                    <a:srgbClr val="FFFFFF">
                      <a:alpha val="0"/>
                    </a:srgbClr>
                  </a:solidFill>
                </a:ln>
                <a:solidFill>
                  <a:srgbClr val="505050"/>
                </a:solidFill>
                <a:ea typeface="Segoe UI" panose="020B0502040204020203" pitchFamily="34" charset="0"/>
                <a:cs typeface="Segoe UI" panose="020B0502040204020203" pitchFamily="34" charset="0"/>
              </a:rPr>
              <a:t> via T-SQL des </a:t>
            </a:r>
            <a:r>
              <a:rPr lang="en-US" sz="1800" dirty="0" err="1">
                <a:ln>
                  <a:solidFill>
                    <a:srgbClr val="FFFFFF">
                      <a:alpha val="0"/>
                    </a:srgbClr>
                  </a:solidFill>
                </a:ln>
                <a:solidFill>
                  <a:srgbClr val="505050"/>
                </a:solidFill>
                <a:ea typeface="Segoe UI" panose="020B0502040204020203" pitchFamily="34" charset="0"/>
                <a:cs typeface="Segoe UI" panose="020B0502040204020203" pitchFamily="34" charset="0"/>
              </a:rPr>
              <a:t>données</a:t>
            </a:r>
            <a:r>
              <a:rPr lang="en-US" sz="1800" dirty="0">
                <a:ln>
                  <a:solidFill>
                    <a:srgbClr val="FFFFFF">
                      <a:alpha val="0"/>
                    </a:srgbClr>
                  </a:solidFill>
                </a:ln>
                <a:solidFill>
                  <a:srgbClr val="505050"/>
                </a:solidFill>
                <a:ea typeface="Segoe UI" panose="020B0502040204020203" pitchFamily="34" charset="0"/>
                <a:cs typeface="Segoe UI" panose="020B0502040204020203" pitchFamily="34" charset="0"/>
              </a:rPr>
              <a:t> non </a:t>
            </a:r>
            <a:r>
              <a:rPr lang="en-US" sz="1800" dirty="0" err="1">
                <a:ln>
                  <a:solidFill>
                    <a:srgbClr val="FFFFFF">
                      <a:alpha val="0"/>
                    </a:srgbClr>
                  </a:solidFill>
                </a:ln>
                <a:solidFill>
                  <a:srgbClr val="505050"/>
                </a:solidFill>
                <a:ea typeface="Segoe UI" panose="020B0502040204020203" pitchFamily="34" charset="0"/>
                <a:cs typeface="Segoe UI" panose="020B0502040204020203" pitchFamily="34" charset="0"/>
              </a:rPr>
              <a:t>relationnelles</a:t>
            </a:r>
            <a:r>
              <a:rPr lang="en-US" sz="1800" dirty="0">
                <a:ln>
                  <a:solidFill>
                    <a:srgbClr val="FFFFFF">
                      <a:alpha val="0"/>
                    </a:srgbClr>
                  </a:solidFill>
                </a:ln>
                <a:solidFill>
                  <a:srgbClr val="505050"/>
                </a:solidFill>
                <a:ea typeface="Segoe UI" panose="020B0502040204020203" pitchFamily="34" charset="0"/>
                <a:cs typeface="Segoe UI" panose="020B0502040204020203" pitchFamily="34" charset="0"/>
              </a:rPr>
              <a:t> </a:t>
            </a:r>
            <a:br>
              <a:rPr lang="en-US" sz="1800" dirty="0">
                <a:ln>
                  <a:solidFill>
                    <a:srgbClr val="FFFFFF">
                      <a:alpha val="0"/>
                    </a:srgbClr>
                  </a:solidFill>
                </a:ln>
                <a:solidFill>
                  <a:srgbClr val="505050"/>
                </a:solidFill>
                <a:ea typeface="Segoe UI" panose="020B0502040204020203" pitchFamily="34" charset="0"/>
                <a:cs typeface="Segoe UI" panose="020B0502040204020203" pitchFamily="34" charset="0"/>
              </a:rPr>
            </a:br>
            <a:r>
              <a:rPr lang="en-US" sz="1800" dirty="0">
                <a:ln>
                  <a:solidFill>
                    <a:srgbClr val="FFFFFF">
                      <a:alpha val="0"/>
                    </a:srgbClr>
                  </a:solidFill>
                </a:ln>
                <a:solidFill>
                  <a:srgbClr val="505050"/>
                </a:solidFill>
                <a:ea typeface="Segoe UI" panose="020B0502040204020203" pitchFamily="34" charset="0"/>
                <a:cs typeface="Segoe UI" panose="020B0502040204020203" pitchFamily="34" charset="0"/>
              </a:rPr>
              <a:t>SQL Server et Hadoop  </a:t>
            </a:r>
          </a:p>
          <a:p>
            <a:pPr defTabSz="931776">
              <a:spcBef>
                <a:spcPts val="1198"/>
              </a:spcBef>
            </a:pPr>
            <a:r>
              <a:rPr lang="en-US" sz="2800" dirty="0" err="1">
                <a:ln>
                  <a:solidFill>
                    <a:srgbClr val="FFFFFF">
                      <a:alpha val="0"/>
                    </a:srgbClr>
                  </a:solidFill>
                </a:ln>
                <a:solidFill>
                  <a:srgbClr val="FF8C00"/>
                </a:solidFill>
                <a:latin typeface="Segoe UI Light"/>
                <a:ea typeface="Segoe UI" pitchFamily="34" charset="0"/>
                <a:cs typeface="Segoe UI" pitchFamily="34" charset="0"/>
              </a:rPr>
              <a:t>Bénéfices</a:t>
            </a:r>
            <a:endParaRPr lang="en-US" sz="2800" dirty="0">
              <a:ln>
                <a:solidFill>
                  <a:srgbClr val="FFFFFF">
                    <a:alpha val="0"/>
                  </a:srgbClr>
                </a:solidFill>
              </a:ln>
              <a:solidFill>
                <a:srgbClr val="FF8C00"/>
              </a:solidFill>
              <a:latin typeface="Segoe UI Light"/>
              <a:ea typeface="Segoe UI" pitchFamily="34" charset="0"/>
              <a:cs typeface="Segoe UI" pitchFamily="34" charset="0"/>
            </a:endParaRPr>
          </a:p>
          <a:p>
            <a:pPr marL="403070" indent="-349116" defTabSz="931776">
              <a:spcBef>
                <a:spcPts val="600"/>
              </a:spcBef>
              <a:buClr>
                <a:srgbClr val="FF8C00"/>
              </a:buClr>
              <a:buFont typeface="Wingdings 3" panose="05040102010807070707" pitchFamily="18" charset="2"/>
              <a:buChar char="Æ"/>
            </a:pPr>
            <a:r>
              <a:rPr lang="en-US" sz="1800" dirty="0">
                <a:ln>
                  <a:solidFill>
                    <a:srgbClr val="FFFFFF">
                      <a:alpha val="0"/>
                    </a:srgbClr>
                  </a:solidFill>
                </a:ln>
                <a:solidFill>
                  <a:srgbClr val="505050"/>
                </a:solidFill>
                <a:ea typeface="Segoe UI" pitchFamily="34" charset="0"/>
                <a:cs typeface="Segoe UI" panose="020B0502040204020203" pitchFamily="34" charset="0"/>
              </a:rPr>
              <a:t>Usage </a:t>
            </a:r>
            <a:r>
              <a:rPr lang="en-US" sz="1800" dirty="0" err="1">
                <a:ln>
                  <a:solidFill>
                    <a:srgbClr val="FFFFFF">
                      <a:alpha val="0"/>
                    </a:srgbClr>
                  </a:solidFill>
                </a:ln>
                <a:solidFill>
                  <a:srgbClr val="505050"/>
                </a:solidFill>
                <a:ea typeface="Segoe UI" pitchFamily="34" charset="0"/>
                <a:cs typeface="Segoe UI" panose="020B0502040204020203" pitchFamily="34" charset="0"/>
              </a:rPr>
              <a:t>connu</a:t>
            </a:r>
            <a:r>
              <a:rPr lang="en-US" sz="1800" dirty="0">
                <a:ln>
                  <a:solidFill>
                    <a:srgbClr val="FFFFFF">
                      <a:alpha val="0"/>
                    </a:srgbClr>
                  </a:solidFill>
                </a:ln>
                <a:solidFill>
                  <a:srgbClr val="505050"/>
                </a:solidFill>
                <a:ea typeface="Segoe UI" pitchFamily="34" charset="0"/>
                <a:cs typeface="Segoe UI" panose="020B0502040204020203" pitchFamily="34" charset="0"/>
              </a:rPr>
              <a:t> de la </a:t>
            </a:r>
            <a:r>
              <a:rPr lang="en-US" sz="1800" dirty="0" err="1">
                <a:ln>
                  <a:solidFill>
                    <a:srgbClr val="FFFFFF">
                      <a:alpha val="0"/>
                    </a:srgbClr>
                  </a:solidFill>
                </a:ln>
                <a:solidFill>
                  <a:srgbClr val="505050"/>
                </a:solidFill>
                <a:ea typeface="Segoe UI" pitchFamily="34" charset="0"/>
                <a:cs typeface="Segoe UI" panose="020B0502040204020203" pitchFamily="34" charset="0"/>
              </a:rPr>
              <a:t>syntaxe</a:t>
            </a:r>
            <a:r>
              <a:rPr lang="en-US" sz="1800" dirty="0">
                <a:ln>
                  <a:solidFill>
                    <a:srgbClr val="FFFFFF">
                      <a:alpha val="0"/>
                    </a:srgbClr>
                  </a:solidFill>
                </a:ln>
                <a:solidFill>
                  <a:srgbClr val="505050"/>
                </a:solidFill>
                <a:ea typeface="Segoe UI" pitchFamily="34" charset="0"/>
                <a:cs typeface="Segoe UI" panose="020B0502040204020203" pitchFamily="34" charset="0"/>
              </a:rPr>
              <a:t> TSQL</a:t>
            </a:r>
          </a:p>
          <a:p>
            <a:pPr marL="403070" indent="-349116" defTabSz="931776">
              <a:spcBef>
                <a:spcPts val="600"/>
              </a:spcBef>
              <a:buClr>
                <a:srgbClr val="FF8C00"/>
              </a:buClr>
              <a:buFont typeface="Wingdings 3" panose="05040102010807070707" pitchFamily="18" charset="2"/>
              <a:buChar char="Æ"/>
            </a:pPr>
            <a:r>
              <a:rPr lang="en-US" sz="1800" dirty="0" err="1">
                <a:ln>
                  <a:solidFill>
                    <a:srgbClr val="FFFFFF">
                      <a:alpha val="0"/>
                    </a:srgbClr>
                  </a:solidFill>
                </a:ln>
                <a:solidFill>
                  <a:srgbClr val="505050"/>
                </a:solidFill>
                <a:ea typeface="Segoe UI" pitchFamily="34" charset="0"/>
                <a:cs typeface="Segoe UI" panose="020B0502040204020203" pitchFamily="34" charset="0"/>
              </a:rPr>
              <a:t>Utilisation</a:t>
            </a:r>
            <a:r>
              <a:rPr lang="en-US" sz="1800" dirty="0">
                <a:ln>
                  <a:solidFill>
                    <a:srgbClr val="FFFFFF">
                      <a:alpha val="0"/>
                    </a:srgbClr>
                  </a:solidFill>
                </a:ln>
                <a:solidFill>
                  <a:srgbClr val="505050"/>
                </a:solidFill>
                <a:ea typeface="Segoe UI" pitchFamily="34" charset="0"/>
                <a:cs typeface="Segoe UI" panose="020B0502040204020203" pitchFamily="34" charset="0"/>
              </a:rPr>
              <a:t> de </a:t>
            </a:r>
            <a:r>
              <a:rPr lang="en-US" sz="1800" dirty="0" err="1">
                <a:ln>
                  <a:solidFill>
                    <a:srgbClr val="FFFFFF">
                      <a:alpha val="0"/>
                    </a:srgbClr>
                  </a:solidFill>
                </a:ln>
                <a:solidFill>
                  <a:srgbClr val="505050"/>
                </a:solidFill>
                <a:ea typeface="Segoe UI" pitchFamily="34" charset="0"/>
                <a:cs typeface="Segoe UI" panose="020B0502040204020203" pitchFamily="34" charset="0"/>
              </a:rPr>
              <a:t>tous</a:t>
            </a:r>
            <a:r>
              <a:rPr lang="en-US" sz="1800" dirty="0">
                <a:ln>
                  <a:solidFill>
                    <a:srgbClr val="FFFFFF">
                      <a:alpha val="0"/>
                    </a:srgbClr>
                  </a:solidFill>
                </a:ln>
                <a:solidFill>
                  <a:srgbClr val="505050"/>
                </a:solidFill>
                <a:ea typeface="Segoe UI" pitchFamily="34" charset="0"/>
                <a:cs typeface="Segoe UI" panose="020B0502040204020203" pitchFamily="34" charset="0"/>
              </a:rPr>
              <a:t> les </a:t>
            </a:r>
            <a:r>
              <a:rPr lang="en-US" sz="1800" dirty="0" err="1">
                <a:ln>
                  <a:solidFill>
                    <a:srgbClr val="FFFFFF">
                      <a:alpha val="0"/>
                    </a:srgbClr>
                  </a:solidFill>
                </a:ln>
                <a:solidFill>
                  <a:srgbClr val="505050"/>
                </a:solidFill>
                <a:ea typeface="Segoe UI" pitchFamily="34" charset="0"/>
                <a:cs typeface="Segoe UI" panose="020B0502040204020203" pitchFamily="34" charset="0"/>
              </a:rPr>
              <a:t>outils</a:t>
            </a:r>
            <a:r>
              <a:rPr lang="en-US" sz="1800" dirty="0">
                <a:ln>
                  <a:solidFill>
                    <a:srgbClr val="FFFFFF">
                      <a:alpha val="0"/>
                    </a:srgbClr>
                  </a:solidFill>
                </a:ln>
                <a:solidFill>
                  <a:srgbClr val="505050"/>
                </a:solidFill>
                <a:ea typeface="Segoe UI" pitchFamily="34" charset="0"/>
                <a:cs typeface="Segoe UI" panose="020B0502040204020203" pitchFamily="34" charset="0"/>
              </a:rPr>
              <a:t> </a:t>
            </a:r>
            <a:r>
              <a:rPr lang="en-US" sz="1800" dirty="0" err="1">
                <a:ln>
                  <a:solidFill>
                    <a:srgbClr val="FFFFFF">
                      <a:alpha val="0"/>
                    </a:srgbClr>
                  </a:solidFill>
                </a:ln>
                <a:solidFill>
                  <a:srgbClr val="505050"/>
                </a:solidFill>
                <a:ea typeface="Segoe UI" pitchFamily="34" charset="0"/>
                <a:cs typeface="Segoe UI" panose="020B0502040204020203" pitchFamily="34" charset="0"/>
              </a:rPr>
              <a:t>connectés</a:t>
            </a:r>
            <a:r>
              <a:rPr lang="en-US" sz="1800" dirty="0">
                <a:ln>
                  <a:solidFill>
                    <a:srgbClr val="FFFFFF">
                      <a:alpha val="0"/>
                    </a:srgbClr>
                  </a:solidFill>
                </a:ln>
                <a:solidFill>
                  <a:srgbClr val="505050"/>
                </a:solidFill>
                <a:ea typeface="Segoe UI" pitchFamily="34" charset="0"/>
                <a:cs typeface="Segoe UI" panose="020B0502040204020203" pitchFamily="34" charset="0"/>
              </a:rPr>
              <a:t> à </a:t>
            </a:r>
            <a:r>
              <a:rPr lang="en-US" sz="1800">
                <a:ln>
                  <a:solidFill>
                    <a:srgbClr val="FFFFFF">
                      <a:alpha val="0"/>
                    </a:srgbClr>
                  </a:solidFill>
                </a:ln>
                <a:solidFill>
                  <a:srgbClr val="505050"/>
                </a:solidFill>
                <a:ea typeface="Segoe UI" pitchFamily="34" charset="0"/>
                <a:cs typeface="Segoe UI" panose="020B0502040204020203" pitchFamily="34" charset="0"/>
              </a:rPr>
              <a:t>SQL (</a:t>
            </a:r>
            <a:r>
              <a:rPr lang="en-US">
                <a:ln>
                  <a:solidFill>
                    <a:srgbClr val="FFFFFF">
                      <a:alpha val="0"/>
                    </a:srgbClr>
                  </a:solidFill>
                </a:ln>
                <a:solidFill>
                  <a:srgbClr val="505050"/>
                </a:solidFill>
                <a:ea typeface="Segoe UI" pitchFamily="34" charset="0"/>
                <a:cs typeface="Segoe UI" panose="020B0502040204020203" pitchFamily="34" charset="0"/>
              </a:rPr>
              <a:t> </a:t>
            </a:r>
            <a:r>
              <a:rPr lang="en-US" sz="1800">
                <a:ln>
                  <a:solidFill>
                    <a:srgbClr val="FFFFFF">
                      <a:alpha val="0"/>
                    </a:srgbClr>
                  </a:solidFill>
                </a:ln>
                <a:solidFill>
                  <a:srgbClr val="505050"/>
                </a:solidFill>
                <a:ea typeface="Segoe UI" pitchFamily="34" charset="0"/>
                <a:cs typeface="Segoe UI" panose="020B0502040204020203" pitchFamily="34" charset="0"/>
              </a:rPr>
              <a:t>BI </a:t>
            </a:r>
            <a:r>
              <a:rPr lang="en-US" sz="1800" dirty="0">
                <a:ln>
                  <a:solidFill>
                    <a:srgbClr val="FFFFFF">
                      <a:alpha val="0"/>
                    </a:srgbClr>
                  </a:solidFill>
                </a:ln>
                <a:solidFill>
                  <a:srgbClr val="505050"/>
                </a:solidFill>
                <a:ea typeface="Segoe UI" pitchFamily="34" charset="0"/>
                <a:cs typeface="Segoe UI" panose="020B0502040204020203" pitchFamily="34" charset="0"/>
              </a:rPr>
              <a:t>&amp; co …)</a:t>
            </a:r>
          </a:p>
          <a:p>
            <a:pPr marL="403070" indent="-349116" defTabSz="931776">
              <a:spcBef>
                <a:spcPts val="600"/>
              </a:spcBef>
              <a:buClr>
                <a:srgbClr val="FF8C00"/>
              </a:buClr>
              <a:buFont typeface="Wingdings 3" panose="05040102010807070707" pitchFamily="18" charset="2"/>
              <a:buChar char="Æ"/>
            </a:pPr>
            <a:r>
              <a:rPr lang="en-US" sz="1800" dirty="0">
                <a:ln>
                  <a:solidFill>
                    <a:srgbClr val="FFFFFF">
                      <a:alpha val="0"/>
                    </a:srgbClr>
                  </a:solidFill>
                </a:ln>
                <a:solidFill>
                  <a:srgbClr val="505050"/>
                </a:solidFill>
                <a:ea typeface="Segoe UI" pitchFamily="34" charset="0"/>
                <a:cs typeface="Segoe UI" panose="020B0502040204020203" pitchFamily="34" charset="0"/>
              </a:rPr>
              <a:t>Jointure </a:t>
            </a:r>
            <a:r>
              <a:rPr lang="en-US" sz="1800" dirty="0" err="1">
                <a:ln>
                  <a:solidFill>
                    <a:srgbClr val="FFFFFF">
                      <a:alpha val="0"/>
                    </a:srgbClr>
                  </a:solidFill>
                </a:ln>
                <a:solidFill>
                  <a:srgbClr val="505050"/>
                </a:solidFill>
                <a:ea typeface="Segoe UI" pitchFamily="34" charset="0"/>
                <a:cs typeface="Segoe UI" panose="020B0502040204020203" pitchFamily="34" charset="0"/>
              </a:rPr>
              <a:t>relationnelles</a:t>
            </a:r>
            <a:r>
              <a:rPr lang="en-US" sz="1800" dirty="0">
                <a:ln>
                  <a:solidFill>
                    <a:srgbClr val="FFFFFF">
                      <a:alpha val="0"/>
                    </a:srgbClr>
                  </a:solidFill>
                </a:ln>
                <a:solidFill>
                  <a:srgbClr val="505050"/>
                </a:solidFill>
                <a:ea typeface="Segoe UI" pitchFamily="34" charset="0"/>
                <a:cs typeface="Segoe UI" panose="020B0502040204020203" pitchFamily="34" charset="0"/>
              </a:rPr>
              <a:t> / non </a:t>
            </a:r>
            <a:r>
              <a:rPr lang="en-US" sz="1800" dirty="0" err="1">
                <a:ln>
                  <a:solidFill>
                    <a:srgbClr val="FFFFFF">
                      <a:alpha val="0"/>
                    </a:srgbClr>
                  </a:solidFill>
                </a:ln>
                <a:solidFill>
                  <a:srgbClr val="505050"/>
                </a:solidFill>
                <a:ea typeface="Segoe UI" pitchFamily="34" charset="0"/>
                <a:cs typeface="Segoe UI" panose="020B0502040204020203" pitchFamily="34" charset="0"/>
              </a:rPr>
              <a:t>relationnelles</a:t>
            </a:r>
            <a:endParaRPr lang="en-US" sz="1800" dirty="0">
              <a:ln>
                <a:solidFill>
                  <a:srgbClr val="FFFFFF">
                    <a:alpha val="0"/>
                  </a:srgbClr>
                </a:solidFill>
              </a:ln>
              <a:solidFill>
                <a:srgbClr val="505050"/>
              </a:solidFill>
              <a:ea typeface="Segoe UI" pitchFamily="34" charset="0"/>
              <a:cs typeface="Segoe UI" panose="020B0502040204020203" pitchFamily="34" charset="0"/>
            </a:endParaRPr>
          </a:p>
        </p:txBody>
      </p:sp>
      <p:grpSp>
        <p:nvGrpSpPr>
          <p:cNvPr id="22" name="Group 21"/>
          <p:cNvGrpSpPr/>
          <p:nvPr/>
        </p:nvGrpSpPr>
        <p:grpSpPr>
          <a:xfrm>
            <a:off x="2852366" y="2022746"/>
            <a:ext cx="3096102" cy="4297680"/>
            <a:chOff x="2559533" y="1974400"/>
            <a:chExt cx="3096542" cy="4298291"/>
          </a:xfrm>
        </p:grpSpPr>
        <p:sp>
          <p:nvSpPr>
            <p:cNvPr id="76" name="Right Brace 75"/>
            <p:cNvSpPr/>
            <p:nvPr/>
          </p:nvSpPr>
          <p:spPr>
            <a:xfrm flipV="1">
              <a:off x="5458476" y="2011491"/>
              <a:ext cx="197599" cy="4206240"/>
            </a:xfrm>
            <a:prstGeom prst="rightBrace">
              <a:avLst>
                <a:gd name="adj1" fmla="val 43816"/>
                <a:gd name="adj2" fmla="val 50000"/>
              </a:avLst>
            </a:prstGeom>
            <a:ln>
              <a:solidFill>
                <a:srgbClr val="FF8C00"/>
              </a:solidFill>
              <a:headEnd type="none" w="med" len="sm"/>
              <a:tailEnd type="none" w="med"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01" tIns="45700" rIns="91401" bIns="45700" numCol="1" spcCol="0" rtlCol="0" fromWordArt="0" anchor="ctr" anchorCtr="0" forceAA="0" compatLnSpc="1">
              <a:prstTxWarp prst="textNoShape">
                <a:avLst/>
              </a:prstTxWarp>
              <a:noAutofit/>
            </a:bodyPr>
            <a:lstStyle/>
            <a:p>
              <a:pPr algn="ctr" defTabSz="931326" fontAlgn="auto">
                <a:spcBef>
                  <a:spcPts val="0"/>
                </a:spcBef>
                <a:spcAft>
                  <a:spcPts val="0"/>
                </a:spcAft>
              </a:pPr>
              <a:endParaRPr lang="en-US" sz="1800">
                <a:solidFill>
                  <a:srgbClr val="000000"/>
                </a:solidFill>
              </a:endParaRPr>
            </a:p>
          </p:txBody>
        </p:sp>
        <p:sp>
          <p:nvSpPr>
            <p:cNvPr id="78" name="Right Brace 77"/>
            <p:cNvSpPr/>
            <p:nvPr/>
          </p:nvSpPr>
          <p:spPr>
            <a:xfrm flipH="1" flipV="1">
              <a:off x="2559533" y="2011491"/>
              <a:ext cx="197599" cy="4206240"/>
            </a:xfrm>
            <a:prstGeom prst="rightBrace">
              <a:avLst>
                <a:gd name="adj1" fmla="val 43816"/>
                <a:gd name="adj2" fmla="val 50000"/>
              </a:avLst>
            </a:prstGeom>
            <a:ln>
              <a:solidFill>
                <a:srgbClr val="FF8C00"/>
              </a:solidFill>
              <a:headEnd type="none" w="med" len="sm"/>
              <a:tailEnd type="none" w="med"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01" tIns="45700" rIns="91401" bIns="45700" numCol="1" spcCol="0" rtlCol="0" fromWordArt="0" anchor="ctr" anchorCtr="0" forceAA="0" compatLnSpc="1">
              <a:prstTxWarp prst="textNoShape">
                <a:avLst/>
              </a:prstTxWarp>
              <a:noAutofit/>
            </a:bodyPr>
            <a:lstStyle/>
            <a:p>
              <a:pPr algn="ctr" defTabSz="931326" fontAlgn="auto">
                <a:spcBef>
                  <a:spcPts val="0"/>
                </a:spcBef>
                <a:spcAft>
                  <a:spcPts val="0"/>
                </a:spcAft>
              </a:pPr>
              <a:endParaRPr lang="en-US" sz="1800">
                <a:solidFill>
                  <a:srgbClr val="000000"/>
                </a:solidFill>
              </a:endParaRPr>
            </a:p>
          </p:txBody>
        </p:sp>
        <p:grpSp>
          <p:nvGrpSpPr>
            <p:cNvPr id="21" name="Group 20"/>
            <p:cNvGrpSpPr/>
            <p:nvPr/>
          </p:nvGrpSpPr>
          <p:grpSpPr>
            <a:xfrm>
              <a:off x="2799700" y="1974400"/>
              <a:ext cx="2619188" cy="4298291"/>
              <a:chOff x="2799700" y="1974400"/>
              <a:chExt cx="2619188" cy="4298291"/>
            </a:xfrm>
          </p:grpSpPr>
          <p:sp>
            <p:nvSpPr>
              <p:cNvPr id="2" name="Rectangle 1"/>
              <p:cNvSpPr/>
              <p:nvPr/>
            </p:nvSpPr>
            <p:spPr bwMode="auto">
              <a:xfrm>
                <a:off x="2807494" y="1974400"/>
                <a:ext cx="2611394" cy="4298291"/>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91414" rIns="91414" bIns="146262" numCol="1" spcCol="0" rtlCol="0" fromWordArt="0" anchor="t" anchorCtr="0" forceAA="0" compatLnSpc="1">
                <a:prstTxWarp prst="textNoShape">
                  <a:avLst/>
                </a:prstTxWarp>
                <a:noAutofit/>
              </a:bodyPr>
              <a:lstStyle/>
              <a:p>
                <a:pPr defTabSz="932114">
                  <a:lnSpc>
                    <a:spcPct val="90000"/>
                  </a:lnSpc>
                </a:pPr>
                <a:endParaRPr lang="en-US" sz="2000"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83" name="Freeform 82"/>
              <p:cNvSpPr>
                <a:spLocks noEditPoints="1"/>
              </p:cNvSpPr>
              <p:nvPr/>
            </p:nvSpPr>
            <p:spPr bwMode="auto">
              <a:xfrm>
                <a:off x="3776824" y="5514687"/>
                <a:ext cx="293400" cy="704796"/>
              </a:xfrm>
              <a:custGeom>
                <a:avLst/>
                <a:gdLst>
                  <a:gd name="T0" fmla="*/ 0 w 184"/>
                  <a:gd name="T1" fmla="*/ 0 h 442"/>
                  <a:gd name="T2" fmla="*/ 0 w 184"/>
                  <a:gd name="T3" fmla="*/ 442 h 442"/>
                  <a:gd name="T4" fmla="*/ 184 w 184"/>
                  <a:gd name="T5" fmla="*/ 442 h 442"/>
                  <a:gd name="T6" fmla="*/ 184 w 184"/>
                  <a:gd name="T7" fmla="*/ 0 h 442"/>
                  <a:gd name="T8" fmla="*/ 0 w 184"/>
                  <a:gd name="T9" fmla="*/ 0 h 442"/>
                  <a:gd name="T10" fmla="*/ 85 w 184"/>
                  <a:gd name="T11" fmla="*/ 370 h 442"/>
                  <a:gd name="T12" fmla="*/ 19 w 184"/>
                  <a:gd name="T13" fmla="*/ 370 h 442"/>
                  <a:gd name="T14" fmla="*/ 19 w 184"/>
                  <a:gd name="T15" fmla="*/ 310 h 442"/>
                  <a:gd name="T16" fmla="*/ 85 w 184"/>
                  <a:gd name="T17" fmla="*/ 310 h 442"/>
                  <a:gd name="T18" fmla="*/ 85 w 184"/>
                  <a:gd name="T19" fmla="*/ 370 h 442"/>
                  <a:gd name="T20" fmla="*/ 85 w 184"/>
                  <a:gd name="T21" fmla="*/ 296 h 442"/>
                  <a:gd name="T22" fmla="*/ 19 w 184"/>
                  <a:gd name="T23" fmla="*/ 296 h 442"/>
                  <a:gd name="T24" fmla="*/ 19 w 184"/>
                  <a:gd name="T25" fmla="*/ 237 h 442"/>
                  <a:gd name="T26" fmla="*/ 85 w 184"/>
                  <a:gd name="T27" fmla="*/ 237 h 442"/>
                  <a:gd name="T28" fmla="*/ 85 w 184"/>
                  <a:gd name="T29" fmla="*/ 296 h 442"/>
                  <a:gd name="T30" fmla="*/ 85 w 184"/>
                  <a:gd name="T31" fmla="*/ 223 h 442"/>
                  <a:gd name="T32" fmla="*/ 19 w 184"/>
                  <a:gd name="T33" fmla="*/ 223 h 442"/>
                  <a:gd name="T34" fmla="*/ 19 w 184"/>
                  <a:gd name="T35" fmla="*/ 164 h 442"/>
                  <a:gd name="T36" fmla="*/ 85 w 184"/>
                  <a:gd name="T37" fmla="*/ 164 h 442"/>
                  <a:gd name="T38" fmla="*/ 85 w 184"/>
                  <a:gd name="T39" fmla="*/ 223 h 442"/>
                  <a:gd name="T40" fmla="*/ 85 w 184"/>
                  <a:gd name="T41" fmla="*/ 151 h 442"/>
                  <a:gd name="T42" fmla="*/ 19 w 184"/>
                  <a:gd name="T43" fmla="*/ 151 h 442"/>
                  <a:gd name="T44" fmla="*/ 19 w 184"/>
                  <a:gd name="T45" fmla="*/ 91 h 442"/>
                  <a:gd name="T46" fmla="*/ 85 w 184"/>
                  <a:gd name="T47" fmla="*/ 91 h 442"/>
                  <a:gd name="T48" fmla="*/ 85 w 184"/>
                  <a:gd name="T49" fmla="*/ 151 h 442"/>
                  <a:gd name="T50" fmla="*/ 85 w 184"/>
                  <a:gd name="T51" fmla="*/ 78 h 442"/>
                  <a:gd name="T52" fmla="*/ 19 w 184"/>
                  <a:gd name="T53" fmla="*/ 78 h 442"/>
                  <a:gd name="T54" fmla="*/ 19 w 184"/>
                  <a:gd name="T55" fmla="*/ 18 h 442"/>
                  <a:gd name="T56" fmla="*/ 85 w 184"/>
                  <a:gd name="T57" fmla="*/ 18 h 442"/>
                  <a:gd name="T58" fmla="*/ 85 w 184"/>
                  <a:gd name="T59" fmla="*/ 78 h 442"/>
                  <a:gd name="T60" fmla="*/ 164 w 184"/>
                  <a:gd name="T61" fmla="*/ 370 h 442"/>
                  <a:gd name="T62" fmla="*/ 99 w 184"/>
                  <a:gd name="T63" fmla="*/ 370 h 442"/>
                  <a:gd name="T64" fmla="*/ 99 w 184"/>
                  <a:gd name="T65" fmla="*/ 310 h 442"/>
                  <a:gd name="T66" fmla="*/ 164 w 184"/>
                  <a:gd name="T67" fmla="*/ 310 h 442"/>
                  <a:gd name="T68" fmla="*/ 164 w 184"/>
                  <a:gd name="T69" fmla="*/ 370 h 442"/>
                  <a:gd name="T70" fmla="*/ 164 w 184"/>
                  <a:gd name="T71" fmla="*/ 296 h 442"/>
                  <a:gd name="T72" fmla="*/ 99 w 184"/>
                  <a:gd name="T73" fmla="*/ 296 h 442"/>
                  <a:gd name="T74" fmla="*/ 99 w 184"/>
                  <a:gd name="T75" fmla="*/ 237 h 442"/>
                  <a:gd name="T76" fmla="*/ 164 w 184"/>
                  <a:gd name="T77" fmla="*/ 237 h 442"/>
                  <a:gd name="T78" fmla="*/ 164 w 184"/>
                  <a:gd name="T79" fmla="*/ 296 h 442"/>
                  <a:gd name="T80" fmla="*/ 164 w 184"/>
                  <a:gd name="T81" fmla="*/ 223 h 442"/>
                  <a:gd name="T82" fmla="*/ 99 w 184"/>
                  <a:gd name="T83" fmla="*/ 223 h 442"/>
                  <a:gd name="T84" fmla="*/ 99 w 184"/>
                  <a:gd name="T85" fmla="*/ 164 h 442"/>
                  <a:gd name="T86" fmla="*/ 164 w 184"/>
                  <a:gd name="T87" fmla="*/ 164 h 442"/>
                  <a:gd name="T88" fmla="*/ 164 w 184"/>
                  <a:gd name="T89" fmla="*/ 223 h 442"/>
                  <a:gd name="T90" fmla="*/ 164 w 184"/>
                  <a:gd name="T91" fmla="*/ 151 h 442"/>
                  <a:gd name="T92" fmla="*/ 99 w 184"/>
                  <a:gd name="T93" fmla="*/ 151 h 442"/>
                  <a:gd name="T94" fmla="*/ 99 w 184"/>
                  <a:gd name="T95" fmla="*/ 91 h 442"/>
                  <a:gd name="T96" fmla="*/ 164 w 184"/>
                  <a:gd name="T97" fmla="*/ 91 h 442"/>
                  <a:gd name="T98" fmla="*/ 164 w 184"/>
                  <a:gd name="T99" fmla="*/ 151 h 442"/>
                  <a:gd name="T100" fmla="*/ 164 w 184"/>
                  <a:gd name="T101" fmla="*/ 78 h 442"/>
                  <a:gd name="T102" fmla="*/ 99 w 184"/>
                  <a:gd name="T103" fmla="*/ 78 h 442"/>
                  <a:gd name="T104" fmla="*/ 99 w 184"/>
                  <a:gd name="T105" fmla="*/ 18 h 442"/>
                  <a:gd name="T106" fmla="*/ 164 w 184"/>
                  <a:gd name="T107" fmla="*/ 18 h 442"/>
                  <a:gd name="T108" fmla="*/ 164 w 184"/>
                  <a:gd name="T109" fmla="*/ 78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4" h="442">
                    <a:moveTo>
                      <a:pt x="0" y="0"/>
                    </a:moveTo>
                    <a:lnTo>
                      <a:pt x="0" y="442"/>
                    </a:lnTo>
                    <a:lnTo>
                      <a:pt x="184" y="442"/>
                    </a:lnTo>
                    <a:lnTo>
                      <a:pt x="184" y="0"/>
                    </a:lnTo>
                    <a:lnTo>
                      <a:pt x="0" y="0"/>
                    </a:lnTo>
                    <a:close/>
                    <a:moveTo>
                      <a:pt x="85" y="370"/>
                    </a:moveTo>
                    <a:lnTo>
                      <a:pt x="19" y="370"/>
                    </a:lnTo>
                    <a:lnTo>
                      <a:pt x="19" y="310"/>
                    </a:lnTo>
                    <a:lnTo>
                      <a:pt x="85" y="310"/>
                    </a:lnTo>
                    <a:lnTo>
                      <a:pt x="85" y="370"/>
                    </a:lnTo>
                    <a:close/>
                    <a:moveTo>
                      <a:pt x="85" y="296"/>
                    </a:moveTo>
                    <a:lnTo>
                      <a:pt x="19" y="296"/>
                    </a:lnTo>
                    <a:lnTo>
                      <a:pt x="19" y="237"/>
                    </a:lnTo>
                    <a:lnTo>
                      <a:pt x="85" y="237"/>
                    </a:lnTo>
                    <a:lnTo>
                      <a:pt x="85" y="296"/>
                    </a:lnTo>
                    <a:close/>
                    <a:moveTo>
                      <a:pt x="85" y="223"/>
                    </a:moveTo>
                    <a:lnTo>
                      <a:pt x="19" y="223"/>
                    </a:lnTo>
                    <a:lnTo>
                      <a:pt x="19" y="164"/>
                    </a:lnTo>
                    <a:lnTo>
                      <a:pt x="85" y="164"/>
                    </a:lnTo>
                    <a:lnTo>
                      <a:pt x="85" y="223"/>
                    </a:lnTo>
                    <a:close/>
                    <a:moveTo>
                      <a:pt x="85" y="151"/>
                    </a:moveTo>
                    <a:lnTo>
                      <a:pt x="19" y="151"/>
                    </a:lnTo>
                    <a:lnTo>
                      <a:pt x="19" y="91"/>
                    </a:lnTo>
                    <a:lnTo>
                      <a:pt x="85" y="91"/>
                    </a:lnTo>
                    <a:lnTo>
                      <a:pt x="85" y="151"/>
                    </a:lnTo>
                    <a:close/>
                    <a:moveTo>
                      <a:pt x="85" y="78"/>
                    </a:moveTo>
                    <a:lnTo>
                      <a:pt x="19" y="78"/>
                    </a:lnTo>
                    <a:lnTo>
                      <a:pt x="19" y="18"/>
                    </a:lnTo>
                    <a:lnTo>
                      <a:pt x="85" y="18"/>
                    </a:lnTo>
                    <a:lnTo>
                      <a:pt x="85" y="78"/>
                    </a:lnTo>
                    <a:close/>
                    <a:moveTo>
                      <a:pt x="164" y="370"/>
                    </a:moveTo>
                    <a:lnTo>
                      <a:pt x="99" y="370"/>
                    </a:lnTo>
                    <a:lnTo>
                      <a:pt x="99" y="310"/>
                    </a:lnTo>
                    <a:lnTo>
                      <a:pt x="164" y="310"/>
                    </a:lnTo>
                    <a:lnTo>
                      <a:pt x="164" y="370"/>
                    </a:lnTo>
                    <a:close/>
                    <a:moveTo>
                      <a:pt x="164" y="296"/>
                    </a:moveTo>
                    <a:lnTo>
                      <a:pt x="99" y="296"/>
                    </a:lnTo>
                    <a:lnTo>
                      <a:pt x="99" y="237"/>
                    </a:lnTo>
                    <a:lnTo>
                      <a:pt x="164" y="237"/>
                    </a:lnTo>
                    <a:lnTo>
                      <a:pt x="164" y="296"/>
                    </a:lnTo>
                    <a:close/>
                    <a:moveTo>
                      <a:pt x="164" y="223"/>
                    </a:moveTo>
                    <a:lnTo>
                      <a:pt x="99" y="223"/>
                    </a:lnTo>
                    <a:lnTo>
                      <a:pt x="99" y="164"/>
                    </a:lnTo>
                    <a:lnTo>
                      <a:pt x="164" y="164"/>
                    </a:lnTo>
                    <a:lnTo>
                      <a:pt x="164" y="223"/>
                    </a:lnTo>
                    <a:close/>
                    <a:moveTo>
                      <a:pt x="164" y="151"/>
                    </a:moveTo>
                    <a:lnTo>
                      <a:pt x="99" y="151"/>
                    </a:lnTo>
                    <a:lnTo>
                      <a:pt x="99" y="91"/>
                    </a:lnTo>
                    <a:lnTo>
                      <a:pt x="164" y="91"/>
                    </a:lnTo>
                    <a:lnTo>
                      <a:pt x="164" y="151"/>
                    </a:lnTo>
                    <a:close/>
                    <a:moveTo>
                      <a:pt x="164" y="78"/>
                    </a:moveTo>
                    <a:lnTo>
                      <a:pt x="99" y="78"/>
                    </a:lnTo>
                    <a:lnTo>
                      <a:pt x="99" y="18"/>
                    </a:lnTo>
                    <a:lnTo>
                      <a:pt x="164" y="18"/>
                    </a:lnTo>
                    <a:lnTo>
                      <a:pt x="164" y="78"/>
                    </a:lnTo>
                    <a:close/>
                  </a:path>
                </a:pathLst>
              </a:custGeom>
              <a:solidFill>
                <a:schemeClr val="bg1"/>
              </a:solidFill>
              <a:ln>
                <a:noFill/>
              </a:ln>
              <a:extLst/>
            </p:spPr>
            <p:txBody>
              <a:bodyPr vert="horz" wrap="square" lIns="91414" tIns="45706" rIns="91414" bIns="45706"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sz="1198">
                  <a:solidFill>
                    <a:srgbClr val="000000"/>
                  </a:solidFill>
                </a:endParaRPr>
              </a:p>
            </p:txBody>
          </p:sp>
          <p:sp>
            <p:nvSpPr>
              <p:cNvPr id="86" name="Freeform 85"/>
              <p:cNvSpPr>
                <a:spLocks noEditPoints="1"/>
              </p:cNvSpPr>
              <p:nvPr/>
            </p:nvSpPr>
            <p:spPr bwMode="auto">
              <a:xfrm>
                <a:off x="4098926" y="5514687"/>
                <a:ext cx="261509" cy="704796"/>
              </a:xfrm>
              <a:custGeom>
                <a:avLst/>
                <a:gdLst>
                  <a:gd name="T0" fmla="*/ 148 w 164"/>
                  <a:gd name="T1" fmla="*/ 181 h 442"/>
                  <a:gd name="T2" fmla="*/ 148 w 164"/>
                  <a:gd name="T3" fmla="*/ 136 h 442"/>
                  <a:gd name="T4" fmla="*/ 123 w 164"/>
                  <a:gd name="T5" fmla="*/ 136 h 442"/>
                  <a:gd name="T6" fmla="*/ 123 w 164"/>
                  <a:gd name="T7" fmla="*/ 84 h 442"/>
                  <a:gd name="T8" fmla="*/ 101 w 164"/>
                  <a:gd name="T9" fmla="*/ 84 h 442"/>
                  <a:gd name="T10" fmla="*/ 101 w 164"/>
                  <a:gd name="T11" fmla="*/ 45 h 442"/>
                  <a:gd name="T12" fmla="*/ 87 w 164"/>
                  <a:gd name="T13" fmla="*/ 45 h 442"/>
                  <a:gd name="T14" fmla="*/ 87 w 164"/>
                  <a:gd name="T15" fmla="*/ 0 h 442"/>
                  <a:gd name="T16" fmla="*/ 77 w 164"/>
                  <a:gd name="T17" fmla="*/ 0 h 442"/>
                  <a:gd name="T18" fmla="*/ 77 w 164"/>
                  <a:gd name="T19" fmla="*/ 45 h 442"/>
                  <a:gd name="T20" fmla="*/ 63 w 164"/>
                  <a:gd name="T21" fmla="*/ 45 h 442"/>
                  <a:gd name="T22" fmla="*/ 63 w 164"/>
                  <a:gd name="T23" fmla="*/ 84 h 442"/>
                  <a:gd name="T24" fmla="*/ 41 w 164"/>
                  <a:gd name="T25" fmla="*/ 84 h 442"/>
                  <a:gd name="T26" fmla="*/ 41 w 164"/>
                  <a:gd name="T27" fmla="*/ 136 h 442"/>
                  <a:gd name="T28" fmla="*/ 16 w 164"/>
                  <a:gd name="T29" fmla="*/ 136 h 442"/>
                  <a:gd name="T30" fmla="*/ 16 w 164"/>
                  <a:gd name="T31" fmla="*/ 181 h 442"/>
                  <a:gd name="T32" fmla="*/ 0 w 164"/>
                  <a:gd name="T33" fmla="*/ 181 h 442"/>
                  <a:gd name="T34" fmla="*/ 0 w 164"/>
                  <a:gd name="T35" fmla="*/ 442 h 442"/>
                  <a:gd name="T36" fmla="*/ 164 w 164"/>
                  <a:gd name="T37" fmla="*/ 442 h 442"/>
                  <a:gd name="T38" fmla="*/ 164 w 164"/>
                  <a:gd name="T39" fmla="*/ 181 h 442"/>
                  <a:gd name="T40" fmla="*/ 148 w 164"/>
                  <a:gd name="T41" fmla="*/ 181 h 442"/>
                  <a:gd name="T42" fmla="*/ 16 w 164"/>
                  <a:gd name="T43" fmla="*/ 207 h 442"/>
                  <a:gd name="T44" fmla="*/ 82 w 164"/>
                  <a:gd name="T45" fmla="*/ 207 h 442"/>
                  <a:gd name="T46" fmla="*/ 82 w 164"/>
                  <a:gd name="T47" fmla="*/ 266 h 442"/>
                  <a:gd name="T48" fmla="*/ 16 w 164"/>
                  <a:gd name="T49" fmla="*/ 266 h 442"/>
                  <a:gd name="T50" fmla="*/ 16 w 164"/>
                  <a:gd name="T51" fmla="*/ 207 h 442"/>
                  <a:gd name="T52" fmla="*/ 82 w 164"/>
                  <a:gd name="T53" fmla="*/ 411 h 442"/>
                  <a:gd name="T54" fmla="*/ 16 w 164"/>
                  <a:gd name="T55" fmla="*/ 411 h 442"/>
                  <a:gd name="T56" fmla="*/ 16 w 164"/>
                  <a:gd name="T57" fmla="*/ 352 h 442"/>
                  <a:gd name="T58" fmla="*/ 82 w 164"/>
                  <a:gd name="T59" fmla="*/ 352 h 442"/>
                  <a:gd name="T60" fmla="*/ 82 w 164"/>
                  <a:gd name="T61" fmla="*/ 411 h 442"/>
                  <a:gd name="T62" fmla="*/ 148 w 164"/>
                  <a:gd name="T63" fmla="*/ 340 h 442"/>
                  <a:gd name="T64" fmla="*/ 82 w 164"/>
                  <a:gd name="T65" fmla="*/ 340 h 442"/>
                  <a:gd name="T66" fmla="*/ 82 w 164"/>
                  <a:gd name="T67" fmla="*/ 280 h 442"/>
                  <a:gd name="T68" fmla="*/ 148 w 164"/>
                  <a:gd name="T69" fmla="*/ 280 h 442"/>
                  <a:gd name="T70" fmla="*/ 148 w 164"/>
                  <a:gd name="T71" fmla="*/ 34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442">
                    <a:moveTo>
                      <a:pt x="148" y="181"/>
                    </a:moveTo>
                    <a:lnTo>
                      <a:pt x="148" y="136"/>
                    </a:lnTo>
                    <a:lnTo>
                      <a:pt x="123" y="136"/>
                    </a:lnTo>
                    <a:lnTo>
                      <a:pt x="123" y="84"/>
                    </a:lnTo>
                    <a:lnTo>
                      <a:pt x="101" y="84"/>
                    </a:lnTo>
                    <a:lnTo>
                      <a:pt x="101" y="45"/>
                    </a:lnTo>
                    <a:lnTo>
                      <a:pt x="87" y="45"/>
                    </a:lnTo>
                    <a:lnTo>
                      <a:pt x="87" y="0"/>
                    </a:lnTo>
                    <a:lnTo>
                      <a:pt x="77" y="0"/>
                    </a:lnTo>
                    <a:lnTo>
                      <a:pt x="77" y="45"/>
                    </a:lnTo>
                    <a:lnTo>
                      <a:pt x="63" y="45"/>
                    </a:lnTo>
                    <a:lnTo>
                      <a:pt x="63" y="84"/>
                    </a:lnTo>
                    <a:lnTo>
                      <a:pt x="41" y="84"/>
                    </a:lnTo>
                    <a:lnTo>
                      <a:pt x="41" y="136"/>
                    </a:lnTo>
                    <a:lnTo>
                      <a:pt x="16" y="136"/>
                    </a:lnTo>
                    <a:lnTo>
                      <a:pt x="16" y="181"/>
                    </a:lnTo>
                    <a:lnTo>
                      <a:pt x="0" y="181"/>
                    </a:lnTo>
                    <a:lnTo>
                      <a:pt x="0" y="442"/>
                    </a:lnTo>
                    <a:lnTo>
                      <a:pt x="164" y="442"/>
                    </a:lnTo>
                    <a:lnTo>
                      <a:pt x="164" y="181"/>
                    </a:lnTo>
                    <a:lnTo>
                      <a:pt x="148" y="181"/>
                    </a:lnTo>
                    <a:close/>
                    <a:moveTo>
                      <a:pt x="16" y="207"/>
                    </a:moveTo>
                    <a:lnTo>
                      <a:pt x="82" y="207"/>
                    </a:lnTo>
                    <a:lnTo>
                      <a:pt x="82" y="266"/>
                    </a:lnTo>
                    <a:lnTo>
                      <a:pt x="16" y="266"/>
                    </a:lnTo>
                    <a:lnTo>
                      <a:pt x="16" y="207"/>
                    </a:lnTo>
                    <a:close/>
                    <a:moveTo>
                      <a:pt x="82" y="411"/>
                    </a:moveTo>
                    <a:lnTo>
                      <a:pt x="16" y="411"/>
                    </a:lnTo>
                    <a:lnTo>
                      <a:pt x="16" y="352"/>
                    </a:lnTo>
                    <a:lnTo>
                      <a:pt x="82" y="352"/>
                    </a:lnTo>
                    <a:lnTo>
                      <a:pt x="82" y="411"/>
                    </a:lnTo>
                    <a:close/>
                    <a:moveTo>
                      <a:pt x="148" y="340"/>
                    </a:moveTo>
                    <a:lnTo>
                      <a:pt x="82" y="340"/>
                    </a:lnTo>
                    <a:lnTo>
                      <a:pt x="82" y="280"/>
                    </a:lnTo>
                    <a:lnTo>
                      <a:pt x="148" y="280"/>
                    </a:lnTo>
                    <a:lnTo>
                      <a:pt x="148" y="340"/>
                    </a:lnTo>
                    <a:close/>
                  </a:path>
                </a:pathLst>
              </a:custGeom>
              <a:solidFill>
                <a:schemeClr val="bg1">
                  <a:alpha val="70000"/>
                </a:schemeClr>
              </a:solidFill>
              <a:ln>
                <a:noFill/>
              </a:ln>
              <a:extLst/>
            </p:spPr>
            <p:txBody>
              <a:bodyPr vert="horz" wrap="square" lIns="91414" tIns="45706" rIns="91414" bIns="45706"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sz="1198">
                  <a:solidFill>
                    <a:srgbClr val="000000"/>
                  </a:solidFill>
                </a:endParaRPr>
              </a:p>
            </p:txBody>
          </p:sp>
          <p:sp>
            <p:nvSpPr>
              <p:cNvPr id="88" name="Freeform 87"/>
              <p:cNvSpPr>
                <a:spLocks noEditPoints="1"/>
              </p:cNvSpPr>
              <p:nvPr/>
            </p:nvSpPr>
            <p:spPr bwMode="auto">
              <a:xfrm>
                <a:off x="4389137" y="5619928"/>
                <a:ext cx="294995" cy="599556"/>
              </a:xfrm>
              <a:custGeom>
                <a:avLst/>
                <a:gdLst>
                  <a:gd name="T0" fmla="*/ 0 w 185"/>
                  <a:gd name="T1" fmla="*/ 0 h 376"/>
                  <a:gd name="T2" fmla="*/ 0 w 185"/>
                  <a:gd name="T3" fmla="*/ 376 h 376"/>
                  <a:gd name="T4" fmla="*/ 185 w 185"/>
                  <a:gd name="T5" fmla="*/ 376 h 376"/>
                  <a:gd name="T6" fmla="*/ 185 w 185"/>
                  <a:gd name="T7" fmla="*/ 0 h 376"/>
                  <a:gd name="T8" fmla="*/ 0 w 185"/>
                  <a:gd name="T9" fmla="*/ 0 h 376"/>
                  <a:gd name="T10" fmla="*/ 86 w 185"/>
                  <a:gd name="T11" fmla="*/ 304 h 376"/>
                  <a:gd name="T12" fmla="*/ 20 w 185"/>
                  <a:gd name="T13" fmla="*/ 304 h 376"/>
                  <a:gd name="T14" fmla="*/ 20 w 185"/>
                  <a:gd name="T15" fmla="*/ 244 h 376"/>
                  <a:gd name="T16" fmla="*/ 86 w 185"/>
                  <a:gd name="T17" fmla="*/ 244 h 376"/>
                  <a:gd name="T18" fmla="*/ 86 w 185"/>
                  <a:gd name="T19" fmla="*/ 304 h 376"/>
                  <a:gd name="T20" fmla="*/ 86 w 185"/>
                  <a:gd name="T21" fmla="*/ 230 h 376"/>
                  <a:gd name="T22" fmla="*/ 20 w 185"/>
                  <a:gd name="T23" fmla="*/ 230 h 376"/>
                  <a:gd name="T24" fmla="*/ 20 w 185"/>
                  <a:gd name="T25" fmla="*/ 171 h 376"/>
                  <a:gd name="T26" fmla="*/ 86 w 185"/>
                  <a:gd name="T27" fmla="*/ 171 h 376"/>
                  <a:gd name="T28" fmla="*/ 86 w 185"/>
                  <a:gd name="T29" fmla="*/ 230 h 376"/>
                  <a:gd name="T30" fmla="*/ 86 w 185"/>
                  <a:gd name="T31" fmla="*/ 157 h 376"/>
                  <a:gd name="T32" fmla="*/ 20 w 185"/>
                  <a:gd name="T33" fmla="*/ 157 h 376"/>
                  <a:gd name="T34" fmla="*/ 20 w 185"/>
                  <a:gd name="T35" fmla="*/ 98 h 376"/>
                  <a:gd name="T36" fmla="*/ 86 w 185"/>
                  <a:gd name="T37" fmla="*/ 98 h 376"/>
                  <a:gd name="T38" fmla="*/ 86 w 185"/>
                  <a:gd name="T39" fmla="*/ 157 h 376"/>
                  <a:gd name="T40" fmla="*/ 86 w 185"/>
                  <a:gd name="T41" fmla="*/ 85 h 376"/>
                  <a:gd name="T42" fmla="*/ 20 w 185"/>
                  <a:gd name="T43" fmla="*/ 85 h 376"/>
                  <a:gd name="T44" fmla="*/ 20 w 185"/>
                  <a:gd name="T45" fmla="*/ 25 h 376"/>
                  <a:gd name="T46" fmla="*/ 86 w 185"/>
                  <a:gd name="T47" fmla="*/ 25 h 376"/>
                  <a:gd name="T48" fmla="*/ 86 w 185"/>
                  <a:gd name="T49" fmla="*/ 85 h 376"/>
                  <a:gd name="T50" fmla="*/ 166 w 185"/>
                  <a:gd name="T51" fmla="*/ 304 h 376"/>
                  <a:gd name="T52" fmla="*/ 99 w 185"/>
                  <a:gd name="T53" fmla="*/ 304 h 376"/>
                  <a:gd name="T54" fmla="*/ 99 w 185"/>
                  <a:gd name="T55" fmla="*/ 244 h 376"/>
                  <a:gd name="T56" fmla="*/ 166 w 185"/>
                  <a:gd name="T57" fmla="*/ 244 h 376"/>
                  <a:gd name="T58" fmla="*/ 166 w 185"/>
                  <a:gd name="T59" fmla="*/ 304 h 376"/>
                  <a:gd name="T60" fmla="*/ 166 w 185"/>
                  <a:gd name="T61" fmla="*/ 230 h 376"/>
                  <a:gd name="T62" fmla="*/ 99 w 185"/>
                  <a:gd name="T63" fmla="*/ 230 h 376"/>
                  <a:gd name="T64" fmla="*/ 99 w 185"/>
                  <a:gd name="T65" fmla="*/ 171 h 376"/>
                  <a:gd name="T66" fmla="*/ 166 w 185"/>
                  <a:gd name="T67" fmla="*/ 171 h 376"/>
                  <a:gd name="T68" fmla="*/ 166 w 185"/>
                  <a:gd name="T69" fmla="*/ 230 h 376"/>
                  <a:gd name="T70" fmla="*/ 166 w 185"/>
                  <a:gd name="T71" fmla="*/ 157 h 376"/>
                  <a:gd name="T72" fmla="*/ 99 w 185"/>
                  <a:gd name="T73" fmla="*/ 157 h 376"/>
                  <a:gd name="T74" fmla="*/ 99 w 185"/>
                  <a:gd name="T75" fmla="*/ 98 h 376"/>
                  <a:gd name="T76" fmla="*/ 166 w 185"/>
                  <a:gd name="T77" fmla="*/ 98 h 376"/>
                  <a:gd name="T78" fmla="*/ 166 w 185"/>
                  <a:gd name="T79" fmla="*/ 157 h 376"/>
                  <a:gd name="T80" fmla="*/ 166 w 185"/>
                  <a:gd name="T81" fmla="*/ 85 h 376"/>
                  <a:gd name="T82" fmla="*/ 99 w 185"/>
                  <a:gd name="T83" fmla="*/ 85 h 376"/>
                  <a:gd name="T84" fmla="*/ 99 w 185"/>
                  <a:gd name="T85" fmla="*/ 25 h 376"/>
                  <a:gd name="T86" fmla="*/ 166 w 185"/>
                  <a:gd name="T87" fmla="*/ 25 h 376"/>
                  <a:gd name="T88" fmla="*/ 166 w 185"/>
                  <a:gd name="T89" fmla="*/ 85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5" h="376">
                    <a:moveTo>
                      <a:pt x="0" y="0"/>
                    </a:moveTo>
                    <a:lnTo>
                      <a:pt x="0" y="376"/>
                    </a:lnTo>
                    <a:lnTo>
                      <a:pt x="185" y="376"/>
                    </a:lnTo>
                    <a:lnTo>
                      <a:pt x="185" y="0"/>
                    </a:lnTo>
                    <a:lnTo>
                      <a:pt x="0" y="0"/>
                    </a:lnTo>
                    <a:close/>
                    <a:moveTo>
                      <a:pt x="86" y="304"/>
                    </a:moveTo>
                    <a:lnTo>
                      <a:pt x="20" y="304"/>
                    </a:lnTo>
                    <a:lnTo>
                      <a:pt x="20" y="244"/>
                    </a:lnTo>
                    <a:lnTo>
                      <a:pt x="86" y="244"/>
                    </a:lnTo>
                    <a:lnTo>
                      <a:pt x="86" y="304"/>
                    </a:lnTo>
                    <a:close/>
                    <a:moveTo>
                      <a:pt x="86" y="230"/>
                    </a:moveTo>
                    <a:lnTo>
                      <a:pt x="20" y="230"/>
                    </a:lnTo>
                    <a:lnTo>
                      <a:pt x="20" y="171"/>
                    </a:lnTo>
                    <a:lnTo>
                      <a:pt x="86" y="171"/>
                    </a:lnTo>
                    <a:lnTo>
                      <a:pt x="86" y="230"/>
                    </a:lnTo>
                    <a:close/>
                    <a:moveTo>
                      <a:pt x="86" y="157"/>
                    </a:moveTo>
                    <a:lnTo>
                      <a:pt x="20" y="157"/>
                    </a:lnTo>
                    <a:lnTo>
                      <a:pt x="20" y="98"/>
                    </a:lnTo>
                    <a:lnTo>
                      <a:pt x="86" y="98"/>
                    </a:lnTo>
                    <a:lnTo>
                      <a:pt x="86" y="157"/>
                    </a:lnTo>
                    <a:close/>
                    <a:moveTo>
                      <a:pt x="86" y="85"/>
                    </a:moveTo>
                    <a:lnTo>
                      <a:pt x="20" y="85"/>
                    </a:lnTo>
                    <a:lnTo>
                      <a:pt x="20" y="25"/>
                    </a:lnTo>
                    <a:lnTo>
                      <a:pt x="86" y="25"/>
                    </a:lnTo>
                    <a:lnTo>
                      <a:pt x="86" y="85"/>
                    </a:lnTo>
                    <a:close/>
                    <a:moveTo>
                      <a:pt x="166" y="304"/>
                    </a:moveTo>
                    <a:lnTo>
                      <a:pt x="99" y="304"/>
                    </a:lnTo>
                    <a:lnTo>
                      <a:pt x="99" y="244"/>
                    </a:lnTo>
                    <a:lnTo>
                      <a:pt x="166" y="244"/>
                    </a:lnTo>
                    <a:lnTo>
                      <a:pt x="166" y="304"/>
                    </a:lnTo>
                    <a:close/>
                    <a:moveTo>
                      <a:pt x="166" y="230"/>
                    </a:moveTo>
                    <a:lnTo>
                      <a:pt x="99" y="230"/>
                    </a:lnTo>
                    <a:lnTo>
                      <a:pt x="99" y="171"/>
                    </a:lnTo>
                    <a:lnTo>
                      <a:pt x="166" y="171"/>
                    </a:lnTo>
                    <a:lnTo>
                      <a:pt x="166" y="230"/>
                    </a:lnTo>
                    <a:close/>
                    <a:moveTo>
                      <a:pt x="166" y="157"/>
                    </a:moveTo>
                    <a:lnTo>
                      <a:pt x="99" y="157"/>
                    </a:lnTo>
                    <a:lnTo>
                      <a:pt x="99" y="98"/>
                    </a:lnTo>
                    <a:lnTo>
                      <a:pt x="166" y="98"/>
                    </a:lnTo>
                    <a:lnTo>
                      <a:pt x="166" y="157"/>
                    </a:lnTo>
                    <a:close/>
                    <a:moveTo>
                      <a:pt x="166" y="85"/>
                    </a:moveTo>
                    <a:lnTo>
                      <a:pt x="99" y="85"/>
                    </a:lnTo>
                    <a:lnTo>
                      <a:pt x="99" y="25"/>
                    </a:lnTo>
                    <a:lnTo>
                      <a:pt x="166" y="25"/>
                    </a:lnTo>
                    <a:lnTo>
                      <a:pt x="166" y="85"/>
                    </a:lnTo>
                    <a:close/>
                  </a:path>
                </a:pathLst>
              </a:custGeom>
              <a:solidFill>
                <a:schemeClr val="bg1"/>
              </a:solidFill>
              <a:ln>
                <a:noFill/>
              </a:ln>
              <a:extLst/>
            </p:spPr>
            <p:txBody>
              <a:bodyPr vert="horz" wrap="square" lIns="91414" tIns="45706" rIns="91414" bIns="45706"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sz="1198">
                  <a:solidFill>
                    <a:srgbClr val="000000"/>
                  </a:solidFill>
                </a:endParaRPr>
              </a:p>
            </p:txBody>
          </p:sp>
          <p:sp>
            <p:nvSpPr>
              <p:cNvPr id="90" name="Freeform 89"/>
              <p:cNvSpPr>
                <a:spLocks noEditPoints="1"/>
              </p:cNvSpPr>
              <p:nvPr/>
            </p:nvSpPr>
            <p:spPr bwMode="auto">
              <a:xfrm>
                <a:off x="2875241" y="5514687"/>
                <a:ext cx="261509" cy="704796"/>
              </a:xfrm>
              <a:custGeom>
                <a:avLst/>
                <a:gdLst>
                  <a:gd name="T0" fmla="*/ 148 w 164"/>
                  <a:gd name="T1" fmla="*/ 181 h 442"/>
                  <a:gd name="T2" fmla="*/ 148 w 164"/>
                  <a:gd name="T3" fmla="*/ 136 h 442"/>
                  <a:gd name="T4" fmla="*/ 123 w 164"/>
                  <a:gd name="T5" fmla="*/ 136 h 442"/>
                  <a:gd name="T6" fmla="*/ 123 w 164"/>
                  <a:gd name="T7" fmla="*/ 84 h 442"/>
                  <a:gd name="T8" fmla="*/ 101 w 164"/>
                  <a:gd name="T9" fmla="*/ 84 h 442"/>
                  <a:gd name="T10" fmla="*/ 101 w 164"/>
                  <a:gd name="T11" fmla="*/ 45 h 442"/>
                  <a:gd name="T12" fmla="*/ 87 w 164"/>
                  <a:gd name="T13" fmla="*/ 45 h 442"/>
                  <a:gd name="T14" fmla="*/ 87 w 164"/>
                  <a:gd name="T15" fmla="*/ 0 h 442"/>
                  <a:gd name="T16" fmla="*/ 77 w 164"/>
                  <a:gd name="T17" fmla="*/ 0 h 442"/>
                  <a:gd name="T18" fmla="*/ 77 w 164"/>
                  <a:gd name="T19" fmla="*/ 45 h 442"/>
                  <a:gd name="T20" fmla="*/ 63 w 164"/>
                  <a:gd name="T21" fmla="*/ 45 h 442"/>
                  <a:gd name="T22" fmla="*/ 63 w 164"/>
                  <a:gd name="T23" fmla="*/ 84 h 442"/>
                  <a:gd name="T24" fmla="*/ 41 w 164"/>
                  <a:gd name="T25" fmla="*/ 84 h 442"/>
                  <a:gd name="T26" fmla="*/ 41 w 164"/>
                  <a:gd name="T27" fmla="*/ 136 h 442"/>
                  <a:gd name="T28" fmla="*/ 16 w 164"/>
                  <a:gd name="T29" fmla="*/ 136 h 442"/>
                  <a:gd name="T30" fmla="*/ 16 w 164"/>
                  <a:gd name="T31" fmla="*/ 181 h 442"/>
                  <a:gd name="T32" fmla="*/ 0 w 164"/>
                  <a:gd name="T33" fmla="*/ 181 h 442"/>
                  <a:gd name="T34" fmla="*/ 0 w 164"/>
                  <a:gd name="T35" fmla="*/ 442 h 442"/>
                  <a:gd name="T36" fmla="*/ 164 w 164"/>
                  <a:gd name="T37" fmla="*/ 442 h 442"/>
                  <a:gd name="T38" fmla="*/ 164 w 164"/>
                  <a:gd name="T39" fmla="*/ 181 h 442"/>
                  <a:gd name="T40" fmla="*/ 148 w 164"/>
                  <a:gd name="T41" fmla="*/ 181 h 442"/>
                  <a:gd name="T42" fmla="*/ 16 w 164"/>
                  <a:gd name="T43" fmla="*/ 207 h 442"/>
                  <a:gd name="T44" fmla="*/ 82 w 164"/>
                  <a:gd name="T45" fmla="*/ 207 h 442"/>
                  <a:gd name="T46" fmla="*/ 82 w 164"/>
                  <a:gd name="T47" fmla="*/ 266 h 442"/>
                  <a:gd name="T48" fmla="*/ 16 w 164"/>
                  <a:gd name="T49" fmla="*/ 266 h 442"/>
                  <a:gd name="T50" fmla="*/ 16 w 164"/>
                  <a:gd name="T51" fmla="*/ 207 h 442"/>
                  <a:gd name="T52" fmla="*/ 82 w 164"/>
                  <a:gd name="T53" fmla="*/ 411 h 442"/>
                  <a:gd name="T54" fmla="*/ 16 w 164"/>
                  <a:gd name="T55" fmla="*/ 411 h 442"/>
                  <a:gd name="T56" fmla="*/ 16 w 164"/>
                  <a:gd name="T57" fmla="*/ 352 h 442"/>
                  <a:gd name="T58" fmla="*/ 82 w 164"/>
                  <a:gd name="T59" fmla="*/ 352 h 442"/>
                  <a:gd name="T60" fmla="*/ 82 w 164"/>
                  <a:gd name="T61" fmla="*/ 411 h 442"/>
                  <a:gd name="T62" fmla="*/ 148 w 164"/>
                  <a:gd name="T63" fmla="*/ 340 h 442"/>
                  <a:gd name="T64" fmla="*/ 82 w 164"/>
                  <a:gd name="T65" fmla="*/ 340 h 442"/>
                  <a:gd name="T66" fmla="*/ 82 w 164"/>
                  <a:gd name="T67" fmla="*/ 280 h 442"/>
                  <a:gd name="T68" fmla="*/ 148 w 164"/>
                  <a:gd name="T69" fmla="*/ 280 h 442"/>
                  <a:gd name="T70" fmla="*/ 148 w 164"/>
                  <a:gd name="T71" fmla="*/ 34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442">
                    <a:moveTo>
                      <a:pt x="148" y="181"/>
                    </a:moveTo>
                    <a:lnTo>
                      <a:pt x="148" y="136"/>
                    </a:lnTo>
                    <a:lnTo>
                      <a:pt x="123" y="136"/>
                    </a:lnTo>
                    <a:lnTo>
                      <a:pt x="123" y="84"/>
                    </a:lnTo>
                    <a:lnTo>
                      <a:pt x="101" y="84"/>
                    </a:lnTo>
                    <a:lnTo>
                      <a:pt x="101" y="45"/>
                    </a:lnTo>
                    <a:lnTo>
                      <a:pt x="87" y="45"/>
                    </a:lnTo>
                    <a:lnTo>
                      <a:pt x="87" y="0"/>
                    </a:lnTo>
                    <a:lnTo>
                      <a:pt x="77" y="0"/>
                    </a:lnTo>
                    <a:lnTo>
                      <a:pt x="77" y="45"/>
                    </a:lnTo>
                    <a:lnTo>
                      <a:pt x="63" y="45"/>
                    </a:lnTo>
                    <a:lnTo>
                      <a:pt x="63" y="84"/>
                    </a:lnTo>
                    <a:lnTo>
                      <a:pt x="41" y="84"/>
                    </a:lnTo>
                    <a:lnTo>
                      <a:pt x="41" y="136"/>
                    </a:lnTo>
                    <a:lnTo>
                      <a:pt x="16" y="136"/>
                    </a:lnTo>
                    <a:lnTo>
                      <a:pt x="16" y="181"/>
                    </a:lnTo>
                    <a:lnTo>
                      <a:pt x="0" y="181"/>
                    </a:lnTo>
                    <a:lnTo>
                      <a:pt x="0" y="442"/>
                    </a:lnTo>
                    <a:lnTo>
                      <a:pt x="164" y="442"/>
                    </a:lnTo>
                    <a:lnTo>
                      <a:pt x="164" y="181"/>
                    </a:lnTo>
                    <a:lnTo>
                      <a:pt x="148" y="181"/>
                    </a:lnTo>
                    <a:close/>
                    <a:moveTo>
                      <a:pt x="16" y="207"/>
                    </a:moveTo>
                    <a:lnTo>
                      <a:pt x="82" y="207"/>
                    </a:lnTo>
                    <a:lnTo>
                      <a:pt x="82" y="266"/>
                    </a:lnTo>
                    <a:lnTo>
                      <a:pt x="16" y="266"/>
                    </a:lnTo>
                    <a:lnTo>
                      <a:pt x="16" y="207"/>
                    </a:lnTo>
                    <a:close/>
                    <a:moveTo>
                      <a:pt x="82" y="411"/>
                    </a:moveTo>
                    <a:lnTo>
                      <a:pt x="16" y="411"/>
                    </a:lnTo>
                    <a:lnTo>
                      <a:pt x="16" y="352"/>
                    </a:lnTo>
                    <a:lnTo>
                      <a:pt x="82" y="352"/>
                    </a:lnTo>
                    <a:lnTo>
                      <a:pt x="82" y="411"/>
                    </a:lnTo>
                    <a:close/>
                    <a:moveTo>
                      <a:pt x="148" y="340"/>
                    </a:moveTo>
                    <a:lnTo>
                      <a:pt x="82" y="340"/>
                    </a:lnTo>
                    <a:lnTo>
                      <a:pt x="82" y="280"/>
                    </a:lnTo>
                    <a:lnTo>
                      <a:pt x="148" y="280"/>
                    </a:lnTo>
                    <a:lnTo>
                      <a:pt x="148" y="340"/>
                    </a:lnTo>
                    <a:close/>
                  </a:path>
                </a:pathLst>
              </a:custGeom>
              <a:solidFill>
                <a:schemeClr val="bg1">
                  <a:alpha val="70000"/>
                </a:schemeClr>
              </a:solidFill>
              <a:ln>
                <a:noFill/>
              </a:ln>
              <a:extLst/>
            </p:spPr>
            <p:txBody>
              <a:bodyPr vert="horz" wrap="square" lIns="91414" tIns="45706" rIns="91414" bIns="45706"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sz="1198">
                  <a:solidFill>
                    <a:srgbClr val="000000"/>
                  </a:solidFill>
                </a:endParaRPr>
              </a:p>
            </p:txBody>
          </p:sp>
          <p:sp>
            <p:nvSpPr>
              <p:cNvPr id="91" name="Freeform 90"/>
              <p:cNvSpPr>
                <a:spLocks noEditPoints="1"/>
              </p:cNvSpPr>
              <p:nvPr/>
            </p:nvSpPr>
            <p:spPr bwMode="auto">
              <a:xfrm>
                <a:off x="3489148" y="5667763"/>
                <a:ext cx="261509" cy="551720"/>
              </a:xfrm>
              <a:custGeom>
                <a:avLst/>
                <a:gdLst>
                  <a:gd name="T0" fmla="*/ 148 w 164"/>
                  <a:gd name="T1" fmla="*/ 181 h 346"/>
                  <a:gd name="T2" fmla="*/ 148 w 164"/>
                  <a:gd name="T3" fmla="*/ 136 h 346"/>
                  <a:gd name="T4" fmla="*/ 123 w 164"/>
                  <a:gd name="T5" fmla="*/ 136 h 346"/>
                  <a:gd name="T6" fmla="*/ 123 w 164"/>
                  <a:gd name="T7" fmla="*/ 82 h 346"/>
                  <a:gd name="T8" fmla="*/ 101 w 164"/>
                  <a:gd name="T9" fmla="*/ 82 h 346"/>
                  <a:gd name="T10" fmla="*/ 101 w 164"/>
                  <a:gd name="T11" fmla="*/ 45 h 346"/>
                  <a:gd name="T12" fmla="*/ 87 w 164"/>
                  <a:gd name="T13" fmla="*/ 45 h 346"/>
                  <a:gd name="T14" fmla="*/ 87 w 164"/>
                  <a:gd name="T15" fmla="*/ 0 h 346"/>
                  <a:gd name="T16" fmla="*/ 77 w 164"/>
                  <a:gd name="T17" fmla="*/ 0 h 346"/>
                  <a:gd name="T18" fmla="*/ 77 w 164"/>
                  <a:gd name="T19" fmla="*/ 45 h 346"/>
                  <a:gd name="T20" fmla="*/ 63 w 164"/>
                  <a:gd name="T21" fmla="*/ 45 h 346"/>
                  <a:gd name="T22" fmla="*/ 63 w 164"/>
                  <a:gd name="T23" fmla="*/ 82 h 346"/>
                  <a:gd name="T24" fmla="*/ 42 w 164"/>
                  <a:gd name="T25" fmla="*/ 82 h 346"/>
                  <a:gd name="T26" fmla="*/ 42 w 164"/>
                  <a:gd name="T27" fmla="*/ 136 h 346"/>
                  <a:gd name="T28" fmla="*/ 16 w 164"/>
                  <a:gd name="T29" fmla="*/ 136 h 346"/>
                  <a:gd name="T30" fmla="*/ 16 w 164"/>
                  <a:gd name="T31" fmla="*/ 181 h 346"/>
                  <a:gd name="T32" fmla="*/ 0 w 164"/>
                  <a:gd name="T33" fmla="*/ 181 h 346"/>
                  <a:gd name="T34" fmla="*/ 0 w 164"/>
                  <a:gd name="T35" fmla="*/ 346 h 346"/>
                  <a:gd name="T36" fmla="*/ 164 w 164"/>
                  <a:gd name="T37" fmla="*/ 346 h 346"/>
                  <a:gd name="T38" fmla="*/ 164 w 164"/>
                  <a:gd name="T39" fmla="*/ 181 h 346"/>
                  <a:gd name="T40" fmla="*/ 148 w 164"/>
                  <a:gd name="T41" fmla="*/ 181 h 346"/>
                  <a:gd name="T42" fmla="*/ 35 w 164"/>
                  <a:gd name="T43" fmla="*/ 158 h 346"/>
                  <a:gd name="T44" fmla="*/ 82 w 164"/>
                  <a:gd name="T45" fmla="*/ 158 h 346"/>
                  <a:gd name="T46" fmla="*/ 82 w 164"/>
                  <a:gd name="T47" fmla="*/ 200 h 346"/>
                  <a:gd name="T48" fmla="*/ 35 w 164"/>
                  <a:gd name="T49" fmla="*/ 200 h 346"/>
                  <a:gd name="T50" fmla="*/ 35 w 164"/>
                  <a:gd name="T51" fmla="*/ 158 h 346"/>
                  <a:gd name="T52" fmla="*/ 82 w 164"/>
                  <a:gd name="T53" fmla="*/ 302 h 346"/>
                  <a:gd name="T54" fmla="*/ 35 w 164"/>
                  <a:gd name="T55" fmla="*/ 302 h 346"/>
                  <a:gd name="T56" fmla="*/ 35 w 164"/>
                  <a:gd name="T57" fmla="*/ 260 h 346"/>
                  <a:gd name="T58" fmla="*/ 82 w 164"/>
                  <a:gd name="T59" fmla="*/ 260 h 346"/>
                  <a:gd name="T60" fmla="*/ 82 w 164"/>
                  <a:gd name="T61" fmla="*/ 302 h 346"/>
                  <a:gd name="T62" fmla="*/ 129 w 164"/>
                  <a:gd name="T63" fmla="*/ 251 h 346"/>
                  <a:gd name="T64" fmla="*/ 82 w 164"/>
                  <a:gd name="T65" fmla="*/ 251 h 346"/>
                  <a:gd name="T66" fmla="*/ 82 w 164"/>
                  <a:gd name="T67" fmla="*/ 209 h 346"/>
                  <a:gd name="T68" fmla="*/ 129 w 164"/>
                  <a:gd name="T69" fmla="*/ 209 h 346"/>
                  <a:gd name="T70" fmla="*/ 129 w 164"/>
                  <a:gd name="T71" fmla="*/ 251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346">
                    <a:moveTo>
                      <a:pt x="148" y="181"/>
                    </a:moveTo>
                    <a:lnTo>
                      <a:pt x="148" y="136"/>
                    </a:lnTo>
                    <a:lnTo>
                      <a:pt x="123" y="136"/>
                    </a:lnTo>
                    <a:lnTo>
                      <a:pt x="123" y="82"/>
                    </a:lnTo>
                    <a:lnTo>
                      <a:pt x="101" y="82"/>
                    </a:lnTo>
                    <a:lnTo>
                      <a:pt x="101" y="45"/>
                    </a:lnTo>
                    <a:lnTo>
                      <a:pt x="87" y="45"/>
                    </a:lnTo>
                    <a:lnTo>
                      <a:pt x="87" y="0"/>
                    </a:lnTo>
                    <a:lnTo>
                      <a:pt x="77" y="0"/>
                    </a:lnTo>
                    <a:lnTo>
                      <a:pt x="77" y="45"/>
                    </a:lnTo>
                    <a:lnTo>
                      <a:pt x="63" y="45"/>
                    </a:lnTo>
                    <a:lnTo>
                      <a:pt x="63" y="82"/>
                    </a:lnTo>
                    <a:lnTo>
                      <a:pt x="42" y="82"/>
                    </a:lnTo>
                    <a:lnTo>
                      <a:pt x="42" y="136"/>
                    </a:lnTo>
                    <a:lnTo>
                      <a:pt x="16" y="136"/>
                    </a:lnTo>
                    <a:lnTo>
                      <a:pt x="16" y="181"/>
                    </a:lnTo>
                    <a:lnTo>
                      <a:pt x="0" y="181"/>
                    </a:lnTo>
                    <a:lnTo>
                      <a:pt x="0" y="346"/>
                    </a:lnTo>
                    <a:lnTo>
                      <a:pt x="164" y="346"/>
                    </a:lnTo>
                    <a:lnTo>
                      <a:pt x="164" y="181"/>
                    </a:lnTo>
                    <a:lnTo>
                      <a:pt x="148" y="181"/>
                    </a:lnTo>
                    <a:close/>
                    <a:moveTo>
                      <a:pt x="35" y="158"/>
                    </a:moveTo>
                    <a:lnTo>
                      <a:pt x="82" y="158"/>
                    </a:lnTo>
                    <a:lnTo>
                      <a:pt x="82" y="200"/>
                    </a:lnTo>
                    <a:lnTo>
                      <a:pt x="35" y="200"/>
                    </a:lnTo>
                    <a:lnTo>
                      <a:pt x="35" y="158"/>
                    </a:lnTo>
                    <a:close/>
                    <a:moveTo>
                      <a:pt x="82" y="302"/>
                    </a:moveTo>
                    <a:lnTo>
                      <a:pt x="35" y="302"/>
                    </a:lnTo>
                    <a:lnTo>
                      <a:pt x="35" y="260"/>
                    </a:lnTo>
                    <a:lnTo>
                      <a:pt x="82" y="260"/>
                    </a:lnTo>
                    <a:lnTo>
                      <a:pt x="82" y="302"/>
                    </a:lnTo>
                    <a:close/>
                    <a:moveTo>
                      <a:pt x="129" y="251"/>
                    </a:moveTo>
                    <a:lnTo>
                      <a:pt x="82" y="251"/>
                    </a:lnTo>
                    <a:lnTo>
                      <a:pt x="82" y="209"/>
                    </a:lnTo>
                    <a:lnTo>
                      <a:pt x="129" y="209"/>
                    </a:lnTo>
                    <a:lnTo>
                      <a:pt x="129" y="251"/>
                    </a:lnTo>
                    <a:close/>
                  </a:path>
                </a:pathLst>
              </a:custGeom>
              <a:solidFill>
                <a:schemeClr val="bg1">
                  <a:alpha val="70000"/>
                </a:schemeClr>
              </a:solidFill>
              <a:ln>
                <a:noFill/>
              </a:ln>
              <a:extLst/>
            </p:spPr>
            <p:txBody>
              <a:bodyPr vert="horz" wrap="square" lIns="91414" tIns="45706" rIns="91414" bIns="45706"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sz="1198">
                  <a:solidFill>
                    <a:srgbClr val="000000"/>
                  </a:solidFill>
                </a:endParaRPr>
              </a:p>
            </p:txBody>
          </p:sp>
          <p:sp>
            <p:nvSpPr>
              <p:cNvPr id="92" name="Freeform 91"/>
              <p:cNvSpPr>
                <a:spLocks noEditPoints="1"/>
              </p:cNvSpPr>
              <p:nvPr/>
            </p:nvSpPr>
            <p:spPr bwMode="auto">
              <a:xfrm>
                <a:off x="3165453" y="5619928"/>
                <a:ext cx="294995" cy="599556"/>
              </a:xfrm>
              <a:custGeom>
                <a:avLst/>
                <a:gdLst>
                  <a:gd name="T0" fmla="*/ 0 w 185"/>
                  <a:gd name="T1" fmla="*/ 0 h 376"/>
                  <a:gd name="T2" fmla="*/ 0 w 185"/>
                  <a:gd name="T3" fmla="*/ 376 h 376"/>
                  <a:gd name="T4" fmla="*/ 185 w 185"/>
                  <a:gd name="T5" fmla="*/ 376 h 376"/>
                  <a:gd name="T6" fmla="*/ 185 w 185"/>
                  <a:gd name="T7" fmla="*/ 0 h 376"/>
                  <a:gd name="T8" fmla="*/ 0 w 185"/>
                  <a:gd name="T9" fmla="*/ 0 h 376"/>
                  <a:gd name="T10" fmla="*/ 86 w 185"/>
                  <a:gd name="T11" fmla="*/ 304 h 376"/>
                  <a:gd name="T12" fmla="*/ 20 w 185"/>
                  <a:gd name="T13" fmla="*/ 304 h 376"/>
                  <a:gd name="T14" fmla="*/ 20 w 185"/>
                  <a:gd name="T15" fmla="*/ 244 h 376"/>
                  <a:gd name="T16" fmla="*/ 86 w 185"/>
                  <a:gd name="T17" fmla="*/ 244 h 376"/>
                  <a:gd name="T18" fmla="*/ 86 w 185"/>
                  <a:gd name="T19" fmla="*/ 304 h 376"/>
                  <a:gd name="T20" fmla="*/ 86 w 185"/>
                  <a:gd name="T21" fmla="*/ 230 h 376"/>
                  <a:gd name="T22" fmla="*/ 20 w 185"/>
                  <a:gd name="T23" fmla="*/ 230 h 376"/>
                  <a:gd name="T24" fmla="*/ 20 w 185"/>
                  <a:gd name="T25" fmla="*/ 171 h 376"/>
                  <a:gd name="T26" fmla="*/ 86 w 185"/>
                  <a:gd name="T27" fmla="*/ 171 h 376"/>
                  <a:gd name="T28" fmla="*/ 86 w 185"/>
                  <a:gd name="T29" fmla="*/ 230 h 376"/>
                  <a:gd name="T30" fmla="*/ 86 w 185"/>
                  <a:gd name="T31" fmla="*/ 157 h 376"/>
                  <a:gd name="T32" fmla="*/ 20 w 185"/>
                  <a:gd name="T33" fmla="*/ 157 h 376"/>
                  <a:gd name="T34" fmla="*/ 20 w 185"/>
                  <a:gd name="T35" fmla="*/ 98 h 376"/>
                  <a:gd name="T36" fmla="*/ 86 w 185"/>
                  <a:gd name="T37" fmla="*/ 98 h 376"/>
                  <a:gd name="T38" fmla="*/ 86 w 185"/>
                  <a:gd name="T39" fmla="*/ 157 h 376"/>
                  <a:gd name="T40" fmla="*/ 86 w 185"/>
                  <a:gd name="T41" fmla="*/ 85 h 376"/>
                  <a:gd name="T42" fmla="*/ 20 w 185"/>
                  <a:gd name="T43" fmla="*/ 85 h 376"/>
                  <a:gd name="T44" fmla="*/ 20 w 185"/>
                  <a:gd name="T45" fmla="*/ 25 h 376"/>
                  <a:gd name="T46" fmla="*/ 86 w 185"/>
                  <a:gd name="T47" fmla="*/ 25 h 376"/>
                  <a:gd name="T48" fmla="*/ 86 w 185"/>
                  <a:gd name="T49" fmla="*/ 85 h 376"/>
                  <a:gd name="T50" fmla="*/ 166 w 185"/>
                  <a:gd name="T51" fmla="*/ 304 h 376"/>
                  <a:gd name="T52" fmla="*/ 99 w 185"/>
                  <a:gd name="T53" fmla="*/ 304 h 376"/>
                  <a:gd name="T54" fmla="*/ 99 w 185"/>
                  <a:gd name="T55" fmla="*/ 244 h 376"/>
                  <a:gd name="T56" fmla="*/ 166 w 185"/>
                  <a:gd name="T57" fmla="*/ 244 h 376"/>
                  <a:gd name="T58" fmla="*/ 166 w 185"/>
                  <a:gd name="T59" fmla="*/ 304 h 376"/>
                  <a:gd name="T60" fmla="*/ 166 w 185"/>
                  <a:gd name="T61" fmla="*/ 230 h 376"/>
                  <a:gd name="T62" fmla="*/ 99 w 185"/>
                  <a:gd name="T63" fmla="*/ 230 h 376"/>
                  <a:gd name="T64" fmla="*/ 99 w 185"/>
                  <a:gd name="T65" fmla="*/ 171 h 376"/>
                  <a:gd name="T66" fmla="*/ 166 w 185"/>
                  <a:gd name="T67" fmla="*/ 171 h 376"/>
                  <a:gd name="T68" fmla="*/ 166 w 185"/>
                  <a:gd name="T69" fmla="*/ 230 h 376"/>
                  <a:gd name="T70" fmla="*/ 166 w 185"/>
                  <a:gd name="T71" fmla="*/ 157 h 376"/>
                  <a:gd name="T72" fmla="*/ 99 w 185"/>
                  <a:gd name="T73" fmla="*/ 157 h 376"/>
                  <a:gd name="T74" fmla="*/ 99 w 185"/>
                  <a:gd name="T75" fmla="*/ 98 h 376"/>
                  <a:gd name="T76" fmla="*/ 166 w 185"/>
                  <a:gd name="T77" fmla="*/ 98 h 376"/>
                  <a:gd name="T78" fmla="*/ 166 w 185"/>
                  <a:gd name="T79" fmla="*/ 157 h 376"/>
                  <a:gd name="T80" fmla="*/ 166 w 185"/>
                  <a:gd name="T81" fmla="*/ 85 h 376"/>
                  <a:gd name="T82" fmla="*/ 99 w 185"/>
                  <a:gd name="T83" fmla="*/ 85 h 376"/>
                  <a:gd name="T84" fmla="*/ 99 w 185"/>
                  <a:gd name="T85" fmla="*/ 25 h 376"/>
                  <a:gd name="T86" fmla="*/ 166 w 185"/>
                  <a:gd name="T87" fmla="*/ 25 h 376"/>
                  <a:gd name="T88" fmla="*/ 166 w 185"/>
                  <a:gd name="T89" fmla="*/ 85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5" h="376">
                    <a:moveTo>
                      <a:pt x="0" y="0"/>
                    </a:moveTo>
                    <a:lnTo>
                      <a:pt x="0" y="376"/>
                    </a:lnTo>
                    <a:lnTo>
                      <a:pt x="185" y="376"/>
                    </a:lnTo>
                    <a:lnTo>
                      <a:pt x="185" y="0"/>
                    </a:lnTo>
                    <a:lnTo>
                      <a:pt x="0" y="0"/>
                    </a:lnTo>
                    <a:close/>
                    <a:moveTo>
                      <a:pt x="86" y="304"/>
                    </a:moveTo>
                    <a:lnTo>
                      <a:pt x="20" y="304"/>
                    </a:lnTo>
                    <a:lnTo>
                      <a:pt x="20" y="244"/>
                    </a:lnTo>
                    <a:lnTo>
                      <a:pt x="86" y="244"/>
                    </a:lnTo>
                    <a:lnTo>
                      <a:pt x="86" y="304"/>
                    </a:lnTo>
                    <a:close/>
                    <a:moveTo>
                      <a:pt x="86" y="230"/>
                    </a:moveTo>
                    <a:lnTo>
                      <a:pt x="20" y="230"/>
                    </a:lnTo>
                    <a:lnTo>
                      <a:pt x="20" y="171"/>
                    </a:lnTo>
                    <a:lnTo>
                      <a:pt x="86" y="171"/>
                    </a:lnTo>
                    <a:lnTo>
                      <a:pt x="86" y="230"/>
                    </a:lnTo>
                    <a:close/>
                    <a:moveTo>
                      <a:pt x="86" y="157"/>
                    </a:moveTo>
                    <a:lnTo>
                      <a:pt x="20" y="157"/>
                    </a:lnTo>
                    <a:lnTo>
                      <a:pt x="20" y="98"/>
                    </a:lnTo>
                    <a:lnTo>
                      <a:pt x="86" y="98"/>
                    </a:lnTo>
                    <a:lnTo>
                      <a:pt x="86" y="157"/>
                    </a:lnTo>
                    <a:close/>
                    <a:moveTo>
                      <a:pt x="86" y="85"/>
                    </a:moveTo>
                    <a:lnTo>
                      <a:pt x="20" y="85"/>
                    </a:lnTo>
                    <a:lnTo>
                      <a:pt x="20" y="25"/>
                    </a:lnTo>
                    <a:lnTo>
                      <a:pt x="86" y="25"/>
                    </a:lnTo>
                    <a:lnTo>
                      <a:pt x="86" y="85"/>
                    </a:lnTo>
                    <a:close/>
                    <a:moveTo>
                      <a:pt x="166" y="304"/>
                    </a:moveTo>
                    <a:lnTo>
                      <a:pt x="99" y="304"/>
                    </a:lnTo>
                    <a:lnTo>
                      <a:pt x="99" y="244"/>
                    </a:lnTo>
                    <a:lnTo>
                      <a:pt x="166" y="244"/>
                    </a:lnTo>
                    <a:lnTo>
                      <a:pt x="166" y="304"/>
                    </a:lnTo>
                    <a:close/>
                    <a:moveTo>
                      <a:pt x="166" y="230"/>
                    </a:moveTo>
                    <a:lnTo>
                      <a:pt x="99" y="230"/>
                    </a:lnTo>
                    <a:lnTo>
                      <a:pt x="99" y="171"/>
                    </a:lnTo>
                    <a:lnTo>
                      <a:pt x="166" y="171"/>
                    </a:lnTo>
                    <a:lnTo>
                      <a:pt x="166" y="230"/>
                    </a:lnTo>
                    <a:close/>
                    <a:moveTo>
                      <a:pt x="166" y="157"/>
                    </a:moveTo>
                    <a:lnTo>
                      <a:pt x="99" y="157"/>
                    </a:lnTo>
                    <a:lnTo>
                      <a:pt x="99" y="98"/>
                    </a:lnTo>
                    <a:lnTo>
                      <a:pt x="166" y="98"/>
                    </a:lnTo>
                    <a:lnTo>
                      <a:pt x="166" y="157"/>
                    </a:lnTo>
                    <a:close/>
                    <a:moveTo>
                      <a:pt x="166" y="85"/>
                    </a:moveTo>
                    <a:lnTo>
                      <a:pt x="99" y="85"/>
                    </a:lnTo>
                    <a:lnTo>
                      <a:pt x="99" y="25"/>
                    </a:lnTo>
                    <a:lnTo>
                      <a:pt x="166" y="25"/>
                    </a:lnTo>
                    <a:lnTo>
                      <a:pt x="166" y="85"/>
                    </a:lnTo>
                    <a:close/>
                  </a:path>
                </a:pathLst>
              </a:custGeom>
              <a:solidFill>
                <a:schemeClr val="bg1"/>
              </a:solidFill>
              <a:ln>
                <a:noFill/>
              </a:ln>
              <a:extLst/>
            </p:spPr>
            <p:txBody>
              <a:bodyPr vert="horz" wrap="square" lIns="91414" tIns="45706" rIns="91414" bIns="45706"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sz="1198">
                  <a:solidFill>
                    <a:srgbClr val="000000"/>
                  </a:solidFill>
                </a:endParaRPr>
              </a:p>
            </p:txBody>
          </p:sp>
          <p:sp>
            <p:nvSpPr>
              <p:cNvPr id="93" name="Freeform 92"/>
              <p:cNvSpPr>
                <a:spLocks noEditPoints="1"/>
              </p:cNvSpPr>
              <p:nvPr/>
            </p:nvSpPr>
            <p:spPr bwMode="auto">
              <a:xfrm>
                <a:off x="4716470" y="5567370"/>
                <a:ext cx="261509" cy="652113"/>
              </a:xfrm>
              <a:custGeom>
                <a:avLst/>
                <a:gdLst>
                  <a:gd name="T0" fmla="*/ 148 w 164"/>
                  <a:gd name="T1" fmla="*/ 181 h 442"/>
                  <a:gd name="T2" fmla="*/ 148 w 164"/>
                  <a:gd name="T3" fmla="*/ 136 h 442"/>
                  <a:gd name="T4" fmla="*/ 123 w 164"/>
                  <a:gd name="T5" fmla="*/ 136 h 442"/>
                  <a:gd name="T6" fmla="*/ 123 w 164"/>
                  <a:gd name="T7" fmla="*/ 84 h 442"/>
                  <a:gd name="T8" fmla="*/ 101 w 164"/>
                  <a:gd name="T9" fmla="*/ 84 h 442"/>
                  <a:gd name="T10" fmla="*/ 101 w 164"/>
                  <a:gd name="T11" fmla="*/ 45 h 442"/>
                  <a:gd name="T12" fmla="*/ 87 w 164"/>
                  <a:gd name="T13" fmla="*/ 45 h 442"/>
                  <a:gd name="T14" fmla="*/ 87 w 164"/>
                  <a:gd name="T15" fmla="*/ 0 h 442"/>
                  <a:gd name="T16" fmla="*/ 77 w 164"/>
                  <a:gd name="T17" fmla="*/ 0 h 442"/>
                  <a:gd name="T18" fmla="*/ 77 w 164"/>
                  <a:gd name="T19" fmla="*/ 45 h 442"/>
                  <a:gd name="T20" fmla="*/ 63 w 164"/>
                  <a:gd name="T21" fmla="*/ 45 h 442"/>
                  <a:gd name="T22" fmla="*/ 63 w 164"/>
                  <a:gd name="T23" fmla="*/ 84 h 442"/>
                  <a:gd name="T24" fmla="*/ 41 w 164"/>
                  <a:gd name="T25" fmla="*/ 84 h 442"/>
                  <a:gd name="T26" fmla="*/ 41 w 164"/>
                  <a:gd name="T27" fmla="*/ 136 h 442"/>
                  <a:gd name="T28" fmla="*/ 16 w 164"/>
                  <a:gd name="T29" fmla="*/ 136 h 442"/>
                  <a:gd name="T30" fmla="*/ 16 w 164"/>
                  <a:gd name="T31" fmla="*/ 181 h 442"/>
                  <a:gd name="T32" fmla="*/ 0 w 164"/>
                  <a:gd name="T33" fmla="*/ 181 h 442"/>
                  <a:gd name="T34" fmla="*/ 0 w 164"/>
                  <a:gd name="T35" fmla="*/ 442 h 442"/>
                  <a:gd name="T36" fmla="*/ 164 w 164"/>
                  <a:gd name="T37" fmla="*/ 442 h 442"/>
                  <a:gd name="T38" fmla="*/ 164 w 164"/>
                  <a:gd name="T39" fmla="*/ 181 h 442"/>
                  <a:gd name="T40" fmla="*/ 148 w 164"/>
                  <a:gd name="T41" fmla="*/ 181 h 442"/>
                  <a:gd name="T42" fmla="*/ 16 w 164"/>
                  <a:gd name="T43" fmla="*/ 207 h 442"/>
                  <a:gd name="T44" fmla="*/ 82 w 164"/>
                  <a:gd name="T45" fmla="*/ 207 h 442"/>
                  <a:gd name="T46" fmla="*/ 82 w 164"/>
                  <a:gd name="T47" fmla="*/ 266 h 442"/>
                  <a:gd name="T48" fmla="*/ 16 w 164"/>
                  <a:gd name="T49" fmla="*/ 266 h 442"/>
                  <a:gd name="T50" fmla="*/ 16 w 164"/>
                  <a:gd name="T51" fmla="*/ 207 h 442"/>
                  <a:gd name="T52" fmla="*/ 82 w 164"/>
                  <a:gd name="T53" fmla="*/ 411 h 442"/>
                  <a:gd name="T54" fmla="*/ 16 w 164"/>
                  <a:gd name="T55" fmla="*/ 411 h 442"/>
                  <a:gd name="T56" fmla="*/ 16 w 164"/>
                  <a:gd name="T57" fmla="*/ 352 h 442"/>
                  <a:gd name="T58" fmla="*/ 82 w 164"/>
                  <a:gd name="T59" fmla="*/ 352 h 442"/>
                  <a:gd name="T60" fmla="*/ 82 w 164"/>
                  <a:gd name="T61" fmla="*/ 411 h 442"/>
                  <a:gd name="T62" fmla="*/ 148 w 164"/>
                  <a:gd name="T63" fmla="*/ 340 h 442"/>
                  <a:gd name="T64" fmla="*/ 82 w 164"/>
                  <a:gd name="T65" fmla="*/ 340 h 442"/>
                  <a:gd name="T66" fmla="*/ 82 w 164"/>
                  <a:gd name="T67" fmla="*/ 280 h 442"/>
                  <a:gd name="T68" fmla="*/ 148 w 164"/>
                  <a:gd name="T69" fmla="*/ 280 h 442"/>
                  <a:gd name="T70" fmla="*/ 148 w 164"/>
                  <a:gd name="T71" fmla="*/ 34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442">
                    <a:moveTo>
                      <a:pt x="148" y="181"/>
                    </a:moveTo>
                    <a:lnTo>
                      <a:pt x="148" y="136"/>
                    </a:lnTo>
                    <a:lnTo>
                      <a:pt x="123" y="136"/>
                    </a:lnTo>
                    <a:lnTo>
                      <a:pt x="123" y="84"/>
                    </a:lnTo>
                    <a:lnTo>
                      <a:pt x="101" y="84"/>
                    </a:lnTo>
                    <a:lnTo>
                      <a:pt x="101" y="45"/>
                    </a:lnTo>
                    <a:lnTo>
                      <a:pt x="87" y="45"/>
                    </a:lnTo>
                    <a:lnTo>
                      <a:pt x="87" y="0"/>
                    </a:lnTo>
                    <a:lnTo>
                      <a:pt x="77" y="0"/>
                    </a:lnTo>
                    <a:lnTo>
                      <a:pt x="77" y="45"/>
                    </a:lnTo>
                    <a:lnTo>
                      <a:pt x="63" y="45"/>
                    </a:lnTo>
                    <a:lnTo>
                      <a:pt x="63" y="84"/>
                    </a:lnTo>
                    <a:lnTo>
                      <a:pt x="41" y="84"/>
                    </a:lnTo>
                    <a:lnTo>
                      <a:pt x="41" y="136"/>
                    </a:lnTo>
                    <a:lnTo>
                      <a:pt x="16" y="136"/>
                    </a:lnTo>
                    <a:lnTo>
                      <a:pt x="16" y="181"/>
                    </a:lnTo>
                    <a:lnTo>
                      <a:pt x="0" y="181"/>
                    </a:lnTo>
                    <a:lnTo>
                      <a:pt x="0" y="442"/>
                    </a:lnTo>
                    <a:lnTo>
                      <a:pt x="164" y="442"/>
                    </a:lnTo>
                    <a:lnTo>
                      <a:pt x="164" y="181"/>
                    </a:lnTo>
                    <a:lnTo>
                      <a:pt x="148" y="181"/>
                    </a:lnTo>
                    <a:close/>
                    <a:moveTo>
                      <a:pt x="16" y="207"/>
                    </a:moveTo>
                    <a:lnTo>
                      <a:pt x="82" y="207"/>
                    </a:lnTo>
                    <a:lnTo>
                      <a:pt x="82" y="266"/>
                    </a:lnTo>
                    <a:lnTo>
                      <a:pt x="16" y="266"/>
                    </a:lnTo>
                    <a:lnTo>
                      <a:pt x="16" y="207"/>
                    </a:lnTo>
                    <a:close/>
                    <a:moveTo>
                      <a:pt x="82" y="411"/>
                    </a:moveTo>
                    <a:lnTo>
                      <a:pt x="16" y="411"/>
                    </a:lnTo>
                    <a:lnTo>
                      <a:pt x="16" y="352"/>
                    </a:lnTo>
                    <a:lnTo>
                      <a:pt x="82" y="352"/>
                    </a:lnTo>
                    <a:lnTo>
                      <a:pt x="82" y="411"/>
                    </a:lnTo>
                    <a:close/>
                    <a:moveTo>
                      <a:pt x="148" y="340"/>
                    </a:moveTo>
                    <a:lnTo>
                      <a:pt x="82" y="340"/>
                    </a:lnTo>
                    <a:lnTo>
                      <a:pt x="82" y="280"/>
                    </a:lnTo>
                    <a:lnTo>
                      <a:pt x="148" y="280"/>
                    </a:lnTo>
                    <a:lnTo>
                      <a:pt x="148" y="340"/>
                    </a:lnTo>
                    <a:close/>
                  </a:path>
                </a:pathLst>
              </a:custGeom>
              <a:solidFill>
                <a:schemeClr val="bg1">
                  <a:alpha val="70000"/>
                </a:schemeClr>
              </a:solidFill>
              <a:ln>
                <a:noFill/>
              </a:ln>
              <a:extLst/>
            </p:spPr>
            <p:txBody>
              <a:bodyPr vert="horz" wrap="square" lIns="91414" tIns="45706" rIns="91414" bIns="45706"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sz="1198">
                  <a:solidFill>
                    <a:srgbClr val="000000"/>
                  </a:solidFill>
                </a:endParaRPr>
              </a:p>
            </p:txBody>
          </p:sp>
          <p:sp>
            <p:nvSpPr>
              <p:cNvPr id="95" name="Freeform 94"/>
              <p:cNvSpPr>
                <a:spLocks noEditPoints="1"/>
              </p:cNvSpPr>
              <p:nvPr/>
            </p:nvSpPr>
            <p:spPr bwMode="auto">
              <a:xfrm>
                <a:off x="5006682" y="5664744"/>
                <a:ext cx="294995" cy="554740"/>
              </a:xfrm>
              <a:custGeom>
                <a:avLst/>
                <a:gdLst>
                  <a:gd name="T0" fmla="*/ 0 w 185"/>
                  <a:gd name="T1" fmla="*/ 0 h 376"/>
                  <a:gd name="T2" fmla="*/ 0 w 185"/>
                  <a:gd name="T3" fmla="*/ 376 h 376"/>
                  <a:gd name="T4" fmla="*/ 185 w 185"/>
                  <a:gd name="T5" fmla="*/ 376 h 376"/>
                  <a:gd name="T6" fmla="*/ 185 w 185"/>
                  <a:gd name="T7" fmla="*/ 0 h 376"/>
                  <a:gd name="T8" fmla="*/ 0 w 185"/>
                  <a:gd name="T9" fmla="*/ 0 h 376"/>
                  <a:gd name="T10" fmla="*/ 86 w 185"/>
                  <a:gd name="T11" fmla="*/ 304 h 376"/>
                  <a:gd name="T12" fmla="*/ 20 w 185"/>
                  <a:gd name="T13" fmla="*/ 304 h 376"/>
                  <a:gd name="T14" fmla="*/ 20 w 185"/>
                  <a:gd name="T15" fmla="*/ 244 h 376"/>
                  <a:gd name="T16" fmla="*/ 86 w 185"/>
                  <a:gd name="T17" fmla="*/ 244 h 376"/>
                  <a:gd name="T18" fmla="*/ 86 w 185"/>
                  <a:gd name="T19" fmla="*/ 304 h 376"/>
                  <a:gd name="T20" fmla="*/ 86 w 185"/>
                  <a:gd name="T21" fmla="*/ 230 h 376"/>
                  <a:gd name="T22" fmla="*/ 20 w 185"/>
                  <a:gd name="T23" fmla="*/ 230 h 376"/>
                  <a:gd name="T24" fmla="*/ 20 w 185"/>
                  <a:gd name="T25" fmla="*/ 171 h 376"/>
                  <a:gd name="T26" fmla="*/ 86 w 185"/>
                  <a:gd name="T27" fmla="*/ 171 h 376"/>
                  <a:gd name="T28" fmla="*/ 86 w 185"/>
                  <a:gd name="T29" fmla="*/ 230 h 376"/>
                  <a:gd name="T30" fmla="*/ 86 w 185"/>
                  <a:gd name="T31" fmla="*/ 157 h 376"/>
                  <a:gd name="T32" fmla="*/ 20 w 185"/>
                  <a:gd name="T33" fmla="*/ 157 h 376"/>
                  <a:gd name="T34" fmla="*/ 20 w 185"/>
                  <a:gd name="T35" fmla="*/ 98 h 376"/>
                  <a:gd name="T36" fmla="*/ 86 w 185"/>
                  <a:gd name="T37" fmla="*/ 98 h 376"/>
                  <a:gd name="T38" fmla="*/ 86 w 185"/>
                  <a:gd name="T39" fmla="*/ 157 h 376"/>
                  <a:gd name="T40" fmla="*/ 86 w 185"/>
                  <a:gd name="T41" fmla="*/ 85 h 376"/>
                  <a:gd name="T42" fmla="*/ 20 w 185"/>
                  <a:gd name="T43" fmla="*/ 85 h 376"/>
                  <a:gd name="T44" fmla="*/ 20 w 185"/>
                  <a:gd name="T45" fmla="*/ 25 h 376"/>
                  <a:gd name="T46" fmla="*/ 86 w 185"/>
                  <a:gd name="T47" fmla="*/ 25 h 376"/>
                  <a:gd name="T48" fmla="*/ 86 w 185"/>
                  <a:gd name="T49" fmla="*/ 85 h 376"/>
                  <a:gd name="T50" fmla="*/ 166 w 185"/>
                  <a:gd name="T51" fmla="*/ 304 h 376"/>
                  <a:gd name="T52" fmla="*/ 99 w 185"/>
                  <a:gd name="T53" fmla="*/ 304 h 376"/>
                  <a:gd name="T54" fmla="*/ 99 w 185"/>
                  <a:gd name="T55" fmla="*/ 244 h 376"/>
                  <a:gd name="T56" fmla="*/ 166 w 185"/>
                  <a:gd name="T57" fmla="*/ 244 h 376"/>
                  <a:gd name="T58" fmla="*/ 166 w 185"/>
                  <a:gd name="T59" fmla="*/ 304 h 376"/>
                  <a:gd name="T60" fmla="*/ 166 w 185"/>
                  <a:gd name="T61" fmla="*/ 230 h 376"/>
                  <a:gd name="T62" fmla="*/ 99 w 185"/>
                  <a:gd name="T63" fmla="*/ 230 h 376"/>
                  <a:gd name="T64" fmla="*/ 99 w 185"/>
                  <a:gd name="T65" fmla="*/ 171 h 376"/>
                  <a:gd name="T66" fmla="*/ 166 w 185"/>
                  <a:gd name="T67" fmla="*/ 171 h 376"/>
                  <a:gd name="T68" fmla="*/ 166 w 185"/>
                  <a:gd name="T69" fmla="*/ 230 h 376"/>
                  <a:gd name="T70" fmla="*/ 166 w 185"/>
                  <a:gd name="T71" fmla="*/ 157 h 376"/>
                  <a:gd name="T72" fmla="*/ 99 w 185"/>
                  <a:gd name="T73" fmla="*/ 157 h 376"/>
                  <a:gd name="T74" fmla="*/ 99 w 185"/>
                  <a:gd name="T75" fmla="*/ 98 h 376"/>
                  <a:gd name="T76" fmla="*/ 166 w 185"/>
                  <a:gd name="T77" fmla="*/ 98 h 376"/>
                  <a:gd name="T78" fmla="*/ 166 w 185"/>
                  <a:gd name="T79" fmla="*/ 157 h 376"/>
                  <a:gd name="T80" fmla="*/ 166 w 185"/>
                  <a:gd name="T81" fmla="*/ 85 h 376"/>
                  <a:gd name="T82" fmla="*/ 99 w 185"/>
                  <a:gd name="T83" fmla="*/ 85 h 376"/>
                  <a:gd name="T84" fmla="*/ 99 w 185"/>
                  <a:gd name="T85" fmla="*/ 25 h 376"/>
                  <a:gd name="T86" fmla="*/ 166 w 185"/>
                  <a:gd name="T87" fmla="*/ 25 h 376"/>
                  <a:gd name="T88" fmla="*/ 166 w 185"/>
                  <a:gd name="T89" fmla="*/ 85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5" h="376">
                    <a:moveTo>
                      <a:pt x="0" y="0"/>
                    </a:moveTo>
                    <a:lnTo>
                      <a:pt x="0" y="376"/>
                    </a:lnTo>
                    <a:lnTo>
                      <a:pt x="185" y="376"/>
                    </a:lnTo>
                    <a:lnTo>
                      <a:pt x="185" y="0"/>
                    </a:lnTo>
                    <a:lnTo>
                      <a:pt x="0" y="0"/>
                    </a:lnTo>
                    <a:close/>
                    <a:moveTo>
                      <a:pt x="86" y="304"/>
                    </a:moveTo>
                    <a:lnTo>
                      <a:pt x="20" y="304"/>
                    </a:lnTo>
                    <a:lnTo>
                      <a:pt x="20" y="244"/>
                    </a:lnTo>
                    <a:lnTo>
                      <a:pt x="86" y="244"/>
                    </a:lnTo>
                    <a:lnTo>
                      <a:pt x="86" y="304"/>
                    </a:lnTo>
                    <a:close/>
                    <a:moveTo>
                      <a:pt x="86" y="230"/>
                    </a:moveTo>
                    <a:lnTo>
                      <a:pt x="20" y="230"/>
                    </a:lnTo>
                    <a:lnTo>
                      <a:pt x="20" y="171"/>
                    </a:lnTo>
                    <a:lnTo>
                      <a:pt x="86" y="171"/>
                    </a:lnTo>
                    <a:lnTo>
                      <a:pt x="86" y="230"/>
                    </a:lnTo>
                    <a:close/>
                    <a:moveTo>
                      <a:pt x="86" y="157"/>
                    </a:moveTo>
                    <a:lnTo>
                      <a:pt x="20" y="157"/>
                    </a:lnTo>
                    <a:lnTo>
                      <a:pt x="20" y="98"/>
                    </a:lnTo>
                    <a:lnTo>
                      <a:pt x="86" y="98"/>
                    </a:lnTo>
                    <a:lnTo>
                      <a:pt x="86" y="157"/>
                    </a:lnTo>
                    <a:close/>
                    <a:moveTo>
                      <a:pt x="86" y="85"/>
                    </a:moveTo>
                    <a:lnTo>
                      <a:pt x="20" y="85"/>
                    </a:lnTo>
                    <a:lnTo>
                      <a:pt x="20" y="25"/>
                    </a:lnTo>
                    <a:lnTo>
                      <a:pt x="86" y="25"/>
                    </a:lnTo>
                    <a:lnTo>
                      <a:pt x="86" y="85"/>
                    </a:lnTo>
                    <a:close/>
                    <a:moveTo>
                      <a:pt x="166" y="304"/>
                    </a:moveTo>
                    <a:lnTo>
                      <a:pt x="99" y="304"/>
                    </a:lnTo>
                    <a:lnTo>
                      <a:pt x="99" y="244"/>
                    </a:lnTo>
                    <a:lnTo>
                      <a:pt x="166" y="244"/>
                    </a:lnTo>
                    <a:lnTo>
                      <a:pt x="166" y="304"/>
                    </a:lnTo>
                    <a:close/>
                    <a:moveTo>
                      <a:pt x="166" y="230"/>
                    </a:moveTo>
                    <a:lnTo>
                      <a:pt x="99" y="230"/>
                    </a:lnTo>
                    <a:lnTo>
                      <a:pt x="99" y="171"/>
                    </a:lnTo>
                    <a:lnTo>
                      <a:pt x="166" y="171"/>
                    </a:lnTo>
                    <a:lnTo>
                      <a:pt x="166" y="230"/>
                    </a:lnTo>
                    <a:close/>
                    <a:moveTo>
                      <a:pt x="166" y="157"/>
                    </a:moveTo>
                    <a:lnTo>
                      <a:pt x="99" y="157"/>
                    </a:lnTo>
                    <a:lnTo>
                      <a:pt x="99" y="98"/>
                    </a:lnTo>
                    <a:lnTo>
                      <a:pt x="166" y="98"/>
                    </a:lnTo>
                    <a:lnTo>
                      <a:pt x="166" y="157"/>
                    </a:lnTo>
                    <a:close/>
                    <a:moveTo>
                      <a:pt x="166" y="85"/>
                    </a:moveTo>
                    <a:lnTo>
                      <a:pt x="99" y="85"/>
                    </a:lnTo>
                    <a:lnTo>
                      <a:pt x="99" y="25"/>
                    </a:lnTo>
                    <a:lnTo>
                      <a:pt x="166" y="25"/>
                    </a:lnTo>
                    <a:lnTo>
                      <a:pt x="166" y="85"/>
                    </a:lnTo>
                    <a:close/>
                  </a:path>
                </a:pathLst>
              </a:custGeom>
              <a:solidFill>
                <a:schemeClr val="bg1"/>
              </a:solidFill>
              <a:ln>
                <a:noFill/>
              </a:ln>
              <a:extLst/>
            </p:spPr>
            <p:txBody>
              <a:bodyPr vert="horz" wrap="square" lIns="91414" tIns="45706" rIns="91414" bIns="45706"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sz="1198">
                  <a:solidFill>
                    <a:srgbClr val="000000"/>
                  </a:solidFill>
                </a:endParaRPr>
              </a:p>
            </p:txBody>
          </p:sp>
          <p:sp>
            <p:nvSpPr>
              <p:cNvPr id="14" name="TextBox 13"/>
              <p:cNvSpPr txBox="1"/>
              <p:nvPr/>
            </p:nvSpPr>
            <p:spPr>
              <a:xfrm>
                <a:off x="2799700" y="4497168"/>
                <a:ext cx="1449887" cy="397874"/>
              </a:xfrm>
              <a:prstGeom prst="rect">
                <a:avLst/>
              </a:prstGeom>
              <a:noFill/>
            </p:spPr>
            <p:txBody>
              <a:bodyPr wrap="square" lIns="182828" tIns="146262" rIns="182828" bIns="146262" rtlCol="0">
                <a:noAutofit/>
              </a:bodyPr>
              <a:lstStyle/>
              <a:p>
                <a:pPr defTabSz="931505">
                  <a:lnSpc>
                    <a:spcPct val="90000"/>
                  </a:lnSpc>
                  <a:spcAft>
                    <a:spcPts val="600"/>
                  </a:spcAft>
                </a:pPr>
                <a:r>
                  <a:rPr lang="en-US" sz="1598" dirty="0">
                    <a:solidFill>
                      <a:srgbClr val="505050"/>
                    </a:solidFill>
                    <a:latin typeface="Segoe UI Semibold" panose="020B0702040204020203" pitchFamily="34" charset="0"/>
                    <a:cs typeface="Segoe UI Semibold" panose="020B0702040204020203" pitchFamily="34" charset="0"/>
                  </a:rPr>
                  <a:t>SQL Server</a:t>
                </a:r>
              </a:p>
            </p:txBody>
          </p:sp>
          <p:sp>
            <p:nvSpPr>
              <p:cNvPr id="112" name="Freeform 111"/>
              <p:cNvSpPr>
                <a:spLocks/>
              </p:cNvSpPr>
              <p:nvPr/>
            </p:nvSpPr>
            <p:spPr bwMode="auto">
              <a:xfrm flipH="1">
                <a:off x="4144836" y="3674910"/>
                <a:ext cx="1030878" cy="722987"/>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1">
                  <a:lumMod val="75000"/>
                </a:schemeClr>
              </a:solidFill>
              <a:ln>
                <a:noFill/>
              </a:ln>
            </p:spPr>
            <p:txBody>
              <a:bodyPr vert="horz" wrap="square" lIns="91414" tIns="45706" rIns="91414" bIns="45706" numCol="1" anchor="t" anchorCtr="0" compatLnSpc="1">
                <a:prstTxWarp prst="textNoShape">
                  <a:avLst/>
                </a:prstTxWarp>
              </a:bodyPr>
              <a:lstStyle/>
              <a:p>
                <a:pPr defTabSz="931505"/>
                <a:endParaRPr lang="en-IN">
                  <a:solidFill>
                    <a:srgbClr val="000000"/>
                  </a:solidFill>
                  <a:latin typeface="Segoe UI"/>
                  <a:cs typeface="+mn-cs"/>
                </a:endParaRPr>
              </a:p>
            </p:txBody>
          </p:sp>
          <p:sp>
            <p:nvSpPr>
              <p:cNvPr id="113" name="TextBox 112"/>
              <p:cNvSpPr txBox="1"/>
              <p:nvPr/>
            </p:nvSpPr>
            <p:spPr>
              <a:xfrm>
                <a:off x="4215037" y="4502717"/>
                <a:ext cx="1159612" cy="386777"/>
              </a:xfrm>
              <a:prstGeom prst="rect">
                <a:avLst/>
              </a:prstGeom>
              <a:noFill/>
            </p:spPr>
            <p:txBody>
              <a:bodyPr wrap="square" lIns="182828" tIns="146262" rIns="182828" bIns="146262" rtlCol="0">
                <a:noAutofit/>
              </a:bodyPr>
              <a:lstStyle/>
              <a:p>
                <a:pPr defTabSz="931505">
                  <a:lnSpc>
                    <a:spcPct val="90000"/>
                  </a:lnSpc>
                  <a:spcAft>
                    <a:spcPts val="600"/>
                  </a:spcAft>
                </a:pPr>
                <a:r>
                  <a:rPr lang="en-US" sz="1598" dirty="0">
                    <a:solidFill>
                      <a:srgbClr val="505050"/>
                    </a:solidFill>
                    <a:latin typeface="Segoe UI Semibold" panose="020B0702040204020203" pitchFamily="34" charset="0"/>
                    <a:cs typeface="Segoe UI Semibold" panose="020B0702040204020203" pitchFamily="34" charset="0"/>
                  </a:rPr>
                  <a:t>Hadoop</a:t>
                </a:r>
              </a:p>
            </p:txBody>
          </p:sp>
          <p:grpSp>
            <p:nvGrpSpPr>
              <p:cNvPr id="3" name="Group 2"/>
              <p:cNvGrpSpPr>
                <a:grpSpLocks noChangeAspect="1"/>
              </p:cNvGrpSpPr>
              <p:nvPr/>
            </p:nvGrpSpPr>
            <p:grpSpPr>
              <a:xfrm>
                <a:off x="3158883" y="3447945"/>
                <a:ext cx="731520" cy="949952"/>
                <a:chOff x="7716230" y="2584442"/>
                <a:chExt cx="822843" cy="1068544"/>
              </a:xfrm>
            </p:grpSpPr>
            <p:sp>
              <p:nvSpPr>
                <p:cNvPr id="74" name="Oval 73"/>
                <p:cNvSpPr>
                  <a:spLocks noChangeArrowheads="1"/>
                </p:cNvSpPr>
                <p:nvPr/>
              </p:nvSpPr>
              <p:spPr bwMode="auto">
                <a:xfrm>
                  <a:off x="7730307" y="2584442"/>
                  <a:ext cx="794690" cy="151004"/>
                </a:xfrm>
                <a:prstGeom prst="ellipse">
                  <a:avLst/>
                </a:prstGeom>
                <a:solidFill>
                  <a:srgbClr val="FF8C00"/>
                </a:solidFill>
                <a:ln>
                  <a:noFill/>
                </a:ln>
                <a:extLst/>
              </p:spPr>
              <p:txBody>
                <a:bodyPr vert="horz" wrap="square" lIns="91401" tIns="45700" rIns="91401" bIns="45700" numCol="1" anchor="t" anchorCtr="0" compatLnSpc="1">
                  <a:prstTxWarp prst="textNoShape">
                    <a:avLst/>
                  </a:prstTxWarp>
                </a:bodyPr>
                <a:lstStyle/>
                <a:p>
                  <a:pPr defTabSz="932239" fontAlgn="auto">
                    <a:spcBef>
                      <a:spcPts val="0"/>
                    </a:spcBef>
                    <a:spcAft>
                      <a:spcPts val="0"/>
                    </a:spcAft>
                    <a:defRPr/>
                  </a:pPr>
                  <a:endParaRPr lang="en-US" sz="1800" kern="0">
                    <a:solidFill>
                      <a:srgbClr val="FFFFFF"/>
                    </a:solidFill>
                    <a:latin typeface="Segoe UI"/>
                    <a:cs typeface="+mn-cs"/>
                  </a:endParaRPr>
                </a:p>
              </p:txBody>
            </p:sp>
            <p:sp>
              <p:nvSpPr>
                <p:cNvPr id="75" name="Freeform 123"/>
                <p:cNvSpPr>
                  <a:spLocks noEditPoints="1"/>
                </p:cNvSpPr>
                <p:nvPr/>
              </p:nvSpPr>
              <p:spPr bwMode="auto">
                <a:xfrm>
                  <a:off x="7716230" y="2689379"/>
                  <a:ext cx="822843" cy="963607"/>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FFC000"/>
                </a:solidFill>
                <a:ln>
                  <a:noFill/>
                </a:ln>
                <a:extLst/>
              </p:spPr>
              <p:txBody>
                <a:bodyPr vert="horz" wrap="square" lIns="91401" tIns="45700" rIns="91401" bIns="45700" numCol="1" anchor="t" anchorCtr="0" compatLnSpc="1">
                  <a:prstTxWarp prst="textNoShape">
                    <a:avLst/>
                  </a:prstTxWarp>
                </a:bodyPr>
                <a:lstStyle/>
                <a:p>
                  <a:pPr defTabSz="932239" fontAlgn="auto">
                    <a:spcBef>
                      <a:spcPts val="0"/>
                    </a:spcBef>
                    <a:spcAft>
                      <a:spcPts val="0"/>
                    </a:spcAft>
                    <a:defRPr/>
                  </a:pPr>
                  <a:endParaRPr lang="en-US" sz="1800" kern="0">
                    <a:solidFill>
                      <a:srgbClr val="FFFFFF"/>
                    </a:solidFill>
                    <a:latin typeface="Segoe UI"/>
                    <a:cs typeface="+mn-cs"/>
                  </a:endParaRPr>
                </a:p>
              </p:txBody>
            </p:sp>
          </p:grpSp>
          <p:sp>
            <p:nvSpPr>
              <p:cNvPr id="80" name="Freeform 79"/>
              <p:cNvSpPr>
                <a:spLocks/>
              </p:cNvSpPr>
              <p:nvPr/>
            </p:nvSpPr>
            <p:spPr bwMode="auto">
              <a:xfrm>
                <a:off x="4213629" y="2041758"/>
                <a:ext cx="1135092" cy="697497"/>
              </a:xfrm>
              <a:custGeom>
                <a:avLst/>
                <a:gdLst>
                  <a:gd name="T0" fmla="*/ 860 w 994"/>
                  <a:gd name="T1" fmla="*/ 342 h 610"/>
                  <a:gd name="T2" fmla="*/ 858 w 994"/>
                  <a:gd name="T3" fmla="*/ 342 h 610"/>
                  <a:gd name="T4" fmla="*/ 860 w 994"/>
                  <a:gd name="T5" fmla="*/ 305 h 610"/>
                  <a:gd name="T6" fmla="*/ 555 w 994"/>
                  <a:gd name="T7" fmla="*/ 0 h 610"/>
                  <a:gd name="T8" fmla="*/ 272 w 994"/>
                  <a:gd name="T9" fmla="*/ 193 h 610"/>
                  <a:gd name="T10" fmla="*/ 212 w 994"/>
                  <a:gd name="T11" fmla="*/ 185 h 610"/>
                  <a:gd name="T12" fmla="*/ 0 w 994"/>
                  <a:gd name="T13" fmla="*/ 397 h 610"/>
                  <a:gd name="T14" fmla="*/ 212 w 994"/>
                  <a:gd name="T15" fmla="*/ 610 h 610"/>
                  <a:gd name="T16" fmla="*/ 860 w 994"/>
                  <a:gd name="T17" fmla="*/ 610 h 610"/>
                  <a:gd name="T18" fmla="*/ 994 w 994"/>
                  <a:gd name="T19" fmla="*/ 476 h 610"/>
                  <a:gd name="T20" fmla="*/ 860 w 994"/>
                  <a:gd name="T21" fmla="*/ 342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4" h="610">
                    <a:moveTo>
                      <a:pt x="860" y="342"/>
                    </a:moveTo>
                    <a:cubicBezTo>
                      <a:pt x="859" y="342"/>
                      <a:pt x="858" y="342"/>
                      <a:pt x="858" y="342"/>
                    </a:cubicBezTo>
                    <a:cubicBezTo>
                      <a:pt x="859" y="330"/>
                      <a:pt x="860" y="318"/>
                      <a:pt x="860" y="305"/>
                    </a:cubicBezTo>
                    <a:cubicBezTo>
                      <a:pt x="860" y="137"/>
                      <a:pt x="723" y="0"/>
                      <a:pt x="555" y="0"/>
                    </a:cubicBezTo>
                    <a:cubicBezTo>
                      <a:pt x="426" y="0"/>
                      <a:pt x="316" y="80"/>
                      <a:pt x="272" y="193"/>
                    </a:cubicBezTo>
                    <a:cubicBezTo>
                      <a:pt x="253" y="188"/>
                      <a:pt x="233" y="185"/>
                      <a:pt x="212" y="185"/>
                    </a:cubicBezTo>
                    <a:cubicBezTo>
                      <a:pt x="95" y="185"/>
                      <a:pt x="0" y="280"/>
                      <a:pt x="0" y="397"/>
                    </a:cubicBezTo>
                    <a:cubicBezTo>
                      <a:pt x="0" y="515"/>
                      <a:pt x="95" y="610"/>
                      <a:pt x="212" y="610"/>
                    </a:cubicBezTo>
                    <a:cubicBezTo>
                      <a:pt x="860" y="610"/>
                      <a:pt x="860" y="610"/>
                      <a:pt x="860" y="610"/>
                    </a:cubicBezTo>
                    <a:cubicBezTo>
                      <a:pt x="934" y="610"/>
                      <a:pt x="994" y="550"/>
                      <a:pt x="994" y="476"/>
                    </a:cubicBezTo>
                    <a:cubicBezTo>
                      <a:pt x="994" y="402"/>
                      <a:pt x="934" y="342"/>
                      <a:pt x="860" y="342"/>
                    </a:cubicBezTo>
                    <a:close/>
                  </a:path>
                </a:pathLst>
              </a:custGeom>
              <a:solidFill>
                <a:schemeClr val="bg1">
                  <a:alpha val="66000"/>
                </a:schemeClr>
              </a:solidFill>
              <a:ln>
                <a:noFill/>
              </a:ln>
              <a:extLst/>
            </p:spPr>
            <p:txBody>
              <a:bodyPr vert="horz" wrap="square" lIns="91414" tIns="45706" rIns="91414" bIns="45706"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sz="1198" dirty="0">
                  <a:solidFill>
                    <a:srgbClr val="000000"/>
                  </a:solidFill>
                </a:endParaRPr>
              </a:p>
            </p:txBody>
          </p:sp>
        </p:grpSp>
      </p:grpSp>
      <p:grpSp>
        <p:nvGrpSpPr>
          <p:cNvPr id="23" name="Group 22"/>
          <p:cNvGrpSpPr/>
          <p:nvPr/>
        </p:nvGrpSpPr>
        <p:grpSpPr>
          <a:xfrm>
            <a:off x="5959047" y="2976561"/>
            <a:ext cx="1585426" cy="2065647"/>
            <a:chOff x="5684731" y="2928355"/>
            <a:chExt cx="1585650" cy="2201631"/>
          </a:xfrm>
        </p:grpSpPr>
        <p:sp>
          <p:nvSpPr>
            <p:cNvPr id="9" name="Vertical Scroll 8"/>
            <p:cNvSpPr/>
            <p:nvPr/>
          </p:nvSpPr>
          <p:spPr bwMode="auto">
            <a:xfrm>
              <a:off x="5684731" y="2928355"/>
              <a:ext cx="1585650" cy="2145293"/>
            </a:xfrm>
            <a:prstGeom prst="verticalScroll">
              <a:avLst/>
            </a:prstGeom>
            <a:solidFill>
              <a:schemeClr val="bg1"/>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342834" indent="-342834" algn="ctr" defTabSz="932293">
                <a:lnSpc>
                  <a:spcPct val="90000"/>
                </a:lnSpc>
                <a:buFont typeface="Wingdings 3" panose="05040102010807070707" pitchFamily="18" charset="2"/>
                <a:buChar char="Æ"/>
              </a:pPr>
              <a:endParaRPr lang="en-US" sz="2000" b="1" dirty="0" err="1">
                <a:solidFill>
                  <a:srgbClr val="FFFFFF"/>
                </a:solidFill>
                <a:latin typeface="Segoe UI Light"/>
                <a:ea typeface="Segoe UI" pitchFamily="34" charset="0"/>
                <a:cs typeface="Segoe UI" pitchFamily="34" charset="0"/>
              </a:endParaRPr>
            </a:p>
          </p:txBody>
        </p:sp>
        <p:sp>
          <p:nvSpPr>
            <p:cNvPr id="19" name="TextBox 18"/>
            <p:cNvSpPr txBox="1"/>
            <p:nvPr/>
          </p:nvSpPr>
          <p:spPr>
            <a:xfrm>
              <a:off x="5966737" y="3116321"/>
              <a:ext cx="1119283" cy="2013665"/>
            </a:xfrm>
            <a:prstGeom prst="rect">
              <a:avLst/>
            </a:prstGeom>
            <a:noFill/>
          </p:spPr>
          <p:txBody>
            <a:bodyPr wrap="none" lIns="91427" tIns="146283" rIns="182854" bIns="146283" rtlCol="0">
              <a:noAutofit/>
            </a:bodyPr>
            <a:lstStyle/>
            <a:p>
              <a:pPr defTabSz="931684">
                <a:lnSpc>
                  <a:spcPct val="90000"/>
                </a:lnSpc>
                <a:spcAft>
                  <a:spcPts val="600"/>
                </a:spcAft>
              </a:pPr>
              <a:r>
                <a:rPr lang="en-US" sz="1599" dirty="0">
                  <a:solidFill>
                    <a:srgbClr val="C00000"/>
                  </a:solidFill>
                  <a:latin typeface="Segoe UI"/>
                  <a:cs typeface="+mn-cs"/>
                </a:rPr>
                <a:t>Quote:</a:t>
              </a:r>
            </a:p>
            <a:p>
              <a:pPr defTabSz="931684">
                <a:lnSpc>
                  <a:spcPct val="90000"/>
                </a:lnSpc>
                <a:spcAft>
                  <a:spcPts val="600"/>
                </a:spcAft>
              </a:pPr>
              <a:endParaRPr lang="en-US" sz="600" dirty="0">
                <a:solidFill>
                  <a:srgbClr val="C00000"/>
                </a:solidFill>
                <a:latin typeface="Segoe UI"/>
                <a:cs typeface="+mn-cs"/>
              </a:endParaRPr>
            </a:p>
            <a:p>
              <a:pPr defTabSz="931684">
                <a:lnSpc>
                  <a:spcPct val="90000"/>
                </a:lnSpc>
                <a:spcAft>
                  <a:spcPts val="600"/>
                </a:spcAft>
              </a:pPr>
              <a:r>
                <a:rPr lang="en-US" sz="600" dirty="0">
                  <a:solidFill>
                    <a:srgbClr val="C00000"/>
                  </a:solidFill>
                  <a:latin typeface="Segoe UI"/>
                  <a:cs typeface="+mn-cs"/>
                </a:rPr>
                <a:t>************************</a:t>
              </a:r>
            </a:p>
            <a:p>
              <a:pPr defTabSz="931684">
                <a:lnSpc>
                  <a:spcPct val="90000"/>
                </a:lnSpc>
                <a:spcAft>
                  <a:spcPts val="600"/>
                </a:spcAft>
              </a:pPr>
              <a:r>
                <a:rPr lang="en-US" sz="600" dirty="0">
                  <a:solidFill>
                    <a:srgbClr val="C00000"/>
                  </a:solidFill>
                  <a:latin typeface="Segoe UI"/>
                  <a:cs typeface="+mn-cs"/>
                </a:rPr>
                <a:t>**********************</a:t>
              </a:r>
            </a:p>
            <a:p>
              <a:pPr defTabSz="931684">
                <a:lnSpc>
                  <a:spcPct val="90000"/>
                </a:lnSpc>
                <a:spcAft>
                  <a:spcPts val="600"/>
                </a:spcAft>
              </a:pPr>
              <a:r>
                <a:rPr lang="en-US" sz="600" dirty="0">
                  <a:solidFill>
                    <a:srgbClr val="C00000"/>
                  </a:solidFill>
                  <a:latin typeface="Segoe UI"/>
                  <a:cs typeface="+mn-cs"/>
                </a:rPr>
                <a:t>*********************</a:t>
              </a:r>
            </a:p>
            <a:p>
              <a:pPr defTabSz="931684">
                <a:lnSpc>
                  <a:spcPct val="90000"/>
                </a:lnSpc>
                <a:spcAft>
                  <a:spcPts val="600"/>
                </a:spcAft>
              </a:pPr>
              <a:r>
                <a:rPr lang="en-US" sz="600" dirty="0">
                  <a:solidFill>
                    <a:srgbClr val="C00000"/>
                  </a:solidFill>
                  <a:latin typeface="Segoe UI"/>
                  <a:cs typeface="+mn-cs"/>
                </a:rPr>
                <a:t>**********************</a:t>
              </a:r>
            </a:p>
            <a:p>
              <a:pPr defTabSz="931684">
                <a:lnSpc>
                  <a:spcPct val="90000"/>
                </a:lnSpc>
                <a:spcAft>
                  <a:spcPts val="1224"/>
                </a:spcAft>
              </a:pPr>
              <a:r>
                <a:rPr lang="en-US" sz="600" dirty="0">
                  <a:solidFill>
                    <a:srgbClr val="C00000"/>
                  </a:solidFill>
                  <a:latin typeface="Segoe UI"/>
                  <a:cs typeface="+mn-cs"/>
                </a:rPr>
                <a:t>***********************</a:t>
              </a:r>
            </a:p>
            <a:p>
              <a:pPr defTabSz="931684">
                <a:lnSpc>
                  <a:spcPct val="90000"/>
                </a:lnSpc>
                <a:spcAft>
                  <a:spcPts val="600"/>
                </a:spcAft>
              </a:pPr>
              <a:r>
                <a:rPr lang="en-US" sz="1399" dirty="0">
                  <a:solidFill>
                    <a:srgbClr val="C00000"/>
                  </a:solidFill>
                  <a:latin typeface="Segoe UI"/>
                  <a:cs typeface="+mn-cs"/>
                </a:rPr>
                <a:t>   $658.39</a:t>
              </a:r>
            </a:p>
            <a:p>
              <a:pPr defTabSz="931684">
                <a:lnSpc>
                  <a:spcPct val="90000"/>
                </a:lnSpc>
                <a:spcAft>
                  <a:spcPts val="600"/>
                </a:spcAft>
              </a:pPr>
              <a:endParaRPr lang="en-US" sz="600" dirty="0">
                <a:solidFill>
                  <a:srgbClr val="C00000"/>
                </a:solidFill>
                <a:latin typeface="Segoe UI"/>
                <a:cs typeface="+mn-cs"/>
              </a:endParaRPr>
            </a:p>
          </p:txBody>
        </p:sp>
      </p:grpSp>
      <p:cxnSp>
        <p:nvCxnSpPr>
          <p:cNvPr id="56" name="Straight Connector 55"/>
          <p:cNvCxnSpPr/>
          <p:nvPr/>
        </p:nvCxnSpPr>
        <p:spPr>
          <a:xfrm flipH="1">
            <a:off x="1867694" y="4399535"/>
            <a:ext cx="1527449" cy="843093"/>
          </a:xfrm>
          <a:prstGeom prst="line">
            <a:avLst/>
          </a:prstGeom>
          <a:ln w="15875">
            <a:solidFill>
              <a:srgbClr val="C00000"/>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10" name="Group 9"/>
          <p:cNvGrpSpPr/>
          <p:nvPr/>
        </p:nvGrpSpPr>
        <p:grpSpPr>
          <a:xfrm>
            <a:off x="607116" y="5311244"/>
            <a:ext cx="2216733" cy="864539"/>
            <a:chOff x="674253" y="2084119"/>
            <a:chExt cx="2173465" cy="847664"/>
          </a:xfrm>
        </p:grpSpPr>
        <p:sp>
          <p:nvSpPr>
            <p:cNvPr id="44" name="Rectangle 43"/>
            <p:cNvSpPr/>
            <p:nvPr/>
          </p:nvSpPr>
          <p:spPr bwMode="auto">
            <a:xfrm>
              <a:off x="674253" y="2363141"/>
              <a:ext cx="896425" cy="279022"/>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49" tIns="36566" rIns="0" bIns="146262" numCol="1" spcCol="0" rtlCol="0" fromWordArt="0" anchor="t" anchorCtr="0" forceAA="0" compatLnSpc="1">
              <a:prstTxWarp prst="textNoShape">
                <a:avLst/>
              </a:prstTxWarp>
              <a:noAutofit/>
            </a:bodyPr>
            <a:lstStyle/>
            <a:p>
              <a:pPr defTabSz="932205" fontAlgn="auto">
                <a:spcBef>
                  <a:spcPts val="0"/>
                </a:spcBef>
                <a:spcAft>
                  <a:spcPts val="0"/>
                </a:spcAft>
              </a:pPr>
              <a:r>
                <a:rPr lang="en-US" sz="1398" dirty="0">
                  <a:solidFill>
                    <a:srgbClr val="000000"/>
                  </a:solidFill>
                </a:rPr>
                <a:t>Jim Gray</a:t>
              </a:r>
            </a:p>
          </p:txBody>
        </p:sp>
        <p:sp>
          <p:nvSpPr>
            <p:cNvPr id="45" name="Rectangle 44"/>
            <p:cNvSpPr/>
            <p:nvPr/>
          </p:nvSpPr>
          <p:spPr bwMode="auto">
            <a:xfrm>
              <a:off x="674253" y="2084119"/>
              <a:ext cx="896425" cy="279022"/>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49" tIns="54849" rIns="0" bIns="146262" numCol="1" spcCol="0" rtlCol="0" fromWordArt="0" anchor="t" anchorCtr="0" forceAA="0" compatLnSpc="1">
              <a:prstTxWarp prst="textNoShape">
                <a:avLst/>
              </a:prstTxWarp>
              <a:noAutofit/>
            </a:bodyPr>
            <a:lstStyle/>
            <a:p>
              <a:pPr defTabSz="932205" fontAlgn="auto">
                <a:spcBef>
                  <a:spcPts val="0"/>
                </a:spcBef>
                <a:spcAft>
                  <a:spcPts val="0"/>
                </a:spcAft>
              </a:pPr>
              <a:r>
                <a:rPr lang="en-US" sz="1198" dirty="0">
                  <a:solidFill>
                    <a:srgbClr val="FFFFFF"/>
                  </a:solidFill>
                  <a:latin typeface="Segoe UI Semibold" panose="020B0702040204020203" pitchFamily="34" charset="0"/>
                  <a:cs typeface="Segoe UI Semibold" panose="020B0702040204020203" pitchFamily="34" charset="0"/>
                </a:rPr>
                <a:t>Name</a:t>
              </a:r>
            </a:p>
          </p:txBody>
        </p:sp>
        <p:sp>
          <p:nvSpPr>
            <p:cNvPr id="46" name="Rectangle 45"/>
            <p:cNvSpPr/>
            <p:nvPr/>
          </p:nvSpPr>
          <p:spPr bwMode="auto">
            <a:xfrm>
              <a:off x="1581403" y="2363141"/>
              <a:ext cx="806782" cy="279022"/>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49" tIns="36566" rIns="0" bIns="146262" numCol="1" spcCol="0" rtlCol="0" fromWordArt="0" anchor="t" anchorCtr="0" forceAA="0" compatLnSpc="1">
              <a:prstTxWarp prst="textNoShape">
                <a:avLst/>
              </a:prstTxWarp>
              <a:noAutofit/>
            </a:bodyPr>
            <a:lstStyle/>
            <a:p>
              <a:pPr defTabSz="932205" fontAlgn="auto">
                <a:spcBef>
                  <a:spcPts val="0"/>
                </a:spcBef>
                <a:spcAft>
                  <a:spcPts val="0"/>
                </a:spcAft>
              </a:pPr>
              <a:r>
                <a:rPr lang="en-US" sz="1398" dirty="0">
                  <a:solidFill>
                    <a:srgbClr val="000000"/>
                  </a:solidFill>
                </a:rPr>
                <a:t>11/13/58</a:t>
              </a:r>
            </a:p>
          </p:txBody>
        </p:sp>
        <p:sp>
          <p:nvSpPr>
            <p:cNvPr id="47" name="Rectangle 46"/>
            <p:cNvSpPr/>
            <p:nvPr/>
          </p:nvSpPr>
          <p:spPr bwMode="auto">
            <a:xfrm>
              <a:off x="1581403" y="2084119"/>
              <a:ext cx="806782" cy="279022"/>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49" tIns="54849" rIns="0" bIns="146262" numCol="1" spcCol="0" rtlCol="0" fromWordArt="0" anchor="t" anchorCtr="0" forceAA="0" compatLnSpc="1">
              <a:prstTxWarp prst="textNoShape">
                <a:avLst/>
              </a:prstTxWarp>
              <a:noAutofit/>
            </a:bodyPr>
            <a:lstStyle/>
            <a:p>
              <a:pPr defTabSz="932205" fontAlgn="auto">
                <a:spcBef>
                  <a:spcPts val="0"/>
                </a:spcBef>
                <a:spcAft>
                  <a:spcPts val="0"/>
                </a:spcAft>
              </a:pPr>
              <a:r>
                <a:rPr lang="en-US" sz="1198" dirty="0">
                  <a:solidFill>
                    <a:srgbClr val="FFFFFF"/>
                  </a:solidFill>
                  <a:latin typeface="Segoe UI Semibold" panose="020B0702040204020203" pitchFamily="34" charset="0"/>
                  <a:cs typeface="Segoe UI Semibold" panose="020B0702040204020203" pitchFamily="34" charset="0"/>
                </a:rPr>
                <a:t>DOB		</a:t>
              </a:r>
            </a:p>
          </p:txBody>
        </p:sp>
        <p:sp>
          <p:nvSpPr>
            <p:cNvPr id="48" name="Rectangle 47"/>
            <p:cNvSpPr/>
            <p:nvPr/>
          </p:nvSpPr>
          <p:spPr bwMode="auto">
            <a:xfrm>
              <a:off x="2399506" y="2363141"/>
              <a:ext cx="448212" cy="279022"/>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49" tIns="36566" rIns="0" bIns="146262" numCol="1" spcCol="0" rtlCol="0" fromWordArt="0" anchor="t" anchorCtr="0" forceAA="0" compatLnSpc="1">
              <a:prstTxWarp prst="textNoShape">
                <a:avLst/>
              </a:prstTxWarp>
              <a:noAutofit/>
            </a:bodyPr>
            <a:lstStyle/>
            <a:p>
              <a:pPr defTabSz="932205" fontAlgn="auto">
                <a:spcBef>
                  <a:spcPts val="0"/>
                </a:spcBef>
                <a:spcAft>
                  <a:spcPts val="0"/>
                </a:spcAft>
              </a:pPr>
              <a:r>
                <a:rPr lang="en-US" sz="1398" dirty="0">
                  <a:solidFill>
                    <a:srgbClr val="000000"/>
                  </a:solidFill>
                </a:rPr>
                <a:t>WA</a:t>
              </a:r>
            </a:p>
          </p:txBody>
        </p:sp>
        <p:sp>
          <p:nvSpPr>
            <p:cNvPr id="49" name="Rectangle 48"/>
            <p:cNvSpPr/>
            <p:nvPr/>
          </p:nvSpPr>
          <p:spPr bwMode="auto">
            <a:xfrm>
              <a:off x="2399506" y="2084119"/>
              <a:ext cx="448212" cy="279022"/>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49" tIns="54849" rIns="0" bIns="146262" numCol="1" spcCol="0" rtlCol="0" fromWordArt="0" anchor="t" anchorCtr="0" forceAA="0" compatLnSpc="1">
              <a:prstTxWarp prst="textNoShape">
                <a:avLst/>
              </a:prstTxWarp>
              <a:noAutofit/>
            </a:bodyPr>
            <a:lstStyle/>
            <a:p>
              <a:pPr defTabSz="932205" fontAlgn="auto">
                <a:spcBef>
                  <a:spcPts val="0"/>
                </a:spcBef>
                <a:spcAft>
                  <a:spcPts val="0"/>
                </a:spcAft>
              </a:pPr>
              <a:r>
                <a:rPr lang="en-US" sz="1198" dirty="0">
                  <a:solidFill>
                    <a:srgbClr val="FFFFFF"/>
                  </a:solidFill>
                  <a:latin typeface="Segoe UI Semibold" panose="020B0702040204020203" pitchFamily="34" charset="0"/>
                  <a:cs typeface="Segoe UI Semibold" panose="020B0702040204020203" pitchFamily="34" charset="0"/>
                </a:rPr>
                <a:t>State</a:t>
              </a:r>
            </a:p>
          </p:txBody>
        </p:sp>
        <p:sp>
          <p:nvSpPr>
            <p:cNvPr id="53" name="Rectangle 52"/>
            <p:cNvSpPr/>
            <p:nvPr/>
          </p:nvSpPr>
          <p:spPr bwMode="auto">
            <a:xfrm>
              <a:off x="674253" y="2652761"/>
              <a:ext cx="896425" cy="279022"/>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49" tIns="36566" rIns="0" bIns="146262" numCol="1" spcCol="0" rtlCol="0" fromWordArt="0" anchor="t" anchorCtr="0" forceAA="0" compatLnSpc="1">
              <a:prstTxWarp prst="textNoShape">
                <a:avLst/>
              </a:prstTxWarp>
              <a:noAutofit/>
            </a:bodyPr>
            <a:lstStyle/>
            <a:p>
              <a:pPr defTabSz="932205" fontAlgn="auto">
                <a:spcBef>
                  <a:spcPts val="0"/>
                </a:spcBef>
                <a:spcAft>
                  <a:spcPts val="0"/>
                </a:spcAft>
              </a:pPr>
              <a:r>
                <a:rPr lang="en-US" sz="1398" dirty="0">
                  <a:solidFill>
                    <a:srgbClr val="000000"/>
                  </a:solidFill>
                </a:rPr>
                <a:t>Ann Smith</a:t>
              </a:r>
            </a:p>
          </p:txBody>
        </p:sp>
        <p:sp>
          <p:nvSpPr>
            <p:cNvPr id="54" name="Rectangle 53"/>
            <p:cNvSpPr/>
            <p:nvPr/>
          </p:nvSpPr>
          <p:spPr bwMode="auto">
            <a:xfrm>
              <a:off x="1581403" y="2652761"/>
              <a:ext cx="806782" cy="279022"/>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49" tIns="36566" rIns="0" bIns="146262" numCol="1" spcCol="0" rtlCol="0" fromWordArt="0" anchor="t" anchorCtr="0" forceAA="0" compatLnSpc="1">
              <a:prstTxWarp prst="textNoShape">
                <a:avLst/>
              </a:prstTxWarp>
              <a:noAutofit/>
            </a:bodyPr>
            <a:lstStyle/>
            <a:p>
              <a:pPr defTabSz="932205" fontAlgn="auto">
                <a:spcBef>
                  <a:spcPts val="0"/>
                </a:spcBef>
                <a:spcAft>
                  <a:spcPts val="0"/>
                </a:spcAft>
              </a:pPr>
              <a:r>
                <a:rPr lang="en-US" sz="1398" dirty="0">
                  <a:solidFill>
                    <a:srgbClr val="000000"/>
                  </a:solidFill>
                </a:rPr>
                <a:t>04/29/76</a:t>
              </a:r>
            </a:p>
          </p:txBody>
        </p:sp>
        <p:sp>
          <p:nvSpPr>
            <p:cNvPr id="55" name="Rectangle 54"/>
            <p:cNvSpPr/>
            <p:nvPr/>
          </p:nvSpPr>
          <p:spPr bwMode="auto">
            <a:xfrm>
              <a:off x="2399506" y="2652761"/>
              <a:ext cx="448212" cy="279022"/>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49" tIns="36566" rIns="0" bIns="146262" numCol="1" spcCol="0" rtlCol="0" fromWordArt="0" anchor="t" anchorCtr="0" forceAA="0" compatLnSpc="1">
              <a:prstTxWarp prst="textNoShape">
                <a:avLst/>
              </a:prstTxWarp>
              <a:noAutofit/>
            </a:bodyPr>
            <a:lstStyle/>
            <a:p>
              <a:pPr defTabSz="932205" fontAlgn="auto">
                <a:spcBef>
                  <a:spcPts val="0"/>
                </a:spcBef>
                <a:spcAft>
                  <a:spcPts val="0"/>
                </a:spcAft>
              </a:pPr>
              <a:r>
                <a:rPr lang="en-US" sz="1398" dirty="0">
                  <a:solidFill>
                    <a:srgbClr val="000000"/>
                  </a:solidFill>
                </a:rPr>
                <a:t>ME</a:t>
              </a:r>
            </a:p>
          </p:txBody>
        </p:sp>
      </p:grpSp>
      <p:cxnSp>
        <p:nvCxnSpPr>
          <p:cNvPr id="58" name="Straight Connector 57"/>
          <p:cNvCxnSpPr/>
          <p:nvPr/>
        </p:nvCxnSpPr>
        <p:spPr>
          <a:xfrm flipH="1" flipV="1">
            <a:off x="5329066" y="4445896"/>
            <a:ext cx="738234" cy="1101198"/>
          </a:xfrm>
          <a:prstGeom prst="line">
            <a:avLst/>
          </a:prstGeom>
          <a:ln w="15875">
            <a:solidFill>
              <a:srgbClr val="C00000"/>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36" name="Group 35"/>
          <p:cNvGrpSpPr/>
          <p:nvPr/>
        </p:nvGrpSpPr>
        <p:grpSpPr>
          <a:xfrm>
            <a:off x="5999175" y="5566948"/>
            <a:ext cx="751437" cy="698818"/>
            <a:chOff x="5881214" y="5411101"/>
            <a:chExt cx="736770" cy="685178"/>
          </a:xfrm>
        </p:grpSpPr>
        <p:sp>
          <p:nvSpPr>
            <p:cNvPr id="43" name="Freeform 127"/>
            <p:cNvSpPr>
              <a:spLocks noEditPoints="1"/>
            </p:cNvSpPr>
            <p:nvPr/>
          </p:nvSpPr>
          <p:spPr bwMode="black">
            <a:xfrm>
              <a:off x="5939094" y="5543453"/>
              <a:ext cx="678890" cy="552826"/>
            </a:xfrm>
            <a:custGeom>
              <a:avLst/>
              <a:gdLst>
                <a:gd name="T0" fmla="*/ 72 w 75"/>
                <a:gd name="T1" fmla="*/ 23 h 61"/>
                <a:gd name="T2" fmla="*/ 71 w 75"/>
                <a:gd name="T3" fmla="*/ 22 h 61"/>
                <a:gd name="T4" fmla="*/ 63 w 75"/>
                <a:gd name="T5" fmla="*/ 3 h 61"/>
                <a:gd name="T6" fmla="*/ 59 w 75"/>
                <a:gd name="T7" fmla="*/ 0 h 61"/>
                <a:gd name="T8" fmla="*/ 16 w 75"/>
                <a:gd name="T9" fmla="*/ 0 h 61"/>
                <a:gd name="T10" fmla="*/ 13 w 75"/>
                <a:gd name="T11" fmla="*/ 3 h 61"/>
                <a:gd name="T12" fmla="*/ 4 w 75"/>
                <a:gd name="T13" fmla="*/ 23 h 61"/>
                <a:gd name="T14" fmla="*/ 0 w 75"/>
                <a:gd name="T15" fmla="*/ 28 h 61"/>
                <a:gd name="T16" fmla="*/ 0 w 75"/>
                <a:gd name="T17" fmla="*/ 45 h 61"/>
                <a:gd name="T18" fmla="*/ 5 w 75"/>
                <a:gd name="T19" fmla="*/ 50 h 61"/>
                <a:gd name="T20" fmla="*/ 10 w 75"/>
                <a:gd name="T21" fmla="*/ 50 h 61"/>
                <a:gd name="T22" fmla="*/ 10 w 75"/>
                <a:gd name="T23" fmla="*/ 56 h 61"/>
                <a:gd name="T24" fmla="*/ 14 w 75"/>
                <a:gd name="T25" fmla="*/ 61 h 61"/>
                <a:gd name="T26" fmla="*/ 19 w 75"/>
                <a:gd name="T27" fmla="*/ 56 h 61"/>
                <a:gd name="T28" fmla="*/ 19 w 75"/>
                <a:gd name="T29" fmla="*/ 50 h 61"/>
                <a:gd name="T30" fmla="*/ 56 w 75"/>
                <a:gd name="T31" fmla="*/ 50 h 61"/>
                <a:gd name="T32" fmla="*/ 56 w 75"/>
                <a:gd name="T33" fmla="*/ 56 h 61"/>
                <a:gd name="T34" fmla="*/ 61 w 75"/>
                <a:gd name="T35" fmla="*/ 61 h 61"/>
                <a:gd name="T36" fmla="*/ 66 w 75"/>
                <a:gd name="T37" fmla="*/ 56 h 61"/>
                <a:gd name="T38" fmla="*/ 66 w 75"/>
                <a:gd name="T39" fmla="*/ 50 h 61"/>
                <a:gd name="T40" fmla="*/ 70 w 75"/>
                <a:gd name="T41" fmla="*/ 50 h 61"/>
                <a:gd name="T42" fmla="*/ 75 w 75"/>
                <a:gd name="T43" fmla="*/ 45 h 61"/>
                <a:gd name="T44" fmla="*/ 75 w 75"/>
                <a:gd name="T45" fmla="*/ 28 h 61"/>
                <a:gd name="T46" fmla="*/ 72 w 75"/>
                <a:gd name="T47" fmla="*/ 23 h 61"/>
                <a:gd name="T48" fmla="*/ 18 w 75"/>
                <a:gd name="T49" fmla="*/ 8 h 61"/>
                <a:gd name="T50" fmla="*/ 57 w 75"/>
                <a:gd name="T51" fmla="*/ 8 h 61"/>
                <a:gd name="T52" fmla="*/ 62 w 75"/>
                <a:gd name="T53" fmla="*/ 20 h 61"/>
                <a:gd name="T54" fmla="*/ 13 w 75"/>
                <a:gd name="T55" fmla="*/ 20 h 61"/>
                <a:gd name="T56" fmla="*/ 18 w 75"/>
                <a:gd name="T57" fmla="*/ 8 h 61"/>
                <a:gd name="T58" fmla="*/ 14 w 75"/>
                <a:gd name="T59" fmla="*/ 38 h 61"/>
                <a:gd name="T60" fmla="*/ 9 w 75"/>
                <a:gd name="T61" fmla="*/ 33 h 61"/>
                <a:gd name="T62" fmla="*/ 14 w 75"/>
                <a:gd name="T63" fmla="*/ 28 h 61"/>
                <a:gd name="T64" fmla="*/ 19 w 75"/>
                <a:gd name="T65" fmla="*/ 33 h 61"/>
                <a:gd name="T66" fmla="*/ 14 w 75"/>
                <a:gd name="T67" fmla="*/ 38 h 61"/>
                <a:gd name="T68" fmla="*/ 61 w 75"/>
                <a:gd name="T69" fmla="*/ 38 h 61"/>
                <a:gd name="T70" fmla="*/ 56 w 75"/>
                <a:gd name="T71" fmla="*/ 33 h 61"/>
                <a:gd name="T72" fmla="*/ 61 w 75"/>
                <a:gd name="T73" fmla="*/ 28 h 61"/>
                <a:gd name="T74" fmla="*/ 67 w 75"/>
                <a:gd name="T75" fmla="*/ 33 h 61"/>
                <a:gd name="T76" fmla="*/ 61 w 75"/>
                <a:gd name="T77" fmla="*/ 3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5" h="61">
                  <a:moveTo>
                    <a:pt x="72" y="23"/>
                  </a:moveTo>
                  <a:cubicBezTo>
                    <a:pt x="72" y="22"/>
                    <a:pt x="71" y="22"/>
                    <a:pt x="71" y="22"/>
                  </a:cubicBezTo>
                  <a:cubicBezTo>
                    <a:pt x="63" y="3"/>
                    <a:pt x="63" y="3"/>
                    <a:pt x="63" y="3"/>
                  </a:cubicBezTo>
                  <a:cubicBezTo>
                    <a:pt x="62" y="1"/>
                    <a:pt x="61" y="0"/>
                    <a:pt x="59" y="0"/>
                  </a:cubicBezTo>
                  <a:cubicBezTo>
                    <a:pt x="16" y="0"/>
                    <a:pt x="16" y="0"/>
                    <a:pt x="16" y="0"/>
                  </a:cubicBezTo>
                  <a:cubicBezTo>
                    <a:pt x="14" y="0"/>
                    <a:pt x="13" y="1"/>
                    <a:pt x="13" y="3"/>
                  </a:cubicBezTo>
                  <a:cubicBezTo>
                    <a:pt x="4" y="23"/>
                    <a:pt x="4" y="23"/>
                    <a:pt x="4" y="23"/>
                  </a:cubicBezTo>
                  <a:cubicBezTo>
                    <a:pt x="2" y="23"/>
                    <a:pt x="0" y="25"/>
                    <a:pt x="0" y="28"/>
                  </a:cubicBezTo>
                  <a:cubicBezTo>
                    <a:pt x="0" y="45"/>
                    <a:pt x="0" y="45"/>
                    <a:pt x="0" y="45"/>
                  </a:cubicBezTo>
                  <a:cubicBezTo>
                    <a:pt x="0" y="48"/>
                    <a:pt x="2" y="50"/>
                    <a:pt x="5" y="50"/>
                  </a:cubicBezTo>
                  <a:cubicBezTo>
                    <a:pt x="10" y="50"/>
                    <a:pt x="10" y="50"/>
                    <a:pt x="10" y="50"/>
                  </a:cubicBezTo>
                  <a:cubicBezTo>
                    <a:pt x="10" y="56"/>
                    <a:pt x="10" y="56"/>
                    <a:pt x="10" y="56"/>
                  </a:cubicBezTo>
                  <a:cubicBezTo>
                    <a:pt x="10" y="59"/>
                    <a:pt x="12" y="61"/>
                    <a:pt x="14" y="61"/>
                  </a:cubicBezTo>
                  <a:cubicBezTo>
                    <a:pt x="17" y="61"/>
                    <a:pt x="19" y="59"/>
                    <a:pt x="19" y="56"/>
                  </a:cubicBezTo>
                  <a:cubicBezTo>
                    <a:pt x="19" y="50"/>
                    <a:pt x="19" y="50"/>
                    <a:pt x="19" y="50"/>
                  </a:cubicBezTo>
                  <a:cubicBezTo>
                    <a:pt x="56" y="50"/>
                    <a:pt x="56" y="50"/>
                    <a:pt x="56" y="50"/>
                  </a:cubicBezTo>
                  <a:cubicBezTo>
                    <a:pt x="56" y="56"/>
                    <a:pt x="56" y="56"/>
                    <a:pt x="56" y="56"/>
                  </a:cubicBezTo>
                  <a:cubicBezTo>
                    <a:pt x="56" y="59"/>
                    <a:pt x="58" y="61"/>
                    <a:pt x="61" y="61"/>
                  </a:cubicBezTo>
                  <a:cubicBezTo>
                    <a:pt x="64" y="61"/>
                    <a:pt x="66" y="59"/>
                    <a:pt x="66" y="56"/>
                  </a:cubicBezTo>
                  <a:cubicBezTo>
                    <a:pt x="66" y="50"/>
                    <a:pt x="66" y="50"/>
                    <a:pt x="66" y="50"/>
                  </a:cubicBezTo>
                  <a:cubicBezTo>
                    <a:pt x="70" y="50"/>
                    <a:pt x="70" y="50"/>
                    <a:pt x="70" y="50"/>
                  </a:cubicBezTo>
                  <a:cubicBezTo>
                    <a:pt x="73" y="50"/>
                    <a:pt x="75" y="48"/>
                    <a:pt x="75" y="45"/>
                  </a:cubicBezTo>
                  <a:cubicBezTo>
                    <a:pt x="75" y="28"/>
                    <a:pt x="75" y="28"/>
                    <a:pt x="75" y="28"/>
                  </a:cubicBezTo>
                  <a:cubicBezTo>
                    <a:pt x="75" y="25"/>
                    <a:pt x="74" y="23"/>
                    <a:pt x="72" y="23"/>
                  </a:cubicBezTo>
                  <a:close/>
                  <a:moveTo>
                    <a:pt x="18" y="8"/>
                  </a:moveTo>
                  <a:cubicBezTo>
                    <a:pt x="57" y="8"/>
                    <a:pt x="57" y="8"/>
                    <a:pt x="57" y="8"/>
                  </a:cubicBezTo>
                  <a:cubicBezTo>
                    <a:pt x="62" y="20"/>
                    <a:pt x="62" y="20"/>
                    <a:pt x="62" y="20"/>
                  </a:cubicBezTo>
                  <a:cubicBezTo>
                    <a:pt x="13" y="20"/>
                    <a:pt x="13" y="20"/>
                    <a:pt x="13" y="20"/>
                  </a:cubicBezTo>
                  <a:lnTo>
                    <a:pt x="18" y="8"/>
                  </a:lnTo>
                  <a:close/>
                  <a:moveTo>
                    <a:pt x="14" y="38"/>
                  </a:moveTo>
                  <a:cubicBezTo>
                    <a:pt x="11" y="38"/>
                    <a:pt x="9" y="36"/>
                    <a:pt x="9" y="33"/>
                  </a:cubicBezTo>
                  <a:cubicBezTo>
                    <a:pt x="9" y="30"/>
                    <a:pt x="11" y="28"/>
                    <a:pt x="14" y="28"/>
                  </a:cubicBezTo>
                  <a:cubicBezTo>
                    <a:pt x="17" y="28"/>
                    <a:pt x="19" y="30"/>
                    <a:pt x="19" y="33"/>
                  </a:cubicBezTo>
                  <a:cubicBezTo>
                    <a:pt x="19" y="36"/>
                    <a:pt x="17" y="38"/>
                    <a:pt x="14" y="38"/>
                  </a:cubicBezTo>
                  <a:close/>
                  <a:moveTo>
                    <a:pt x="61" y="38"/>
                  </a:moveTo>
                  <a:cubicBezTo>
                    <a:pt x="58" y="38"/>
                    <a:pt x="56" y="36"/>
                    <a:pt x="56" y="33"/>
                  </a:cubicBezTo>
                  <a:cubicBezTo>
                    <a:pt x="56" y="30"/>
                    <a:pt x="58" y="28"/>
                    <a:pt x="61" y="28"/>
                  </a:cubicBezTo>
                  <a:cubicBezTo>
                    <a:pt x="64" y="28"/>
                    <a:pt x="67" y="30"/>
                    <a:pt x="67" y="33"/>
                  </a:cubicBezTo>
                  <a:cubicBezTo>
                    <a:pt x="67" y="36"/>
                    <a:pt x="64" y="38"/>
                    <a:pt x="61" y="38"/>
                  </a:cubicBezTo>
                  <a:close/>
                </a:path>
              </a:pathLst>
            </a:custGeom>
            <a:solidFill>
              <a:schemeClr val="accent1">
                <a:lumMod val="75000"/>
              </a:schemeClr>
            </a:solidFill>
            <a:ln>
              <a:noFill/>
            </a:ln>
            <a:extLst/>
          </p:spPr>
          <p:txBody>
            <a:bodyPr vert="horz" wrap="square" lIns="91427" tIns="45713" rIns="91427" bIns="45713" numCol="1" anchor="t" anchorCtr="0" compatLnSpc="1">
              <a:prstTxWarp prst="textNoShape">
                <a:avLst/>
              </a:prstTxWarp>
            </a:bodyPr>
            <a:lstStyle/>
            <a:p>
              <a:pPr defTabSz="931684"/>
              <a:endParaRPr lang="en-US">
                <a:solidFill>
                  <a:srgbClr val="000000"/>
                </a:solidFill>
                <a:latin typeface="Segoe UI"/>
                <a:cs typeface="+mn-cs"/>
              </a:endParaRPr>
            </a:p>
          </p:txBody>
        </p:sp>
        <p:sp>
          <p:nvSpPr>
            <p:cNvPr id="62" name="Freeform 61"/>
            <p:cNvSpPr>
              <a:spLocks noChangeAspect="1"/>
            </p:cNvSpPr>
            <p:nvPr/>
          </p:nvSpPr>
          <p:spPr>
            <a:xfrm rot="19720331">
              <a:off x="5881214" y="5411101"/>
              <a:ext cx="274320" cy="127067"/>
            </a:xfrm>
            <a:custGeom>
              <a:avLst/>
              <a:gdLst/>
              <a:ahLst/>
              <a:cxnLst/>
              <a:rect l="l" t="t" r="r" b="b"/>
              <a:pathLst>
                <a:path w="2252662" h="1241074">
                  <a:moveTo>
                    <a:pt x="1168673" y="873897"/>
                  </a:moveTo>
                  <a:cubicBezTo>
                    <a:pt x="1422363" y="887818"/>
                    <a:pt x="1590476" y="1059404"/>
                    <a:pt x="1631156" y="1088674"/>
                  </a:cubicBezTo>
                  <a:lnTo>
                    <a:pt x="1490662" y="1236311"/>
                  </a:lnTo>
                  <a:cubicBezTo>
                    <a:pt x="1370013" y="1185512"/>
                    <a:pt x="1177924" y="929923"/>
                    <a:pt x="778668" y="1241074"/>
                  </a:cubicBezTo>
                  <a:lnTo>
                    <a:pt x="628650" y="1083911"/>
                  </a:lnTo>
                  <a:cubicBezTo>
                    <a:pt x="833438" y="913950"/>
                    <a:pt x="1016459" y="865543"/>
                    <a:pt x="1168673" y="873897"/>
                  </a:cubicBezTo>
                  <a:close/>
                  <a:moveTo>
                    <a:pt x="1167682" y="426778"/>
                  </a:moveTo>
                  <a:cubicBezTo>
                    <a:pt x="1582192" y="444172"/>
                    <a:pt x="1876127" y="724341"/>
                    <a:pt x="1943100" y="771966"/>
                  </a:cubicBezTo>
                  <a:lnTo>
                    <a:pt x="1795462" y="924366"/>
                  </a:lnTo>
                  <a:cubicBezTo>
                    <a:pt x="1635125" y="794985"/>
                    <a:pt x="1131887" y="386997"/>
                    <a:pt x="457200" y="914841"/>
                  </a:cubicBezTo>
                  <a:lnTo>
                    <a:pt x="314325" y="786253"/>
                  </a:lnTo>
                  <a:cubicBezTo>
                    <a:pt x="626864" y="500503"/>
                    <a:pt x="918976" y="416341"/>
                    <a:pt x="1167682" y="426778"/>
                  </a:cubicBezTo>
                  <a:close/>
                  <a:moveTo>
                    <a:pt x="1122266" y="14"/>
                  </a:moveTo>
                  <a:cubicBezTo>
                    <a:pt x="1684635" y="2525"/>
                    <a:pt x="2113756" y="340365"/>
                    <a:pt x="2252662" y="462404"/>
                  </a:cubicBezTo>
                  <a:lnTo>
                    <a:pt x="2114550" y="619567"/>
                  </a:lnTo>
                  <a:cubicBezTo>
                    <a:pt x="1916112" y="495742"/>
                    <a:pt x="1186656" y="-206726"/>
                    <a:pt x="147637" y="619567"/>
                  </a:cubicBezTo>
                  <a:lnTo>
                    <a:pt x="0" y="476692"/>
                  </a:lnTo>
                  <a:cubicBezTo>
                    <a:pt x="399455" y="117718"/>
                    <a:pt x="784845" y="-1493"/>
                    <a:pt x="1122266" y="14"/>
                  </a:cubicBezTo>
                  <a:close/>
                </a:path>
              </a:pathLst>
            </a:cu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defTabSz="932597" fontAlgn="auto">
                <a:spcBef>
                  <a:spcPts val="0"/>
                </a:spcBef>
                <a:spcAft>
                  <a:spcPts val="0"/>
                </a:spcAft>
              </a:pPr>
              <a:endParaRPr lang="en-US" sz="1224" dirty="0" err="1">
                <a:solidFill>
                  <a:srgbClr val="FFFFFF"/>
                </a:solidFill>
              </a:endParaRPr>
            </a:p>
          </p:txBody>
        </p:sp>
      </p:grpSp>
      <p:grpSp>
        <p:nvGrpSpPr>
          <p:cNvPr id="15" name="Group 14"/>
          <p:cNvGrpSpPr>
            <a:grpSpLocks noChangeAspect="1"/>
          </p:cNvGrpSpPr>
          <p:nvPr/>
        </p:nvGrpSpPr>
        <p:grpSpPr>
          <a:xfrm>
            <a:off x="541449" y="3649735"/>
            <a:ext cx="911300" cy="548640"/>
            <a:chOff x="2152240" y="2615295"/>
            <a:chExt cx="671609" cy="404336"/>
          </a:xfrm>
        </p:grpSpPr>
        <p:sp>
          <p:nvSpPr>
            <p:cNvPr id="65" name="Rectangle 157"/>
            <p:cNvSpPr/>
            <p:nvPr/>
          </p:nvSpPr>
          <p:spPr bwMode="auto">
            <a:xfrm>
              <a:off x="2165188" y="2615296"/>
              <a:ext cx="471786" cy="347792"/>
            </a:xfrm>
            <a:custGeom>
              <a:avLst/>
              <a:gdLst>
                <a:gd name="connsiteX0" fmla="*/ 0 w 356963"/>
                <a:gd name="connsiteY0" fmla="*/ 0 h 607111"/>
                <a:gd name="connsiteX1" fmla="*/ 356963 w 356963"/>
                <a:gd name="connsiteY1" fmla="*/ 0 h 607111"/>
                <a:gd name="connsiteX2" fmla="*/ 356963 w 356963"/>
                <a:gd name="connsiteY2" fmla="*/ 607111 h 607111"/>
                <a:gd name="connsiteX3" fmla="*/ 0 w 356963"/>
                <a:gd name="connsiteY3" fmla="*/ 607111 h 607111"/>
                <a:gd name="connsiteX4" fmla="*/ 0 w 356963"/>
                <a:gd name="connsiteY4" fmla="*/ 0 h 607111"/>
                <a:gd name="connsiteX0" fmla="*/ 0 w 356963"/>
                <a:gd name="connsiteY0" fmla="*/ 0 h 607111"/>
                <a:gd name="connsiteX1" fmla="*/ 356963 w 356963"/>
                <a:gd name="connsiteY1" fmla="*/ 0 h 607111"/>
                <a:gd name="connsiteX2" fmla="*/ 0 w 356963"/>
                <a:gd name="connsiteY2" fmla="*/ 607111 h 607111"/>
                <a:gd name="connsiteX3" fmla="*/ 0 w 356963"/>
                <a:gd name="connsiteY3" fmla="*/ 0 h 607111"/>
              </a:gdLst>
              <a:ahLst/>
              <a:cxnLst>
                <a:cxn ang="0">
                  <a:pos x="connsiteX0" y="connsiteY0"/>
                </a:cxn>
                <a:cxn ang="0">
                  <a:pos x="connsiteX1" y="connsiteY1"/>
                </a:cxn>
                <a:cxn ang="0">
                  <a:pos x="connsiteX2" y="connsiteY2"/>
                </a:cxn>
                <a:cxn ang="0">
                  <a:pos x="connsiteX3" y="connsiteY3"/>
                </a:cxn>
              </a:cxnLst>
              <a:rect l="l" t="t" r="r" b="b"/>
              <a:pathLst>
                <a:path w="356963" h="607111">
                  <a:moveTo>
                    <a:pt x="0" y="0"/>
                  </a:moveTo>
                  <a:lnTo>
                    <a:pt x="356963" y="0"/>
                  </a:lnTo>
                  <a:lnTo>
                    <a:pt x="0" y="607111"/>
                  </a:lnTo>
                  <a:lnTo>
                    <a:pt x="0" y="0"/>
                  </a:lnTo>
                  <a:close/>
                </a:path>
              </a:pathLst>
            </a:custGeom>
            <a:solidFill>
              <a:schemeClr val="bg1">
                <a:alpha val="3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342768" indent="-342768" algn="ctr" defTabSz="932114">
                <a:lnSpc>
                  <a:spcPct val="90000"/>
                </a:lnSpc>
                <a:buFont typeface="Wingdings 3" panose="05040102010807070707" pitchFamily="18" charset="2"/>
                <a:buChar char="Æ"/>
              </a:pPr>
              <a:endParaRPr lang="en-IN" sz="2000" b="1" dirty="0" err="1">
                <a:solidFill>
                  <a:srgbClr val="FFFFFF"/>
                </a:solidFill>
                <a:latin typeface="Segoe UI Light"/>
                <a:ea typeface="Segoe UI" pitchFamily="34" charset="0"/>
                <a:cs typeface="Segoe UI" pitchFamily="34" charset="0"/>
              </a:endParaRPr>
            </a:p>
          </p:txBody>
        </p:sp>
        <p:grpSp>
          <p:nvGrpSpPr>
            <p:cNvPr id="61" name="Group 60"/>
            <p:cNvGrpSpPr/>
            <p:nvPr/>
          </p:nvGrpSpPr>
          <p:grpSpPr bwMode="black">
            <a:xfrm>
              <a:off x="2152240" y="2615295"/>
              <a:ext cx="671609" cy="404336"/>
              <a:chOff x="863600" y="2393157"/>
              <a:chExt cx="876300" cy="527844"/>
            </a:xfrm>
            <a:solidFill>
              <a:schemeClr val="tx1"/>
            </a:solidFill>
          </p:grpSpPr>
          <p:sp>
            <p:nvSpPr>
              <p:cNvPr id="63" name="Freeform 62"/>
              <p:cNvSpPr>
                <a:spLocks noEditPoints="1"/>
              </p:cNvSpPr>
              <p:nvPr/>
            </p:nvSpPr>
            <p:spPr bwMode="black">
              <a:xfrm>
                <a:off x="1521931" y="2481334"/>
                <a:ext cx="217969" cy="439667"/>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accent2"/>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rgbClr val="000000">
                      <a:lumMod val="50000"/>
                    </a:srgbClr>
                  </a:solidFill>
                  <a:latin typeface="Segoe Light" pitchFamily="34" charset="0"/>
                </a:endParaRPr>
              </a:p>
            </p:txBody>
          </p:sp>
          <p:sp>
            <p:nvSpPr>
              <p:cNvPr id="64" name="Freeform 88"/>
              <p:cNvSpPr>
                <a:spLocks noEditPoints="1"/>
              </p:cNvSpPr>
              <p:nvPr/>
            </p:nvSpPr>
            <p:spPr bwMode="black">
              <a:xfrm>
                <a:off x="863600" y="2393157"/>
                <a:ext cx="622300" cy="52784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accent2"/>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rgbClr val="000000">
                      <a:lumMod val="50000"/>
                    </a:srgbClr>
                  </a:solidFill>
                  <a:latin typeface="Segoe Light" pitchFamily="34" charset="0"/>
                </a:endParaRPr>
              </a:p>
            </p:txBody>
          </p:sp>
        </p:grpSp>
      </p:grpSp>
      <p:grpSp>
        <p:nvGrpSpPr>
          <p:cNvPr id="59" name="Group 58"/>
          <p:cNvGrpSpPr>
            <a:grpSpLocks noChangeAspect="1"/>
          </p:cNvGrpSpPr>
          <p:nvPr/>
        </p:nvGrpSpPr>
        <p:grpSpPr>
          <a:xfrm>
            <a:off x="4321335" y="3019628"/>
            <a:ext cx="453892" cy="536614"/>
            <a:chOff x="4221470" y="5212261"/>
            <a:chExt cx="284247" cy="336051"/>
          </a:xfrm>
        </p:grpSpPr>
        <p:grpSp>
          <p:nvGrpSpPr>
            <p:cNvPr id="60" name="Group 59"/>
            <p:cNvGrpSpPr/>
            <p:nvPr/>
          </p:nvGrpSpPr>
          <p:grpSpPr>
            <a:xfrm rot="10800000">
              <a:off x="4221470" y="5212261"/>
              <a:ext cx="284247" cy="336051"/>
              <a:chOff x="4710120" y="5169893"/>
              <a:chExt cx="284247" cy="315193"/>
            </a:xfrm>
          </p:grpSpPr>
          <p:sp>
            <p:nvSpPr>
              <p:cNvPr id="81" name="Freeform 80"/>
              <p:cNvSpPr>
                <a:spLocks noChangeAspect="1"/>
              </p:cNvSpPr>
              <p:nvPr/>
            </p:nvSpPr>
            <p:spPr bwMode="auto">
              <a:xfrm rot="16200000">
                <a:off x="4694647" y="5185366"/>
                <a:ext cx="315193" cy="284247"/>
              </a:xfrm>
              <a:custGeom>
                <a:avLst/>
                <a:gdLst>
                  <a:gd name="connsiteX0" fmla="*/ 678350 w 1481959"/>
                  <a:gd name="connsiteY0" fmla="*/ 258990 h 962317"/>
                  <a:gd name="connsiteX1" fmla="*/ 688805 w 1481959"/>
                  <a:gd name="connsiteY1" fmla="*/ 259224 h 962317"/>
                  <a:gd name="connsiteX2" fmla="*/ 971484 w 1481959"/>
                  <a:gd name="connsiteY2" fmla="*/ 259224 h 962317"/>
                  <a:gd name="connsiteX3" fmla="*/ 1006067 w 1481959"/>
                  <a:gd name="connsiteY3" fmla="*/ 292305 h 962317"/>
                  <a:gd name="connsiteX4" fmla="*/ 1006067 w 1481959"/>
                  <a:gd name="connsiteY4" fmla="*/ 576488 h 962317"/>
                  <a:gd name="connsiteX5" fmla="*/ 1004269 w 1481959"/>
                  <a:gd name="connsiteY5" fmla="*/ 595185 h 962317"/>
                  <a:gd name="connsiteX6" fmla="*/ 996845 w 1481959"/>
                  <a:gd name="connsiteY6" fmla="*/ 596703 h 962317"/>
                  <a:gd name="connsiteX7" fmla="*/ 946477 w 1481959"/>
                  <a:gd name="connsiteY7" fmla="*/ 546841 h 962317"/>
                  <a:gd name="connsiteX8" fmla="*/ 903068 w 1481959"/>
                  <a:gd name="connsiteY8" fmla="*/ 547059 h 962317"/>
                  <a:gd name="connsiteX9" fmla="*/ 711725 w 1481959"/>
                  <a:gd name="connsiteY9" fmla="*/ 740344 h 962317"/>
                  <a:gd name="connsiteX10" fmla="*/ 661739 w 1481959"/>
                  <a:gd name="connsiteY10" fmla="*/ 719332 h 962317"/>
                  <a:gd name="connsiteX11" fmla="*/ 535436 w 1481959"/>
                  <a:gd name="connsiteY11" fmla="*/ 593028 h 962317"/>
                  <a:gd name="connsiteX12" fmla="*/ 520710 w 1481959"/>
                  <a:gd name="connsiteY12" fmla="*/ 557602 h 962317"/>
                  <a:gd name="connsiteX13" fmla="*/ 597984 w 1481959"/>
                  <a:gd name="connsiteY13" fmla="*/ 478826 h 962317"/>
                  <a:gd name="connsiteX14" fmla="*/ 709855 w 1481959"/>
                  <a:gd name="connsiteY14" fmla="*/ 368988 h 962317"/>
                  <a:gd name="connsiteX15" fmla="*/ 720565 w 1481959"/>
                  <a:gd name="connsiteY15" fmla="*/ 351055 h 962317"/>
                  <a:gd name="connsiteX16" fmla="*/ 722022 w 1481959"/>
                  <a:gd name="connsiteY16" fmla="*/ 347917 h 962317"/>
                  <a:gd name="connsiteX17" fmla="*/ 723721 w 1481959"/>
                  <a:gd name="connsiteY17" fmla="*/ 338718 h 962317"/>
                  <a:gd name="connsiteX18" fmla="*/ 723262 w 1481959"/>
                  <a:gd name="connsiteY18" fmla="*/ 334338 h 962317"/>
                  <a:gd name="connsiteX19" fmla="*/ 723111 w 1481959"/>
                  <a:gd name="connsiteY19" fmla="*/ 333602 h 962317"/>
                  <a:gd name="connsiteX20" fmla="*/ 714729 w 1481959"/>
                  <a:gd name="connsiteY20" fmla="*/ 315979 h 962317"/>
                  <a:gd name="connsiteX21" fmla="*/ 678087 w 1481959"/>
                  <a:gd name="connsiteY21" fmla="*/ 280035 h 962317"/>
                  <a:gd name="connsiteX22" fmla="*/ 668098 w 1481959"/>
                  <a:gd name="connsiteY22" fmla="*/ 262301 h 962317"/>
                  <a:gd name="connsiteX23" fmla="*/ 678350 w 1481959"/>
                  <a:gd name="connsiteY23" fmla="*/ 258990 h 962317"/>
                  <a:gd name="connsiteX24" fmla="*/ 72174 w 1481959"/>
                  <a:gd name="connsiteY24" fmla="*/ 72174 h 962317"/>
                  <a:gd name="connsiteX25" fmla="*/ 72174 w 1481959"/>
                  <a:gd name="connsiteY25" fmla="*/ 887737 h 962317"/>
                  <a:gd name="connsiteX26" fmla="*/ 1402569 w 1481959"/>
                  <a:gd name="connsiteY26" fmla="*/ 887737 h 962317"/>
                  <a:gd name="connsiteX27" fmla="*/ 1402569 w 1481959"/>
                  <a:gd name="connsiteY27" fmla="*/ 72174 h 962317"/>
                  <a:gd name="connsiteX28" fmla="*/ 65620 w 1481959"/>
                  <a:gd name="connsiteY28" fmla="*/ 0 h 962317"/>
                  <a:gd name="connsiteX29" fmla="*/ 1416339 w 1481959"/>
                  <a:gd name="connsiteY29" fmla="*/ 0 h 962317"/>
                  <a:gd name="connsiteX30" fmla="*/ 1481959 w 1481959"/>
                  <a:gd name="connsiteY30" fmla="*/ 65621 h 962317"/>
                  <a:gd name="connsiteX31" fmla="*/ 1481959 w 1481959"/>
                  <a:gd name="connsiteY31" fmla="*/ 896697 h 962317"/>
                  <a:gd name="connsiteX32" fmla="*/ 1416339 w 1481959"/>
                  <a:gd name="connsiteY32" fmla="*/ 962317 h 962317"/>
                  <a:gd name="connsiteX33" fmla="*/ 65620 w 1481959"/>
                  <a:gd name="connsiteY33" fmla="*/ 962317 h 962317"/>
                  <a:gd name="connsiteX34" fmla="*/ 0 w 1481959"/>
                  <a:gd name="connsiteY34" fmla="*/ 896697 h 962317"/>
                  <a:gd name="connsiteX35" fmla="*/ 0 w 1481959"/>
                  <a:gd name="connsiteY35" fmla="*/ 65621 h 962317"/>
                  <a:gd name="connsiteX36" fmla="*/ 65620 w 1481959"/>
                  <a:gd name="connsiteY36" fmla="*/ 0 h 962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481959" h="962317">
                    <a:moveTo>
                      <a:pt x="678350" y="258990"/>
                    </a:moveTo>
                    <a:cubicBezTo>
                      <a:pt x="681742" y="259020"/>
                      <a:pt x="685484" y="259288"/>
                      <a:pt x="688805" y="259224"/>
                    </a:cubicBezTo>
                    <a:lnTo>
                      <a:pt x="971484" y="259224"/>
                    </a:lnTo>
                    <a:cubicBezTo>
                      <a:pt x="1000302" y="256718"/>
                      <a:pt x="1008071" y="270753"/>
                      <a:pt x="1006067" y="292305"/>
                    </a:cubicBezTo>
                    <a:lnTo>
                      <a:pt x="1006067" y="576488"/>
                    </a:lnTo>
                    <a:lnTo>
                      <a:pt x="1004269" y="595185"/>
                    </a:lnTo>
                    <a:cubicBezTo>
                      <a:pt x="1002451" y="598026"/>
                      <a:pt x="999695" y="598003"/>
                      <a:pt x="996845" y="596703"/>
                    </a:cubicBezTo>
                    <a:lnTo>
                      <a:pt x="946477" y="546841"/>
                    </a:lnTo>
                    <a:cubicBezTo>
                      <a:pt x="934430" y="534914"/>
                      <a:pt x="914995" y="535011"/>
                      <a:pt x="903068" y="547059"/>
                    </a:cubicBezTo>
                    <a:lnTo>
                      <a:pt x="711725" y="740344"/>
                    </a:lnTo>
                    <a:cubicBezTo>
                      <a:pt x="699360" y="748226"/>
                      <a:pt x="689313" y="744295"/>
                      <a:pt x="661739" y="719332"/>
                    </a:cubicBezTo>
                    <a:lnTo>
                      <a:pt x="535436" y="593028"/>
                    </a:lnTo>
                    <a:cubicBezTo>
                      <a:pt x="524870" y="579553"/>
                      <a:pt x="516830" y="569445"/>
                      <a:pt x="520710" y="557602"/>
                    </a:cubicBezTo>
                    <a:lnTo>
                      <a:pt x="597984" y="478826"/>
                    </a:lnTo>
                    <a:lnTo>
                      <a:pt x="709855" y="368988"/>
                    </a:lnTo>
                    <a:cubicBezTo>
                      <a:pt x="715078" y="361976"/>
                      <a:pt x="718582" y="356117"/>
                      <a:pt x="720565" y="351055"/>
                    </a:cubicBezTo>
                    <a:cubicBezTo>
                      <a:pt x="721405" y="350159"/>
                      <a:pt x="721848" y="349083"/>
                      <a:pt x="722022" y="347917"/>
                    </a:cubicBezTo>
                    <a:cubicBezTo>
                      <a:pt x="723326" y="344409"/>
                      <a:pt x="723862" y="341379"/>
                      <a:pt x="723721" y="338718"/>
                    </a:cubicBezTo>
                    <a:cubicBezTo>
                      <a:pt x="723959" y="337241"/>
                      <a:pt x="723892" y="335759"/>
                      <a:pt x="723262" y="334338"/>
                    </a:cubicBezTo>
                    <a:cubicBezTo>
                      <a:pt x="723291" y="334071"/>
                      <a:pt x="723225" y="333829"/>
                      <a:pt x="723111" y="333602"/>
                    </a:cubicBezTo>
                    <a:cubicBezTo>
                      <a:pt x="722700" y="327088"/>
                      <a:pt x="719734" y="320887"/>
                      <a:pt x="714729" y="315979"/>
                    </a:cubicBezTo>
                    <a:lnTo>
                      <a:pt x="678087" y="280035"/>
                    </a:lnTo>
                    <a:lnTo>
                      <a:pt x="668098" y="262301"/>
                    </a:lnTo>
                    <a:cubicBezTo>
                      <a:pt x="669005" y="259420"/>
                      <a:pt x="673283" y="258942"/>
                      <a:pt x="678350" y="258990"/>
                    </a:cubicBezTo>
                    <a:close/>
                    <a:moveTo>
                      <a:pt x="72174" y="72174"/>
                    </a:moveTo>
                    <a:lnTo>
                      <a:pt x="72174" y="887737"/>
                    </a:lnTo>
                    <a:lnTo>
                      <a:pt x="1402569" y="887737"/>
                    </a:lnTo>
                    <a:lnTo>
                      <a:pt x="1402569" y="72174"/>
                    </a:lnTo>
                    <a:close/>
                    <a:moveTo>
                      <a:pt x="65620" y="0"/>
                    </a:moveTo>
                    <a:lnTo>
                      <a:pt x="1416339" y="0"/>
                    </a:lnTo>
                    <a:cubicBezTo>
                      <a:pt x="1452581" y="0"/>
                      <a:pt x="1481959" y="29379"/>
                      <a:pt x="1481959" y="65621"/>
                    </a:cubicBezTo>
                    <a:lnTo>
                      <a:pt x="1481959" y="896697"/>
                    </a:lnTo>
                    <a:cubicBezTo>
                      <a:pt x="1481959" y="932938"/>
                      <a:pt x="1452581" y="962317"/>
                      <a:pt x="1416339" y="962317"/>
                    </a:cubicBezTo>
                    <a:lnTo>
                      <a:pt x="65620" y="962317"/>
                    </a:lnTo>
                    <a:cubicBezTo>
                      <a:pt x="29379" y="962317"/>
                      <a:pt x="0" y="932938"/>
                      <a:pt x="0" y="896697"/>
                    </a:cubicBezTo>
                    <a:lnTo>
                      <a:pt x="0" y="65621"/>
                    </a:lnTo>
                    <a:cubicBezTo>
                      <a:pt x="0" y="29379"/>
                      <a:pt x="29379" y="0"/>
                      <a:pt x="65620" y="0"/>
                    </a:cubicBezTo>
                    <a:close/>
                  </a:path>
                </a:pathLst>
              </a:custGeom>
              <a:solidFill>
                <a:schemeClr val="tx2">
                  <a:lumMod val="60000"/>
                  <a:lumOff val="40000"/>
                </a:schemeClr>
              </a:solidFill>
              <a:ln w="9525" cap="flat" cmpd="sng" algn="ctr">
                <a:solidFill>
                  <a:schemeClr val="tx2">
                    <a:lumMod val="60000"/>
                    <a:lumOff val="40000"/>
                  </a:schemeClr>
                </a:solidFill>
                <a:prstDash val="solid"/>
              </a:ln>
              <a:effectLst/>
            </p:spPr>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auto">
                  <a:spcBef>
                    <a:spcPts val="0"/>
                  </a:spcBef>
                  <a:spcAft>
                    <a:spcPts val="0"/>
                  </a:spcAft>
                  <a:defRPr/>
                </a:pPr>
                <a:endParaRPr lang="en-US" sz="1398" kern="0" spc="-50" dirty="0">
                  <a:ln>
                    <a:solidFill>
                      <a:srgbClr val="FFFFFF">
                        <a:alpha val="0"/>
                      </a:srgbClr>
                    </a:solidFill>
                  </a:ln>
                  <a:solidFill>
                    <a:srgbClr val="000000"/>
                  </a:solidFill>
                  <a:latin typeface="Segoe UI"/>
                  <a:ea typeface="Segoe UI" pitchFamily="34" charset="0"/>
                  <a:cs typeface="Segoe UI" pitchFamily="34" charset="0"/>
                </a:endParaRPr>
              </a:p>
            </p:txBody>
          </p:sp>
          <p:sp>
            <p:nvSpPr>
              <p:cNvPr id="82" name="Rectangle 81"/>
              <p:cNvSpPr/>
              <p:nvPr/>
            </p:nvSpPr>
            <p:spPr>
              <a:xfrm>
                <a:off x="4727370" y="5184932"/>
                <a:ext cx="244616" cy="286662"/>
              </a:xfrm>
              <a:prstGeom prst="rect">
                <a:avLst/>
              </a:prstGeom>
              <a:solidFill>
                <a:schemeClr val="bg1"/>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31505" fontAlgn="auto">
                  <a:spcBef>
                    <a:spcPts val="0"/>
                  </a:spcBef>
                  <a:spcAft>
                    <a:spcPts val="0"/>
                  </a:spcAft>
                </a:pPr>
                <a:endParaRPr lang="en-US" sz="1800">
                  <a:solidFill>
                    <a:prstClr val="white"/>
                  </a:solidFill>
                </a:endParaRPr>
              </a:p>
            </p:txBody>
          </p:sp>
        </p:grpSp>
        <p:grpSp>
          <p:nvGrpSpPr>
            <p:cNvPr id="66" name="Group 65"/>
            <p:cNvGrpSpPr/>
            <p:nvPr/>
          </p:nvGrpSpPr>
          <p:grpSpPr>
            <a:xfrm>
              <a:off x="4225721" y="5224167"/>
              <a:ext cx="263064" cy="315192"/>
              <a:chOff x="4721454" y="5169895"/>
              <a:chExt cx="263064" cy="315192"/>
            </a:xfrm>
          </p:grpSpPr>
          <p:cxnSp>
            <p:nvCxnSpPr>
              <p:cNvPr id="67" name="Straight Connector 66"/>
              <p:cNvCxnSpPr/>
              <p:nvPr/>
            </p:nvCxnSpPr>
            <p:spPr>
              <a:xfrm>
                <a:off x="4809715" y="5169895"/>
                <a:ext cx="0" cy="315192"/>
              </a:xfrm>
              <a:prstGeom prst="line">
                <a:avLst/>
              </a:prstGeom>
              <a:ln w="1270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a:off x="4871058" y="5169895"/>
                <a:ext cx="0" cy="315192"/>
              </a:xfrm>
              <a:prstGeom prst="line">
                <a:avLst/>
              </a:prstGeom>
              <a:ln w="1270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a:off x="4929134" y="5169895"/>
                <a:ext cx="0" cy="315192"/>
              </a:xfrm>
              <a:prstGeom prst="line">
                <a:avLst/>
              </a:prstGeom>
              <a:ln w="1270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a:off x="4721454" y="5272105"/>
                <a:ext cx="262256" cy="0"/>
              </a:xfrm>
              <a:prstGeom prst="line">
                <a:avLst/>
              </a:prstGeom>
              <a:ln w="1270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a:off x="4721454" y="5325057"/>
                <a:ext cx="262256" cy="0"/>
              </a:xfrm>
              <a:prstGeom prst="line">
                <a:avLst/>
              </a:prstGeom>
              <a:ln w="1270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a:off x="4722262" y="5378009"/>
                <a:ext cx="262256" cy="0"/>
              </a:xfrm>
              <a:prstGeom prst="line">
                <a:avLst/>
              </a:prstGeom>
              <a:ln w="1270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a:off x="4722262" y="5430961"/>
                <a:ext cx="262256" cy="0"/>
              </a:xfrm>
              <a:prstGeom prst="line">
                <a:avLst/>
              </a:prstGeom>
              <a:ln w="1270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a:off x="4722181" y="5219153"/>
                <a:ext cx="262256" cy="0"/>
              </a:xfrm>
              <a:prstGeom prst="line">
                <a:avLst/>
              </a:prstGeom>
              <a:ln w="1270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24668079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nodeType="withEffect">
                                  <p:stCondLst>
                                    <p:cond delay="0"/>
                                  </p:stCondLst>
                                  <p:childTnLst>
                                    <p:set>
                                      <p:cBhvr>
                                        <p:cTn id="9" dur="1" fill="hold">
                                          <p:stCondLst>
                                            <p:cond delay="0"/>
                                          </p:stCondLst>
                                        </p:cTn>
                                        <p:tgtEl>
                                          <p:spTgt spid="36"/>
                                        </p:tgtEl>
                                        <p:attrNameLst>
                                          <p:attrName>style.visibility</p:attrName>
                                        </p:attrNameLst>
                                      </p:cBhvr>
                                      <p:to>
                                        <p:strVal val="visible"/>
                                      </p:to>
                                    </p:set>
                                    <p:animEffect transition="in" filter="fade">
                                      <p:cBhvr>
                                        <p:cTn id="10" dur="500"/>
                                        <p:tgtEl>
                                          <p:spTgt spid="36"/>
                                        </p:tgtEl>
                                      </p:cBhvr>
                                    </p:animEffect>
                                  </p:childTnLst>
                                </p:cTn>
                              </p:par>
                            </p:childTnLst>
                          </p:cTn>
                        </p:par>
                        <p:par>
                          <p:cTn id="11" fill="hold">
                            <p:stCondLst>
                              <p:cond delay="500"/>
                            </p:stCondLst>
                            <p:childTnLst>
                              <p:par>
                                <p:cTn id="12" presetID="22" presetClass="entr" presetSubtype="4" fill="hold" nodeType="afterEffect">
                                  <p:stCondLst>
                                    <p:cond delay="0"/>
                                  </p:stCondLst>
                                  <p:childTnLst>
                                    <p:set>
                                      <p:cBhvr>
                                        <p:cTn id="13" dur="1" fill="hold">
                                          <p:stCondLst>
                                            <p:cond delay="0"/>
                                          </p:stCondLst>
                                        </p:cTn>
                                        <p:tgtEl>
                                          <p:spTgt spid="56"/>
                                        </p:tgtEl>
                                        <p:attrNameLst>
                                          <p:attrName>style.visibility</p:attrName>
                                        </p:attrNameLst>
                                      </p:cBhvr>
                                      <p:to>
                                        <p:strVal val="visible"/>
                                      </p:to>
                                    </p:set>
                                    <p:animEffect transition="in" filter="wipe(down)">
                                      <p:cBhvr>
                                        <p:cTn id="14" dur="500"/>
                                        <p:tgtEl>
                                          <p:spTgt spid="56"/>
                                        </p:tgtEl>
                                      </p:cBhvr>
                                    </p:animEffect>
                                  </p:childTnLst>
                                </p:cTn>
                              </p:par>
                              <p:par>
                                <p:cTn id="15" presetID="22" presetClass="entr" presetSubtype="4" fill="hold" nodeType="withEffect">
                                  <p:stCondLst>
                                    <p:cond delay="0"/>
                                  </p:stCondLst>
                                  <p:childTnLst>
                                    <p:set>
                                      <p:cBhvr>
                                        <p:cTn id="16" dur="1" fill="hold">
                                          <p:stCondLst>
                                            <p:cond delay="0"/>
                                          </p:stCondLst>
                                        </p:cTn>
                                        <p:tgtEl>
                                          <p:spTgt spid="58"/>
                                        </p:tgtEl>
                                        <p:attrNameLst>
                                          <p:attrName>style.visibility</p:attrName>
                                        </p:attrNameLst>
                                      </p:cBhvr>
                                      <p:to>
                                        <p:strVal val="visible"/>
                                      </p:to>
                                    </p:set>
                                    <p:animEffect transition="in" filter="wipe(down)">
                                      <p:cBhvr>
                                        <p:cTn id="17" dur="500"/>
                                        <p:tgtEl>
                                          <p:spTgt spid="58"/>
                                        </p:tgtEl>
                                      </p:cBhvr>
                                    </p:animEffec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nodeType="clickEffect">
                                  <p:stCondLst>
                                    <p:cond delay="0"/>
                                  </p:stCondLst>
                                  <p:childTnLst>
                                    <p:set>
                                      <p:cBhvr>
                                        <p:cTn id="21" dur="1" fill="hold">
                                          <p:stCondLst>
                                            <p:cond delay="0"/>
                                          </p:stCondLst>
                                        </p:cTn>
                                        <p:tgtEl>
                                          <p:spTgt spid="59"/>
                                        </p:tgtEl>
                                        <p:attrNameLst>
                                          <p:attrName>style.visibility</p:attrName>
                                        </p:attrNameLst>
                                      </p:cBhvr>
                                      <p:to>
                                        <p:strVal val="visible"/>
                                      </p:to>
                                    </p:se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15"/>
                                        </p:tgtEl>
                                        <p:attrNameLst>
                                          <p:attrName>style.visibility</p:attrName>
                                        </p:attrNameLst>
                                      </p:cBhvr>
                                      <p:to>
                                        <p:strVal val="visible"/>
                                      </p:to>
                                    </p:set>
                                    <p:animEffect transition="in" filter="fade">
                                      <p:cBhvr>
                                        <p:cTn id="26" dur="500"/>
                                        <p:tgtEl>
                                          <p:spTgt spid="15"/>
                                        </p:tgtEl>
                                      </p:cBhvr>
                                    </p:animEffect>
                                  </p:childTnLst>
                                </p:cTn>
                              </p:par>
                            </p:childTnLst>
                          </p:cTn>
                        </p:par>
                        <p:par>
                          <p:cTn id="27" fill="hold">
                            <p:stCondLst>
                              <p:cond delay="500"/>
                            </p:stCondLst>
                            <p:childTnLst>
                              <p:par>
                                <p:cTn id="28" presetID="22" presetClass="entr" presetSubtype="8" fill="hold" nodeType="afterEffect">
                                  <p:stCondLst>
                                    <p:cond delay="0"/>
                                  </p:stCondLst>
                                  <p:childTnLst>
                                    <p:set>
                                      <p:cBhvr>
                                        <p:cTn id="29" dur="1" fill="hold">
                                          <p:stCondLst>
                                            <p:cond delay="0"/>
                                          </p:stCondLst>
                                        </p:cTn>
                                        <p:tgtEl>
                                          <p:spTgt spid="20"/>
                                        </p:tgtEl>
                                        <p:attrNameLst>
                                          <p:attrName>style.visibility</p:attrName>
                                        </p:attrNameLst>
                                      </p:cBhvr>
                                      <p:to>
                                        <p:strVal val="visible"/>
                                      </p:to>
                                    </p:set>
                                    <p:animEffect transition="in" filter="wipe(left)">
                                      <p:cBhvr>
                                        <p:cTn id="30" dur="500"/>
                                        <p:tgtEl>
                                          <p:spTgt spid="20"/>
                                        </p:tgtEl>
                                      </p:cBhvr>
                                    </p:animEffect>
                                  </p:childTnLst>
                                </p:cTn>
                              </p:par>
                            </p:childTnLst>
                          </p:cTn>
                        </p:par>
                      </p:childTnLst>
                    </p:cTn>
                  </p:par>
                  <p:par>
                    <p:cTn id="31" fill="hold">
                      <p:stCondLst>
                        <p:cond delay="indefinite"/>
                      </p:stCondLst>
                      <p:childTnLst>
                        <p:par>
                          <p:cTn id="32" fill="hold">
                            <p:stCondLst>
                              <p:cond delay="0"/>
                            </p:stCondLst>
                            <p:childTnLst>
                              <p:par>
                                <p:cTn id="33" presetID="22" presetClass="entr" presetSubtype="1" fill="hold" nodeType="clickEffect">
                                  <p:stCondLst>
                                    <p:cond delay="0"/>
                                  </p:stCondLst>
                                  <p:childTnLst>
                                    <p:set>
                                      <p:cBhvr>
                                        <p:cTn id="34" dur="1" fill="hold">
                                          <p:stCondLst>
                                            <p:cond delay="0"/>
                                          </p:stCondLst>
                                        </p:cTn>
                                        <p:tgtEl>
                                          <p:spTgt spid="23"/>
                                        </p:tgtEl>
                                        <p:attrNameLst>
                                          <p:attrName>style.visibility</p:attrName>
                                        </p:attrNameLst>
                                      </p:cBhvr>
                                      <p:to>
                                        <p:strVal val="visible"/>
                                      </p:to>
                                    </p:set>
                                    <p:animEffect transition="in" filter="wipe(up)">
                                      <p:cBhvr>
                                        <p:cTn id="35"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p:txBody>
          <a:bodyPr/>
          <a:lstStyle/>
          <a:p>
            <a:r>
              <a:rPr lang="fr-FR" dirty="0" smtClean="0"/>
              <a:t>Démonstration</a:t>
            </a:r>
          </a:p>
          <a:p>
            <a:endParaRPr lang="fr-FR" dirty="0"/>
          </a:p>
        </p:txBody>
      </p:sp>
      <p:sp>
        <p:nvSpPr>
          <p:cNvPr id="8" name="Text Placeholder 7"/>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sp>
        <p:nvSpPr>
          <p:cNvPr id="6" name="Title 5"/>
          <p:cNvSpPr>
            <a:spLocks noGrp="1"/>
          </p:cNvSpPr>
          <p:nvPr>
            <p:ph type="title"/>
          </p:nvPr>
        </p:nvSpPr>
        <p:spPr/>
        <p:txBody>
          <a:bodyPr/>
          <a:lstStyle/>
          <a:p>
            <a:r>
              <a:rPr lang="fr-FR" dirty="0" err="1" smtClean="0"/>
              <a:t>Polybase</a:t>
            </a:r>
            <a:endParaRPr lang="fr-FR" dirty="0"/>
          </a:p>
        </p:txBody>
      </p:sp>
    </p:spTree>
    <p:extLst>
      <p:ext uri="{BB962C8B-B14F-4D97-AF65-F5344CB8AC3E}">
        <p14:creationId xmlns:p14="http://schemas.microsoft.com/office/powerpoint/2010/main" val="3217941731"/>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0" name="Rectangle 149"/>
          <p:cNvSpPr/>
          <p:nvPr/>
        </p:nvSpPr>
        <p:spPr bwMode="auto">
          <a:xfrm>
            <a:off x="416142" y="1727659"/>
            <a:ext cx="11612880" cy="446592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182828" rIns="182828" bIns="45706" numCol="1" spcCol="0" rtlCol="0" fromWordArt="0" anchor="t" anchorCtr="0" forceAA="0" compatLnSpc="1">
            <a:prstTxWarp prst="textNoShape">
              <a:avLst/>
            </a:prstTxWarp>
            <a:noAutofit/>
          </a:bodyPr>
          <a:lstStyle/>
          <a:p>
            <a:pPr algn="r" defTabSz="931505">
              <a:lnSpc>
                <a:spcPct val="90000"/>
              </a:lnSpc>
              <a:spcAft>
                <a:spcPts val="600"/>
              </a:spcAft>
            </a:pPr>
            <a:endParaRPr lang="en-US" sz="1800" dirty="0">
              <a:solidFill>
                <a:srgbClr val="505050"/>
              </a:solidFill>
              <a:latin typeface="Segoe UI Semibold" panose="020B0702040204020203" pitchFamily="34" charset="0"/>
              <a:cs typeface="Segoe UI Semibold" panose="020B0702040204020203" pitchFamily="34" charset="0"/>
            </a:endParaRPr>
          </a:p>
        </p:txBody>
      </p:sp>
      <p:sp>
        <p:nvSpPr>
          <p:cNvPr id="13" name="Arc 12"/>
          <p:cNvSpPr/>
          <p:nvPr/>
        </p:nvSpPr>
        <p:spPr>
          <a:xfrm rot="18333613">
            <a:off x="4697499" y="2420278"/>
            <a:ext cx="5117432" cy="5932611"/>
          </a:xfrm>
          <a:prstGeom prst="arc">
            <a:avLst>
              <a:gd name="adj1" fmla="val 16132000"/>
              <a:gd name="adj2" fmla="val 0"/>
            </a:avLst>
          </a:prstGeom>
          <a:ln>
            <a:solidFill>
              <a:schemeClr val="accent1">
                <a:lumMod val="50000"/>
              </a:schemeClr>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129" name="Rectangle 128"/>
          <p:cNvSpPr/>
          <p:nvPr/>
        </p:nvSpPr>
        <p:spPr>
          <a:xfrm>
            <a:off x="4096393" y="2740727"/>
            <a:ext cx="547054" cy="44890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31505" fontAlgn="auto">
              <a:spcBef>
                <a:spcPts val="0"/>
              </a:spcBef>
              <a:spcAft>
                <a:spcPts val="0"/>
              </a:spcAft>
            </a:pPr>
            <a:endParaRPr lang="en-US" sz="1800">
              <a:solidFill>
                <a:prstClr val="white"/>
              </a:solidFill>
            </a:endParaRPr>
          </a:p>
        </p:txBody>
      </p:sp>
      <p:graphicFrame>
        <p:nvGraphicFramePr>
          <p:cNvPr id="26" name="Object 25" hidden="1"/>
          <p:cNvGraphicFramePr>
            <a:graphicFrameLocks noChangeAspect="1"/>
          </p:cNvGraphicFramePr>
          <p:nvPr>
            <p:custDataLst>
              <p:tags r:id="rId2"/>
            </p:custDataLst>
            <p:extLst/>
          </p:nvPr>
        </p:nvGraphicFramePr>
        <p:xfrm>
          <a:off x="4235" y="3077"/>
          <a:ext cx="1587" cy="1587"/>
        </p:xfrm>
        <a:graphic>
          <a:graphicData uri="http://schemas.openxmlformats.org/presentationml/2006/ole">
            <mc:AlternateContent xmlns:mc="http://schemas.openxmlformats.org/markup-compatibility/2006">
              <mc:Choice xmlns:v="urn:schemas-microsoft-com:vml" Requires="v">
                <p:oleObj spid="_x0000_s3106" name="think-cell Slide" r:id="rId17" imgW="270" imgH="270" progId="TCLayout.ActiveDocument.1">
                  <p:embed/>
                </p:oleObj>
              </mc:Choice>
              <mc:Fallback>
                <p:oleObj name="think-cell Slide" r:id="rId17" imgW="270" imgH="270" progId="TCLayout.ActiveDocument.1">
                  <p:embed/>
                  <p:pic>
                    <p:nvPicPr>
                      <p:cNvPr id="0" name=""/>
                      <p:cNvPicPr/>
                      <p:nvPr/>
                    </p:nvPicPr>
                    <p:blipFill>
                      <a:blip r:embed="rId18"/>
                      <a:stretch>
                        <a:fillRect/>
                      </a:stretch>
                    </p:blipFill>
                    <p:spPr>
                      <a:xfrm>
                        <a:off x="4235" y="3077"/>
                        <a:ext cx="1587" cy="1587"/>
                      </a:xfrm>
                      <a:prstGeom prst="rect">
                        <a:avLst/>
                      </a:prstGeom>
                    </p:spPr>
                  </p:pic>
                </p:oleObj>
              </mc:Fallback>
            </mc:AlternateContent>
          </a:graphicData>
        </a:graphic>
      </p:graphicFrame>
      <p:sp>
        <p:nvSpPr>
          <p:cNvPr id="123" name="TextBox 122"/>
          <p:cNvSpPr txBox="1"/>
          <p:nvPr/>
        </p:nvSpPr>
        <p:spPr>
          <a:xfrm>
            <a:off x="5243979" y="3927615"/>
            <a:ext cx="2330846" cy="466169"/>
          </a:xfrm>
          <a:prstGeom prst="rect">
            <a:avLst/>
          </a:prstGeom>
          <a:noFill/>
        </p:spPr>
        <p:txBody>
          <a:bodyPr wrap="square" lIns="0" tIns="0" rIns="0" bIns="0" rtlCol="0">
            <a:noAutofit/>
          </a:bodyPr>
          <a:lstStyle/>
          <a:p>
            <a:pPr algn="ctr" defTabSz="932239" fontAlgn="auto">
              <a:spcBef>
                <a:spcPts val="0"/>
              </a:spcBef>
              <a:spcAft>
                <a:spcPts val="0"/>
              </a:spcAft>
            </a:pPr>
            <a:r>
              <a:rPr lang="en-US" sz="1598" dirty="0">
                <a:solidFill>
                  <a:srgbClr val="5B9BD5">
                    <a:lumMod val="50000"/>
                  </a:srgbClr>
                </a:solidFill>
                <a:latin typeface="Segoe UI Semibold" panose="020B0702040204020203" pitchFamily="34" charset="0"/>
                <a:cs typeface="Segoe UI Semibold" panose="020B0702040204020203" pitchFamily="34" charset="0"/>
              </a:rPr>
              <a:t>Data Scientist</a:t>
            </a:r>
          </a:p>
        </p:txBody>
      </p:sp>
      <p:sp>
        <p:nvSpPr>
          <p:cNvPr id="124" name="TextBox 123"/>
          <p:cNvSpPr txBox="1"/>
          <p:nvPr/>
        </p:nvSpPr>
        <p:spPr>
          <a:xfrm>
            <a:off x="5243979" y="4201600"/>
            <a:ext cx="2330846" cy="466169"/>
          </a:xfrm>
          <a:prstGeom prst="rect">
            <a:avLst/>
          </a:prstGeom>
          <a:noFill/>
        </p:spPr>
        <p:txBody>
          <a:bodyPr wrap="square" lIns="0" tIns="0" rIns="0" bIns="0" rtlCol="0">
            <a:noAutofit/>
          </a:bodyPr>
          <a:lstStyle/>
          <a:p>
            <a:pPr algn="ctr" defTabSz="932239" fontAlgn="auto">
              <a:spcBef>
                <a:spcPts val="0"/>
              </a:spcBef>
              <a:spcAft>
                <a:spcPts val="0"/>
              </a:spcAft>
            </a:pPr>
            <a:r>
              <a:rPr lang="en-US" sz="1398" dirty="0">
                <a:solidFill>
                  <a:srgbClr val="404040"/>
                </a:solidFill>
                <a:latin typeface="Segoe UI" panose="020B0502040204020203" pitchFamily="34" charset="0"/>
                <a:cs typeface="Segoe UI" panose="020B0502040204020203" pitchFamily="34" charset="0"/>
              </a:rPr>
              <a:t>Interact directly </a:t>
            </a:r>
            <a:r>
              <a:rPr lang="en-US" sz="1398" dirty="0">
                <a:solidFill>
                  <a:prstClr val="black">
                    <a:lumMod val="75000"/>
                    <a:lumOff val="25000"/>
                  </a:prstClr>
                </a:solidFill>
                <a:latin typeface="Segoe UI" panose="020B0502040204020203" pitchFamily="34" charset="0"/>
                <a:cs typeface="Segoe UI" panose="020B0502040204020203" pitchFamily="34" charset="0"/>
              </a:rPr>
              <a:t>with data</a:t>
            </a:r>
          </a:p>
        </p:txBody>
      </p:sp>
      <p:grpSp>
        <p:nvGrpSpPr>
          <p:cNvPr id="139" name="Group 138"/>
          <p:cNvGrpSpPr>
            <a:grpSpLocks noChangeAspect="1"/>
          </p:cNvGrpSpPr>
          <p:nvPr/>
        </p:nvGrpSpPr>
        <p:grpSpPr>
          <a:xfrm>
            <a:off x="6087944" y="3280494"/>
            <a:ext cx="642914" cy="594929"/>
            <a:chOff x="5809310" y="1674658"/>
            <a:chExt cx="4585732" cy="4226967"/>
          </a:xfrm>
          <a:solidFill>
            <a:schemeClr val="bg1">
              <a:lumMod val="50000"/>
            </a:schemeClr>
          </a:solidFill>
        </p:grpSpPr>
        <p:sp>
          <p:nvSpPr>
            <p:cNvPr id="140" name="Oval 139"/>
            <p:cNvSpPr/>
            <p:nvPr/>
          </p:nvSpPr>
          <p:spPr>
            <a:xfrm>
              <a:off x="6881217" y="1674658"/>
              <a:ext cx="2210082" cy="2210082"/>
            </a:xfrm>
            <a:prstGeom prst="ellipse">
              <a:avLst/>
            </a:prstGeom>
            <a:solidFill>
              <a:srgbClr val="0039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239" fontAlgn="auto">
                <a:spcBef>
                  <a:spcPts val="0"/>
                </a:spcBef>
                <a:spcAft>
                  <a:spcPts val="0"/>
                </a:spcAft>
              </a:pPr>
              <a:endParaRPr lang="en-IN" sz="1836">
                <a:solidFill>
                  <a:prstClr val="white"/>
                </a:solidFill>
              </a:endParaRPr>
            </a:p>
          </p:txBody>
        </p:sp>
        <p:sp>
          <p:nvSpPr>
            <p:cNvPr id="141" name="Freeform 140"/>
            <p:cNvSpPr/>
            <p:nvPr/>
          </p:nvSpPr>
          <p:spPr>
            <a:xfrm>
              <a:off x="5809310" y="3984172"/>
              <a:ext cx="3316029" cy="1917453"/>
            </a:xfrm>
            <a:custGeom>
              <a:avLst/>
              <a:gdLst>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528596 w 3331029"/>
                <a:gd name="connsiteY14" fmla="*/ 1212980 h 1912775"/>
                <a:gd name="connsiteX15" fmla="*/ 2258008 w 3331029"/>
                <a:gd name="connsiteY15" fmla="*/ 1716833 h 1912775"/>
                <a:gd name="connsiteX16" fmla="*/ 2164702 w 3331029"/>
                <a:gd name="connsiteY16" fmla="*/ 1782147 h 1912775"/>
                <a:gd name="connsiteX17" fmla="*/ 1968760 w 3331029"/>
                <a:gd name="connsiteY17" fmla="*/ 1446245 h 1912775"/>
                <a:gd name="connsiteX18" fmla="*/ 1688841 w 3331029"/>
                <a:gd name="connsiteY18" fmla="*/ 886408 h 1912775"/>
                <a:gd name="connsiteX19" fmla="*/ 1558213 w 3331029"/>
                <a:gd name="connsiteY19" fmla="*/ 457200 h 1912775"/>
                <a:gd name="connsiteX20" fmla="*/ 1418253 w 3331029"/>
                <a:gd name="connsiteY20"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528596 w 3331029"/>
                <a:gd name="connsiteY14" fmla="*/ 1212980 h 1912775"/>
                <a:gd name="connsiteX15" fmla="*/ 2164702 w 3331029"/>
                <a:gd name="connsiteY15" fmla="*/ 1782147 h 1912775"/>
                <a:gd name="connsiteX16" fmla="*/ 1968760 w 3331029"/>
                <a:gd name="connsiteY16" fmla="*/ 1446245 h 1912775"/>
                <a:gd name="connsiteX17" fmla="*/ 1688841 w 3331029"/>
                <a:gd name="connsiteY17" fmla="*/ 886408 h 1912775"/>
                <a:gd name="connsiteX18" fmla="*/ 1558213 w 3331029"/>
                <a:gd name="connsiteY18" fmla="*/ 457200 h 1912775"/>
                <a:gd name="connsiteX19" fmla="*/ 1418253 w 3331029"/>
                <a:gd name="connsiteY19"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827176 w 3331029"/>
                <a:gd name="connsiteY13" fmla="*/ 279918 h 1912775"/>
                <a:gd name="connsiteX14" fmla="*/ 2164702 w 3331029"/>
                <a:gd name="connsiteY14" fmla="*/ 1782147 h 1912775"/>
                <a:gd name="connsiteX15" fmla="*/ 1968760 w 3331029"/>
                <a:gd name="connsiteY15" fmla="*/ 1446245 h 1912775"/>
                <a:gd name="connsiteX16" fmla="*/ 1688841 w 3331029"/>
                <a:gd name="connsiteY16" fmla="*/ 886408 h 1912775"/>
                <a:gd name="connsiteX17" fmla="*/ 1558213 w 3331029"/>
                <a:gd name="connsiteY17" fmla="*/ 457200 h 1912775"/>
                <a:gd name="connsiteX18" fmla="*/ 1418253 w 3331029"/>
                <a:gd name="connsiteY18"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688841 w 3331029"/>
                <a:gd name="connsiteY15" fmla="*/ 886408 h 1912775"/>
                <a:gd name="connsiteX16" fmla="*/ 1558213 w 3331029"/>
                <a:gd name="connsiteY16" fmla="*/ 457200 h 1912775"/>
                <a:gd name="connsiteX17" fmla="*/ 1418253 w 3331029"/>
                <a:gd name="connsiteY17"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688841 w 3331029"/>
                <a:gd name="connsiteY15" fmla="*/ 886408 h 1912775"/>
                <a:gd name="connsiteX16" fmla="*/ 1418253 w 3331029"/>
                <a:gd name="connsiteY16"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968760 w 3331029"/>
                <a:gd name="connsiteY14" fmla="*/ 1446245 h 1912775"/>
                <a:gd name="connsiteX15" fmla="*/ 1418253 w 3331029"/>
                <a:gd name="connsiteY15"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18253 w 3331029"/>
                <a:gd name="connsiteY0" fmla="*/ 9331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18253 w 3331029"/>
                <a:gd name="connsiteY14" fmla="*/ 9331 h 1912775"/>
                <a:gd name="connsiteX0" fmla="*/ 1436914 w 3331029"/>
                <a:gd name="connsiteY0" fmla="*/ 0 h 1912775"/>
                <a:gd name="connsiteX1" fmla="*/ 475862 w 3331029"/>
                <a:gd name="connsiteY1" fmla="*/ 419877 h 1912775"/>
                <a:gd name="connsiteX2" fmla="*/ 223935 w 3331029"/>
                <a:gd name="connsiteY2" fmla="*/ 699796 h 1912775"/>
                <a:gd name="connsiteX3" fmla="*/ 130629 w 3331029"/>
                <a:gd name="connsiteY3" fmla="*/ 989045 h 1912775"/>
                <a:gd name="connsiteX4" fmla="*/ 0 w 3331029"/>
                <a:gd name="connsiteY4" fmla="*/ 1614196 h 1912775"/>
                <a:gd name="connsiteX5" fmla="*/ 746449 w 3331029"/>
                <a:gd name="connsiteY5" fmla="*/ 1828800 h 1912775"/>
                <a:gd name="connsiteX6" fmla="*/ 1735494 w 3331029"/>
                <a:gd name="connsiteY6" fmla="*/ 1912775 h 1912775"/>
                <a:gd name="connsiteX7" fmla="*/ 2948474 w 3331029"/>
                <a:gd name="connsiteY7" fmla="*/ 1884784 h 1912775"/>
                <a:gd name="connsiteX8" fmla="*/ 2901821 w 3331029"/>
                <a:gd name="connsiteY8" fmla="*/ 1772816 h 1912775"/>
                <a:gd name="connsiteX9" fmla="*/ 3247053 w 3331029"/>
                <a:gd name="connsiteY9" fmla="*/ 783771 h 1912775"/>
                <a:gd name="connsiteX10" fmla="*/ 3331029 w 3331029"/>
                <a:gd name="connsiteY10" fmla="*/ 513184 h 1912775"/>
                <a:gd name="connsiteX11" fmla="*/ 3331029 w 3331029"/>
                <a:gd name="connsiteY11" fmla="*/ 158620 h 1912775"/>
                <a:gd name="connsiteX12" fmla="*/ 2911151 w 3331029"/>
                <a:gd name="connsiteY12" fmla="*/ 0 h 1912775"/>
                <a:gd name="connsiteX13" fmla="*/ 2164702 w 3331029"/>
                <a:gd name="connsiteY13" fmla="*/ 1782147 h 1912775"/>
                <a:gd name="connsiteX14" fmla="*/ 1436914 w 3331029"/>
                <a:gd name="connsiteY14" fmla="*/ 0 h 1912775"/>
                <a:gd name="connsiteX0" fmla="*/ 1436914 w 3331029"/>
                <a:gd name="connsiteY0" fmla="*/ 0 h 1912775"/>
                <a:gd name="connsiteX1" fmla="*/ 223935 w 3331029"/>
                <a:gd name="connsiteY1" fmla="*/ 699796 h 1912775"/>
                <a:gd name="connsiteX2" fmla="*/ 130629 w 3331029"/>
                <a:gd name="connsiteY2" fmla="*/ 989045 h 1912775"/>
                <a:gd name="connsiteX3" fmla="*/ 0 w 3331029"/>
                <a:gd name="connsiteY3" fmla="*/ 1614196 h 1912775"/>
                <a:gd name="connsiteX4" fmla="*/ 746449 w 3331029"/>
                <a:gd name="connsiteY4" fmla="*/ 1828800 h 1912775"/>
                <a:gd name="connsiteX5" fmla="*/ 1735494 w 3331029"/>
                <a:gd name="connsiteY5" fmla="*/ 1912775 h 1912775"/>
                <a:gd name="connsiteX6" fmla="*/ 2948474 w 3331029"/>
                <a:gd name="connsiteY6" fmla="*/ 1884784 h 1912775"/>
                <a:gd name="connsiteX7" fmla="*/ 2901821 w 3331029"/>
                <a:gd name="connsiteY7" fmla="*/ 1772816 h 1912775"/>
                <a:gd name="connsiteX8" fmla="*/ 3247053 w 3331029"/>
                <a:gd name="connsiteY8" fmla="*/ 783771 h 1912775"/>
                <a:gd name="connsiteX9" fmla="*/ 3331029 w 3331029"/>
                <a:gd name="connsiteY9" fmla="*/ 513184 h 1912775"/>
                <a:gd name="connsiteX10" fmla="*/ 3331029 w 3331029"/>
                <a:gd name="connsiteY10" fmla="*/ 158620 h 1912775"/>
                <a:gd name="connsiteX11" fmla="*/ 2911151 w 3331029"/>
                <a:gd name="connsiteY11" fmla="*/ 0 h 1912775"/>
                <a:gd name="connsiteX12" fmla="*/ 2164702 w 3331029"/>
                <a:gd name="connsiteY12" fmla="*/ 1782147 h 1912775"/>
                <a:gd name="connsiteX13" fmla="*/ 1436914 w 3331029"/>
                <a:gd name="connsiteY13" fmla="*/ 0 h 1912775"/>
                <a:gd name="connsiteX0" fmla="*/ 1436914 w 3331029"/>
                <a:gd name="connsiteY0" fmla="*/ 0 h 1912775"/>
                <a:gd name="connsiteX1" fmla="*/ 130629 w 3331029"/>
                <a:gd name="connsiteY1" fmla="*/ 989045 h 1912775"/>
                <a:gd name="connsiteX2" fmla="*/ 0 w 3331029"/>
                <a:gd name="connsiteY2" fmla="*/ 1614196 h 1912775"/>
                <a:gd name="connsiteX3" fmla="*/ 746449 w 3331029"/>
                <a:gd name="connsiteY3" fmla="*/ 1828800 h 1912775"/>
                <a:gd name="connsiteX4" fmla="*/ 1735494 w 3331029"/>
                <a:gd name="connsiteY4" fmla="*/ 1912775 h 1912775"/>
                <a:gd name="connsiteX5" fmla="*/ 2948474 w 3331029"/>
                <a:gd name="connsiteY5" fmla="*/ 1884784 h 1912775"/>
                <a:gd name="connsiteX6" fmla="*/ 2901821 w 3331029"/>
                <a:gd name="connsiteY6" fmla="*/ 1772816 h 1912775"/>
                <a:gd name="connsiteX7" fmla="*/ 3247053 w 3331029"/>
                <a:gd name="connsiteY7" fmla="*/ 783771 h 1912775"/>
                <a:gd name="connsiteX8" fmla="*/ 3331029 w 3331029"/>
                <a:gd name="connsiteY8" fmla="*/ 513184 h 1912775"/>
                <a:gd name="connsiteX9" fmla="*/ 3331029 w 3331029"/>
                <a:gd name="connsiteY9" fmla="*/ 158620 h 1912775"/>
                <a:gd name="connsiteX10" fmla="*/ 2911151 w 3331029"/>
                <a:gd name="connsiteY10" fmla="*/ 0 h 1912775"/>
                <a:gd name="connsiteX11" fmla="*/ 2164702 w 3331029"/>
                <a:gd name="connsiteY11" fmla="*/ 1782147 h 1912775"/>
                <a:gd name="connsiteX12" fmla="*/ 1436914 w 3331029"/>
                <a:gd name="connsiteY12"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746449 w 3331029"/>
                <a:gd name="connsiteY2" fmla="*/ 1828800 h 1912775"/>
                <a:gd name="connsiteX3" fmla="*/ 1735494 w 3331029"/>
                <a:gd name="connsiteY3" fmla="*/ 1912775 h 1912775"/>
                <a:gd name="connsiteX4" fmla="*/ 2948474 w 3331029"/>
                <a:gd name="connsiteY4" fmla="*/ 1884784 h 1912775"/>
                <a:gd name="connsiteX5" fmla="*/ 2901821 w 3331029"/>
                <a:gd name="connsiteY5" fmla="*/ 1772816 h 1912775"/>
                <a:gd name="connsiteX6" fmla="*/ 3247053 w 3331029"/>
                <a:gd name="connsiteY6" fmla="*/ 783771 h 1912775"/>
                <a:gd name="connsiteX7" fmla="*/ 3331029 w 3331029"/>
                <a:gd name="connsiteY7" fmla="*/ 513184 h 1912775"/>
                <a:gd name="connsiteX8" fmla="*/ 3331029 w 3331029"/>
                <a:gd name="connsiteY8" fmla="*/ 158620 h 1912775"/>
                <a:gd name="connsiteX9" fmla="*/ 2911151 w 3331029"/>
                <a:gd name="connsiteY9" fmla="*/ 0 h 1912775"/>
                <a:gd name="connsiteX10" fmla="*/ 2164702 w 3331029"/>
                <a:gd name="connsiteY10" fmla="*/ 1782147 h 1912775"/>
                <a:gd name="connsiteX11" fmla="*/ 1436914 w 3331029"/>
                <a:gd name="connsiteY11" fmla="*/ 0 h 1912775"/>
                <a:gd name="connsiteX0" fmla="*/ 1436914 w 3331029"/>
                <a:gd name="connsiteY0" fmla="*/ 0 h 1912775"/>
                <a:gd name="connsiteX1" fmla="*/ 0 w 3331029"/>
                <a:gd name="connsiteY1" fmla="*/ 1614196 h 1912775"/>
                <a:gd name="connsiteX2" fmla="*/ 1735494 w 3331029"/>
                <a:gd name="connsiteY2" fmla="*/ 1912775 h 1912775"/>
                <a:gd name="connsiteX3" fmla="*/ 2948474 w 3331029"/>
                <a:gd name="connsiteY3" fmla="*/ 1884784 h 1912775"/>
                <a:gd name="connsiteX4" fmla="*/ 2901821 w 3331029"/>
                <a:gd name="connsiteY4" fmla="*/ 1772816 h 1912775"/>
                <a:gd name="connsiteX5" fmla="*/ 3247053 w 3331029"/>
                <a:gd name="connsiteY5" fmla="*/ 783771 h 1912775"/>
                <a:gd name="connsiteX6" fmla="*/ 3331029 w 3331029"/>
                <a:gd name="connsiteY6" fmla="*/ 513184 h 1912775"/>
                <a:gd name="connsiteX7" fmla="*/ 3331029 w 3331029"/>
                <a:gd name="connsiteY7" fmla="*/ 158620 h 1912775"/>
                <a:gd name="connsiteX8" fmla="*/ 2911151 w 3331029"/>
                <a:gd name="connsiteY8" fmla="*/ 0 h 1912775"/>
                <a:gd name="connsiteX9" fmla="*/ 2164702 w 3331029"/>
                <a:gd name="connsiteY9" fmla="*/ 1782147 h 1912775"/>
                <a:gd name="connsiteX10" fmla="*/ 1436914 w 3331029"/>
                <a:gd name="connsiteY10" fmla="*/ 0 h 1912775"/>
                <a:gd name="connsiteX0" fmla="*/ 1436914 w 3331029"/>
                <a:gd name="connsiteY0" fmla="*/ 0 h 1884784"/>
                <a:gd name="connsiteX1" fmla="*/ 0 w 3331029"/>
                <a:gd name="connsiteY1" fmla="*/ 1614196 h 1884784"/>
                <a:gd name="connsiteX2" fmla="*/ 2948474 w 3331029"/>
                <a:gd name="connsiteY2" fmla="*/ 1884784 h 1884784"/>
                <a:gd name="connsiteX3" fmla="*/ 2901821 w 3331029"/>
                <a:gd name="connsiteY3" fmla="*/ 1772816 h 1884784"/>
                <a:gd name="connsiteX4" fmla="*/ 3247053 w 3331029"/>
                <a:gd name="connsiteY4" fmla="*/ 783771 h 1884784"/>
                <a:gd name="connsiteX5" fmla="*/ 3331029 w 3331029"/>
                <a:gd name="connsiteY5" fmla="*/ 513184 h 1884784"/>
                <a:gd name="connsiteX6" fmla="*/ 3331029 w 3331029"/>
                <a:gd name="connsiteY6" fmla="*/ 158620 h 1884784"/>
                <a:gd name="connsiteX7" fmla="*/ 2911151 w 3331029"/>
                <a:gd name="connsiteY7" fmla="*/ 0 h 1884784"/>
                <a:gd name="connsiteX8" fmla="*/ 2164702 w 3331029"/>
                <a:gd name="connsiteY8" fmla="*/ 1782147 h 1884784"/>
                <a:gd name="connsiteX9" fmla="*/ 1436914 w 3331029"/>
                <a:gd name="connsiteY9" fmla="*/ 0 h 1884784"/>
                <a:gd name="connsiteX0" fmla="*/ 1436914 w 3331029"/>
                <a:gd name="connsiteY0" fmla="*/ 0 h 1884784"/>
                <a:gd name="connsiteX1" fmla="*/ 0 w 3331029"/>
                <a:gd name="connsiteY1" fmla="*/ 1614196 h 1884784"/>
                <a:gd name="connsiteX2" fmla="*/ 2948474 w 3331029"/>
                <a:gd name="connsiteY2" fmla="*/ 1884784 h 1884784"/>
                <a:gd name="connsiteX3" fmla="*/ 2901821 w 3331029"/>
                <a:gd name="connsiteY3" fmla="*/ 1772816 h 1884784"/>
                <a:gd name="connsiteX4" fmla="*/ 3247053 w 3331029"/>
                <a:gd name="connsiteY4" fmla="*/ 783771 h 1884784"/>
                <a:gd name="connsiteX5" fmla="*/ 3331029 w 3331029"/>
                <a:gd name="connsiteY5" fmla="*/ 513184 h 1884784"/>
                <a:gd name="connsiteX6" fmla="*/ 3331029 w 3331029"/>
                <a:gd name="connsiteY6" fmla="*/ 158620 h 1884784"/>
                <a:gd name="connsiteX7" fmla="*/ 2911151 w 3331029"/>
                <a:gd name="connsiteY7" fmla="*/ 0 h 1884784"/>
                <a:gd name="connsiteX8" fmla="*/ 2164702 w 3331029"/>
                <a:gd name="connsiteY8" fmla="*/ 1782147 h 1884784"/>
                <a:gd name="connsiteX9" fmla="*/ 1436914 w 3331029"/>
                <a:gd name="connsiteY9" fmla="*/ 0 h 1884784"/>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247053 w 3331029"/>
                <a:gd name="connsiteY4" fmla="*/ 783771 h 1915295"/>
                <a:gd name="connsiteX5" fmla="*/ 3331029 w 3331029"/>
                <a:gd name="connsiteY5" fmla="*/ 513184 h 1915295"/>
                <a:gd name="connsiteX6" fmla="*/ 3331029 w 3331029"/>
                <a:gd name="connsiteY6" fmla="*/ 158620 h 1915295"/>
                <a:gd name="connsiteX7" fmla="*/ 2911151 w 3331029"/>
                <a:gd name="connsiteY7" fmla="*/ 0 h 1915295"/>
                <a:gd name="connsiteX8" fmla="*/ 2164702 w 3331029"/>
                <a:gd name="connsiteY8" fmla="*/ 1782147 h 1915295"/>
                <a:gd name="connsiteX9" fmla="*/ 1436914 w 3331029"/>
                <a:gd name="connsiteY9" fmla="*/ 0 h 1915295"/>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331029 w 3331029"/>
                <a:gd name="connsiteY4" fmla="*/ 513184 h 1915295"/>
                <a:gd name="connsiteX5" fmla="*/ 3331029 w 3331029"/>
                <a:gd name="connsiteY5" fmla="*/ 158620 h 1915295"/>
                <a:gd name="connsiteX6" fmla="*/ 2911151 w 3331029"/>
                <a:gd name="connsiteY6" fmla="*/ 0 h 1915295"/>
                <a:gd name="connsiteX7" fmla="*/ 2164702 w 3331029"/>
                <a:gd name="connsiteY7" fmla="*/ 1782147 h 1915295"/>
                <a:gd name="connsiteX8" fmla="*/ 1436914 w 3331029"/>
                <a:gd name="connsiteY8" fmla="*/ 0 h 1915295"/>
                <a:gd name="connsiteX0" fmla="*/ 1436914 w 3331029"/>
                <a:gd name="connsiteY0" fmla="*/ 0 h 1915295"/>
                <a:gd name="connsiteX1" fmla="*/ 0 w 3331029"/>
                <a:gd name="connsiteY1" fmla="*/ 1614196 h 1915295"/>
                <a:gd name="connsiteX2" fmla="*/ 2948474 w 3331029"/>
                <a:gd name="connsiteY2" fmla="*/ 1884784 h 1915295"/>
                <a:gd name="connsiteX3" fmla="*/ 2901821 w 3331029"/>
                <a:gd name="connsiteY3" fmla="*/ 1772816 h 1915295"/>
                <a:gd name="connsiteX4" fmla="*/ 3331029 w 3331029"/>
                <a:gd name="connsiteY4" fmla="*/ 513184 h 1915295"/>
                <a:gd name="connsiteX5" fmla="*/ 3331029 w 3331029"/>
                <a:gd name="connsiteY5" fmla="*/ 158620 h 1915295"/>
                <a:gd name="connsiteX6" fmla="*/ 2911151 w 3331029"/>
                <a:gd name="connsiteY6" fmla="*/ 0 h 1915295"/>
                <a:gd name="connsiteX7" fmla="*/ 2164702 w 3331029"/>
                <a:gd name="connsiteY7" fmla="*/ 1782147 h 1915295"/>
                <a:gd name="connsiteX8" fmla="*/ 1436914 w 3331029"/>
                <a:gd name="connsiteY8" fmla="*/ 0 h 1915295"/>
                <a:gd name="connsiteX0" fmla="*/ 1414689 w 3308804"/>
                <a:gd name="connsiteY0" fmla="*/ 0 h 1917453"/>
                <a:gd name="connsiteX1" fmla="*/ 0 w 3308804"/>
                <a:gd name="connsiteY1" fmla="*/ 1623721 h 1917453"/>
                <a:gd name="connsiteX2" fmla="*/ 2926249 w 3308804"/>
                <a:gd name="connsiteY2" fmla="*/ 1884784 h 1917453"/>
                <a:gd name="connsiteX3" fmla="*/ 2879596 w 3308804"/>
                <a:gd name="connsiteY3" fmla="*/ 1772816 h 1917453"/>
                <a:gd name="connsiteX4" fmla="*/ 3308804 w 3308804"/>
                <a:gd name="connsiteY4" fmla="*/ 513184 h 1917453"/>
                <a:gd name="connsiteX5" fmla="*/ 3308804 w 3308804"/>
                <a:gd name="connsiteY5" fmla="*/ 158620 h 1917453"/>
                <a:gd name="connsiteX6" fmla="*/ 2888926 w 3308804"/>
                <a:gd name="connsiteY6" fmla="*/ 0 h 1917453"/>
                <a:gd name="connsiteX7" fmla="*/ 2142477 w 3308804"/>
                <a:gd name="connsiteY7" fmla="*/ 1782147 h 1917453"/>
                <a:gd name="connsiteX8" fmla="*/ 1414689 w 3308804"/>
                <a:gd name="connsiteY8" fmla="*/ 0 h 1917453"/>
                <a:gd name="connsiteX0" fmla="*/ 1417845 w 3311960"/>
                <a:gd name="connsiteY0" fmla="*/ 0 h 1917453"/>
                <a:gd name="connsiteX1" fmla="*/ 3156 w 3311960"/>
                <a:gd name="connsiteY1" fmla="*/ 1623721 h 1917453"/>
                <a:gd name="connsiteX2" fmla="*/ 2929405 w 3311960"/>
                <a:gd name="connsiteY2" fmla="*/ 1884784 h 1917453"/>
                <a:gd name="connsiteX3" fmla="*/ 2882752 w 3311960"/>
                <a:gd name="connsiteY3" fmla="*/ 1772816 h 1917453"/>
                <a:gd name="connsiteX4" fmla="*/ 3311960 w 3311960"/>
                <a:gd name="connsiteY4" fmla="*/ 513184 h 1917453"/>
                <a:gd name="connsiteX5" fmla="*/ 3311960 w 3311960"/>
                <a:gd name="connsiteY5" fmla="*/ 158620 h 1917453"/>
                <a:gd name="connsiteX6" fmla="*/ 2892082 w 3311960"/>
                <a:gd name="connsiteY6" fmla="*/ 0 h 1917453"/>
                <a:gd name="connsiteX7" fmla="*/ 2145633 w 3311960"/>
                <a:gd name="connsiteY7" fmla="*/ 1782147 h 1917453"/>
                <a:gd name="connsiteX8" fmla="*/ 1417845 w 3311960"/>
                <a:gd name="connsiteY8" fmla="*/ 0 h 1917453"/>
                <a:gd name="connsiteX0" fmla="*/ 1421914 w 3316029"/>
                <a:gd name="connsiteY0" fmla="*/ 0 h 1917453"/>
                <a:gd name="connsiteX1" fmla="*/ 7225 w 3316029"/>
                <a:gd name="connsiteY1" fmla="*/ 1623721 h 1917453"/>
                <a:gd name="connsiteX2" fmla="*/ 2933474 w 3316029"/>
                <a:gd name="connsiteY2" fmla="*/ 1884784 h 1917453"/>
                <a:gd name="connsiteX3" fmla="*/ 2886821 w 3316029"/>
                <a:gd name="connsiteY3" fmla="*/ 1772816 h 1917453"/>
                <a:gd name="connsiteX4" fmla="*/ 3316029 w 3316029"/>
                <a:gd name="connsiteY4" fmla="*/ 513184 h 1917453"/>
                <a:gd name="connsiteX5" fmla="*/ 3316029 w 3316029"/>
                <a:gd name="connsiteY5" fmla="*/ 158620 h 1917453"/>
                <a:gd name="connsiteX6" fmla="*/ 2896151 w 3316029"/>
                <a:gd name="connsiteY6" fmla="*/ 0 h 1917453"/>
                <a:gd name="connsiteX7" fmla="*/ 2149702 w 3316029"/>
                <a:gd name="connsiteY7" fmla="*/ 1782147 h 1917453"/>
                <a:gd name="connsiteX8" fmla="*/ 1421914 w 3316029"/>
                <a:gd name="connsiteY8" fmla="*/ 0 h 1917453"/>
                <a:gd name="connsiteX0" fmla="*/ 1421914 w 3316029"/>
                <a:gd name="connsiteY0" fmla="*/ 0 h 1917453"/>
                <a:gd name="connsiteX1" fmla="*/ 7225 w 3316029"/>
                <a:gd name="connsiteY1" fmla="*/ 1623721 h 1917453"/>
                <a:gd name="connsiteX2" fmla="*/ 2933474 w 3316029"/>
                <a:gd name="connsiteY2" fmla="*/ 1884784 h 1917453"/>
                <a:gd name="connsiteX3" fmla="*/ 2886821 w 3316029"/>
                <a:gd name="connsiteY3" fmla="*/ 1772816 h 1917453"/>
                <a:gd name="connsiteX4" fmla="*/ 3316029 w 3316029"/>
                <a:gd name="connsiteY4" fmla="*/ 513184 h 1917453"/>
                <a:gd name="connsiteX5" fmla="*/ 3316029 w 3316029"/>
                <a:gd name="connsiteY5" fmla="*/ 158620 h 1917453"/>
                <a:gd name="connsiteX6" fmla="*/ 2896151 w 3316029"/>
                <a:gd name="connsiteY6" fmla="*/ 0 h 1917453"/>
                <a:gd name="connsiteX7" fmla="*/ 2149702 w 3316029"/>
                <a:gd name="connsiteY7" fmla="*/ 1782147 h 1917453"/>
                <a:gd name="connsiteX8" fmla="*/ 1421914 w 3316029"/>
                <a:gd name="connsiteY8" fmla="*/ 0 h 1917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16029" h="1917453">
                  <a:moveTo>
                    <a:pt x="1421914" y="0"/>
                  </a:moveTo>
                  <a:cubicBezTo>
                    <a:pt x="-316689" y="435428"/>
                    <a:pt x="45908" y="1617501"/>
                    <a:pt x="7225" y="1623721"/>
                  </a:cubicBezTo>
                  <a:cubicBezTo>
                    <a:pt x="868946" y="1956513"/>
                    <a:pt x="1941319" y="1943878"/>
                    <a:pt x="2933474" y="1884784"/>
                  </a:cubicBezTo>
                  <a:lnTo>
                    <a:pt x="2886821" y="1772816"/>
                  </a:lnTo>
                  <a:lnTo>
                    <a:pt x="3316029" y="513184"/>
                  </a:lnTo>
                  <a:lnTo>
                    <a:pt x="3316029" y="158620"/>
                  </a:lnTo>
                  <a:lnTo>
                    <a:pt x="2896151" y="0"/>
                  </a:lnTo>
                  <a:cubicBezTo>
                    <a:pt x="2731310" y="584719"/>
                    <a:pt x="2473163" y="1374710"/>
                    <a:pt x="2149702" y="1782147"/>
                  </a:cubicBezTo>
                  <a:cubicBezTo>
                    <a:pt x="1826241" y="1377820"/>
                    <a:pt x="1568094" y="572278"/>
                    <a:pt x="1421914" y="0"/>
                  </a:cubicBezTo>
                  <a:close/>
                </a:path>
              </a:pathLst>
            </a:custGeom>
            <a:solidFill>
              <a:srgbClr val="0039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239" fontAlgn="auto">
                <a:spcBef>
                  <a:spcPts val="0"/>
                </a:spcBef>
                <a:spcAft>
                  <a:spcPts val="0"/>
                </a:spcAft>
              </a:pPr>
              <a:endParaRPr lang="en-IN" sz="1836">
                <a:solidFill>
                  <a:prstClr val="white"/>
                </a:solidFill>
              </a:endParaRPr>
            </a:p>
          </p:txBody>
        </p:sp>
        <p:sp>
          <p:nvSpPr>
            <p:cNvPr id="142" name="Freeform 141"/>
            <p:cNvSpPr/>
            <p:nvPr/>
          </p:nvSpPr>
          <p:spPr>
            <a:xfrm>
              <a:off x="7703901" y="4266374"/>
              <a:ext cx="426246" cy="1117201"/>
            </a:xfrm>
            <a:custGeom>
              <a:avLst/>
              <a:gdLst>
                <a:gd name="connsiteX0" fmla="*/ 73823 w 426246"/>
                <a:gd name="connsiteY0" fmla="*/ 402431 h 1117201"/>
                <a:gd name="connsiteX1" fmla="*/ 352424 w 426246"/>
                <a:gd name="connsiteY1" fmla="*/ 402431 h 1117201"/>
                <a:gd name="connsiteX2" fmla="*/ 426246 w 426246"/>
                <a:gd name="connsiteY2" fmla="*/ 726281 h 1117201"/>
                <a:gd name="connsiteX3" fmla="*/ 426245 w 426246"/>
                <a:gd name="connsiteY3" fmla="*/ 726281 h 1117201"/>
                <a:gd name="connsiteX4" fmla="*/ 213123 w 426246"/>
                <a:gd name="connsiteY4" fmla="*/ 1117201 h 1117201"/>
                <a:gd name="connsiteX5" fmla="*/ 0 w 426246"/>
                <a:gd name="connsiteY5" fmla="*/ 726281 h 1117201"/>
                <a:gd name="connsiteX6" fmla="*/ 1 w 426246"/>
                <a:gd name="connsiteY6" fmla="*/ 726281 h 1117201"/>
                <a:gd name="connsiteX7" fmla="*/ 46437 w 426246"/>
                <a:gd name="connsiteY7" fmla="*/ 0 h 1117201"/>
                <a:gd name="connsiteX8" fmla="*/ 379811 w 426246"/>
                <a:gd name="connsiteY8" fmla="*/ 0 h 1117201"/>
                <a:gd name="connsiteX9" fmla="*/ 426246 w 426246"/>
                <a:gd name="connsiteY9" fmla="*/ 46435 h 1117201"/>
                <a:gd name="connsiteX10" fmla="*/ 358380 w 426246"/>
                <a:gd name="connsiteY10" fmla="*/ 335756 h 1117201"/>
                <a:gd name="connsiteX11" fmla="*/ 65488 w 426246"/>
                <a:gd name="connsiteY11" fmla="*/ 335756 h 1117201"/>
                <a:gd name="connsiteX12" fmla="*/ 2 w 426246"/>
                <a:gd name="connsiteY12" fmla="*/ 46435 h 1117201"/>
                <a:gd name="connsiteX13" fmla="*/ 46437 w 426246"/>
                <a:gd name="connsiteY13" fmla="*/ 0 h 1117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6246" h="1117201">
                  <a:moveTo>
                    <a:pt x="73823" y="402431"/>
                  </a:moveTo>
                  <a:lnTo>
                    <a:pt x="352424" y="402431"/>
                  </a:lnTo>
                  <a:lnTo>
                    <a:pt x="426246" y="726281"/>
                  </a:lnTo>
                  <a:lnTo>
                    <a:pt x="426245" y="726281"/>
                  </a:lnTo>
                  <a:lnTo>
                    <a:pt x="213123" y="1117201"/>
                  </a:lnTo>
                  <a:lnTo>
                    <a:pt x="0" y="726281"/>
                  </a:lnTo>
                  <a:lnTo>
                    <a:pt x="1" y="726281"/>
                  </a:lnTo>
                  <a:close/>
                  <a:moveTo>
                    <a:pt x="46437" y="0"/>
                  </a:moveTo>
                  <a:lnTo>
                    <a:pt x="379811" y="0"/>
                  </a:lnTo>
                  <a:cubicBezTo>
                    <a:pt x="405456" y="0"/>
                    <a:pt x="426246" y="20790"/>
                    <a:pt x="426246" y="46435"/>
                  </a:cubicBezTo>
                  <a:lnTo>
                    <a:pt x="358380" y="335756"/>
                  </a:lnTo>
                  <a:lnTo>
                    <a:pt x="65488" y="335756"/>
                  </a:lnTo>
                  <a:cubicBezTo>
                    <a:pt x="49813" y="273249"/>
                    <a:pt x="2" y="102394"/>
                    <a:pt x="2" y="46435"/>
                  </a:cubicBezTo>
                  <a:cubicBezTo>
                    <a:pt x="2" y="20790"/>
                    <a:pt x="20792" y="0"/>
                    <a:pt x="46437" y="0"/>
                  </a:cubicBezTo>
                  <a:close/>
                </a:path>
              </a:pathLst>
            </a:custGeom>
            <a:solidFill>
              <a:srgbClr val="0039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239" fontAlgn="auto">
                <a:spcBef>
                  <a:spcPts val="0"/>
                </a:spcBef>
                <a:spcAft>
                  <a:spcPts val="0"/>
                </a:spcAft>
              </a:pPr>
              <a:endParaRPr lang="en-IN" sz="1836">
                <a:solidFill>
                  <a:prstClr val="white"/>
                </a:solidFill>
              </a:endParaRPr>
            </a:p>
          </p:txBody>
        </p:sp>
        <p:sp>
          <p:nvSpPr>
            <p:cNvPr id="143" name="Freeform 142"/>
            <p:cNvSpPr/>
            <p:nvPr/>
          </p:nvSpPr>
          <p:spPr>
            <a:xfrm>
              <a:off x="8847534" y="3857942"/>
              <a:ext cx="1547508" cy="2041525"/>
            </a:xfrm>
            <a:custGeom>
              <a:avLst/>
              <a:gdLst>
                <a:gd name="connsiteX0" fmla="*/ 552450 w 1543050"/>
                <a:gd name="connsiteY0" fmla="*/ 952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98550 w 1543050"/>
                <a:gd name="connsiteY15" fmla="*/ 942975 h 2041525"/>
                <a:gd name="connsiteX16" fmla="*/ 450850 w 1543050"/>
                <a:gd name="connsiteY16" fmla="*/ 939800 h 2041525"/>
                <a:gd name="connsiteX17" fmla="*/ 539750 w 1543050"/>
                <a:gd name="connsiteY17" fmla="*/ 679450 h 2041525"/>
                <a:gd name="connsiteX18" fmla="*/ 558800 w 1543050"/>
                <a:gd name="connsiteY18" fmla="*/ 536575 h 2041525"/>
                <a:gd name="connsiteX19" fmla="*/ 552450 w 1543050"/>
                <a:gd name="connsiteY19" fmla="*/ 9525 h 2041525"/>
                <a:gd name="connsiteX0" fmla="*/ 552450 w 1543050"/>
                <a:gd name="connsiteY0" fmla="*/ 952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98550 w 1543050"/>
                <a:gd name="connsiteY15" fmla="*/ 942975 h 2041525"/>
                <a:gd name="connsiteX16" fmla="*/ 450850 w 1543050"/>
                <a:gd name="connsiteY16" fmla="*/ 939800 h 2041525"/>
                <a:gd name="connsiteX17" fmla="*/ 558800 w 1543050"/>
                <a:gd name="connsiteY17" fmla="*/ 536575 h 2041525"/>
                <a:gd name="connsiteX18" fmla="*/ 552450 w 1543050"/>
                <a:gd name="connsiteY18" fmla="*/ 9525 h 2041525"/>
                <a:gd name="connsiteX0" fmla="*/ 552450 w 1543050"/>
                <a:gd name="connsiteY0" fmla="*/ 952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98550 w 1543050"/>
                <a:gd name="connsiteY15" fmla="*/ 942975 h 2041525"/>
                <a:gd name="connsiteX16" fmla="*/ 450850 w 1543050"/>
                <a:gd name="connsiteY16" fmla="*/ 939800 h 2041525"/>
                <a:gd name="connsiteX17" fmla="*/ 558800 w 1543050"/>
                <a:gd name="connsiteY17" fmla="*/ 536575 h 2041525"/>
                <a:gd name="connsiteX18" fmla="*/ 552450 w 1543050"/>
                <a:gd name="connsiteY18" fmla="*/ 9525 h 2041525"/>
                <a:gd name="connsiteX0" fmla="*/ 552450 w 1543050"/>
                <a:gd name="connsiteY0" fmla="*/ 952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98550 w 1543050"/>
                <a:gd name="connsiteY15" fmla="*/ 942975 h 2041525"/>
                <a:gd name="connsiteX16" fmla="*/ 450850 w 1543050"/>
                <a:gd name="connsiteY16" fmla="*/ 939800 h 2041525"/>
                <a:gd name="connsiteX17" fmla="*/ 558800 w 1543050"/>
                <a:gd name="connsiteY17" fmla="*/ 536575 h 2041525"/>
                <a:gd name="connsiteX18" fmla="*/ 552450 w 1543050"/>
                <a:gd name="connsiteY18" fmla="*/ 9525 h 2041525"/>
                <a:gd name="connsiteX0" fmla="*/ 552450 w 1543050"/>
                <a:gd name="connsiteY0" fmla="*/ 952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98550 w 1543050"/>
                <a:gd name="connsiteY15" fmla="*/ 942975 h 2041525"/>
                <a:gd name="connsiteX16" fmla="*/ 450850 w 1543050"/>
                <a:gd name="connsiteY16" fmla="*/ 939800 h 2041525"/>
                <a:gd name="connsiteX17" fmla="*/ 558800 w 1543050"/>
                <a:gd name="connsiteY17" fmla="*/ 536575 h 2041525"/>
                <a:gd name="connsiteX18" fmla="*/ 552450 w 1543050"/>
                <a:gd name="connsiteY18" fmla="*/ 9525 h 2041525"/>
                <a:gd name="connsiteX0" fmla="*/ 552450 w 1543050"/>
                <a:gd name="connsiteY0" fmla="*/ 952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98550 w 1543050"/>
                <a:gd name="connsiteY15" fmla="*/ 942975 h 2041525"/>
                <a:gd name="connsiteX16" fmla="*/ 463550 w 1543050"/>
                <a:gd name="connsiteY16" fmla="*/ 930275 h 2041525"/>
                <a:gd name="connsiteX17" fmla="*/ 558800 w 1543050"/>
                <a:gd name="connsiteY17" fmla="*/ 536575 h 2041525"/>
                <a:gd name="connsiteX18" fmla="*/ 552450 w 1543050"/>
                <a:gd name="connsiteY18" fmla="*/ 9525 h 2041525"/>
                <a:gd name="connsiteX0" fmla="*/ 552450 w 1543050"/>
                <a:gd name="connsiteY0" fmla="*/ 952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79500 w 1543050"/>
                <a:gd name="connsiteY15" fmla="*/ 936625 h 2041525"/>
                <a:gd name="connsiteX16" fmla="*/ 463550 w 1543050"/>
                <a:gd name="connsiteY16" fmla="*/ 930275 h 2041525"/>
                <a:gd name="connsiteX17" fmla="*/ 558800 w 1543050"/>
                <a:gd name="connsiteY17" fmla="*/ 536575 h 2041525"/>
                <a:gd name="connsiteX18" fmla="*/ 552450 w 1543050"/>
                <a:gd name="connsiteY18" fmla="*/ 9525 h 2041525"/>
                <a:gd name="connsiteX0" fmla="*/ 552450 w 1543050"/>
                <a:gd name="connsiteY0" fmla="*/ 952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79500 w 1543050"/>
                <a:gd name="connsiteY15" fmla="*/ 936625 h 2041525"/>
                <a:gd name="connsiteX16" fmla="*/ 463550 w 1543050"/>
                <a:gd name="connsiteY16" fmla="*/ 930275 h 2041525"/>
                <a:gd name="connsiteX17" fmla="*/ 558800 w 1543050"/>
                <a:gd name="connsiteY17" fmla="*/ 536575 h 2041525"/>
                <a:gd name="connsiteX18" fmla="*/ 552450 w 1543050"/>
                <a:gd name="connsiteY18" fmla="*/ 9525 h 2041525"/>
                <a:gd name="connsiteX0" fmla="*/ 552450 w 1543050"/>
                <a:gd name="connsiteY0" fmla="*/ 952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79500 w 1543050"/>
                <a:gd name="connsiteY15" fmla="*/ 936625 h 2041525"/>
                <a:gd name="connsiteX16" fmla="*/ 463550 w 1543050"/>
                <a:gd name="connsiteY16" fmla="*/ 930275 h 2041525"/>
                <a:gd name="connsiteX17" fmla="*/ 558800 w 1543050"/>
                <a:gd name="connsiteY17" fmla="*/ 536575 h 2041525"/>
                <a:gd name="connsiteX18" fmla="*/ 552450 w 1543050"/>
                <a:gd name="connsiteY18" fmla="*/ 9525 h 2041525"/>
                <a:gd name="connsiteX0" fmla="*/ 552450 w 1543050"/>
                <a:gd name="connsiteY0" fmla="*/ 952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79500 w 1543050"/>
                <a:gd name="connsiteY15" fmla="*/ 936625 h 2041525"/>
                <a:gd name="connsiteX16" fmla="*/ 463550 w 1543050"/>
                <a:gd name="connsiteY16" fmla="*/ 930275 h 2041525"/>
                <a:gd name="connsiteX17" fmla="*/ 552450 w 1543050"/>
                <a:gd name="connsiteY17" fmla="*/ 9525 h 2041525"/>
                <a:gd name="connsiteX0" fmla="*/ 552450 w 1543050"/>
                <a:gd name="connsiteY0" fmla="*/ 952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79500 w 1543050"/>
                <a:gd name="connsiteY15" fmla="*/ 936625 h 2041525"/>
                <a:gd name="connsiteX16" fmla="*/ 463550 w 1543050"/>
                <a:gd name="connsiteY16" fmla="*/ 930275 h 2041525"/>
                <a:gd name="connsiteX17" fmla="*/ 552450 w 1543050"/>
                <a:gd name="connsiteY17" fmla="*/ 9525 h 2041525"/>
                <a:gd name="connsiteX0" fmla="*/ 552450 w 1543050"/>
                <a:gd name="connsiteY0" fmla="*/ 952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79500 w 1543050"/>
                <a:gd name="connsiteY15" fmla="*/ 936625 h 2041525"/>
                <a:gd name="connsiteX16" fmla="*/ 463550 w 1543050"/>
                <a:gd name="connsiteY16" fmla="*/ 930275 h 2041525"/>
                <a:gd name="connsiteX17" fmla="*/ 552450 w 1543050"/>
                <a:gd name="connsiteY17" fmla="*/ 9525 h 2041525"/>
                <a:gd name="connsiteX0" fmla="*/ 56197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79500 w 1543050"/>
                <a:gd name="connsiteY15" fmla="*/ 936625 h 2041525"/>
                <a:gd name="connsiteX16" fmla="*/ 463550 w 1543050"/>
                <a:gd name="connsiteY16" fmla="*/ 930275 h 2041525"/>
                <a:gd name="connsiteX17" fmla="*/ 561975 w 1543050"/>
                <a:gd name="connsiteY17" fmla="*/ 3175 h 2041525"/>
                <a:gd name="connsiteX0" fmla="*/ 56197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79500 w 1543050"/>
                <a:gd name="connsiteY15" fmla="*/ 936625 h 2041525"/>
                <a:gd name="connsiteX16" fmla="*/ 463550 w 1543050"/>
                <a:gd name="connsiteY16" fmla="*/ 930275 h 2041525"/>
                <a:gd name="connsiteX17" fmla="*/ 561975 w 1543050"/>
                <a:gd name="connsiteY17"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79500 w 1543050"/>
                <a:gd name="connsiteY15" fmla="*/ 936625 h 2041525"/>
                <a:gd name="connsiteX16" fmla="*/ 463550 w 1543050"/>
                <a:gd name="connsiteY16" fmla="*/ 930275 h 2041525"/>
                <a:gd name="connsiteX17" fmla="*/ 555625 w 1543050"/>
                <a:gd name="connsiteY17"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79500 w 1543050"/>
                <a:gd name="connsiteY15" fmla="*/ 936625 h 2041525"/>
                <a:gd name="connsiteX16" fmla="*/ 463550 w 1543050"/>
                <a:gd name="connsiteY16" fmla="*/ 930275 h 2041525"/>
                <a:gd name="connsiteX17" fmla="*/ 555625 w 1543050"/>
                <a:gd name="connsiteY17"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79500 w 1543050"/>
                <a:gd name="connsiteY15" fmla="*/ 936625 h 2041525"/>
                <a:gd name="connsiteX16" fmla="*/ 463550 w 1543050"/>
                <a:gd name="connsiteY16" fmla="*/ 930275 h 2041525"/>
                <a:gd name="connsiteX17" fmla="*/ 555625 w 1543050"/>
                <a:gd name="connsiteY17"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79500 w 1543050"/>
                <a:gd name="connsiteY15" fmla="*/ 936625 h 2041525"/>
                <a:gd name="connsiteX16" fmla="*/ 463550 w 1543050"/>
                <a:gd name="connsiteY16" fmla="*/ 930275 h 2041525"/>
                <a:gd name="connsiteX17" fmla="*/ 555625 w 1543050"/>
                <a:gd name="connsiteY17"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79500 w 1543050"/>
                <a:gd name="connsiteY15" fmla="*/ 936625 h 2041525"/>
                <a:gd name="connsiteX16" fmla="*/ 463550 w 1543050"/>
                <a:gd name="connsiteY16" fmla="*/ 930275 h 2041525"/>
                <a:gd name="connsiteX17" fmla="*/ 555625 w 1543050"/>
                <a:gd name="connsiteY17"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00125 w 1543050"/>
                <a:gd name="connsiteY14" fmla="*/ 584200 h 2041525"/>
                <a:gd name="connsiteX15" fmla="*/ 1079500 w 1543050"/>
                <a:gd name="connsiteY15" fmla="*/ 936625 h 2041525"/>
                <a:gd name="connsiteX16" fmla="*/ 463550 w 1543050"/>
                <a:gd name="connsiteY16" fmla="*/ 930275 h 2041525"/>
                <a:gd name="connsiteX17" fmla="*/ 555625 w 1543050"/>
                <a:gd name="connsiteY17"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79500 w 1543050"/>
                <a:gd name="connsiteY14" fmla="*/ 936625 h 2041525"/>
                <a:gd name="connsiteX15" fmla="*/ 463550 w 1543050"/>
                <a:gd name="connsiteY15" fmla="*/ 930275 h 2041525"/>
                <a:gd name="connsiteX16" fmla="*/ 555625 w 1543050"/>
                <a:gd name="connsiteY16"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79500 w 1543050"/>
                <a:gd name="connsiteY14" fmla="*/ 936625 h 2041525"/>
                <a:gd name="connsiteX15" fmla="*/ 463550 w 1543050"/>
                <a:gd name="connsiteY15" fmla="*/ 930275 h 2041525"/>
                <a:gd name="connsiteX16" fmla="*/ 555625 w 1543050"/>
                <a:gd name="connsiteY16"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79500 w 1543050"/>
                <a:gd name="connsiteY14" fmla="*/ 936625 h 2041525"/>
                <a:gd name="connsiteX15" fmla="*/ 463550 w 1543050"/>
                <a:gd name="connsiteY15" fmla="*/ 930275 h 2041525"/>
                <a:gd name="connsiteX16" fmla="*/ 555625 w 1543050"/>
                <a:gd name="connsiteY16"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79500 w 1543050"/>
                <a:gd name="connsiteY14" fmla="*/ 936625 h 2041525"/>
                <a:gd name="connsiteX15" fmla="*/ 463550 w 1543050"/>
                <a:gd name="connsiteY15" fmla="*/ 930275 h 2041525"/>
                <a:gd name="connsiteX16" fmla="*/ 555625 w 1543050"/>
                <a:gd name="connsiteY16"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79500 w 1543050"/>
                <a:gd name="connsiteY14" fmla="*/ 936625 h 2041525"/>
                <a:gd name="connsiteX15" fmla="*/ 463550 w 1543050"/>
                <a:gd name="connsiteY15" fmla="*/ 930275 h 2041525"/>
                <a:gd name="connsiteX16" fmla="*/ 555625 w 1543050"/>
                <a:gd name="connsiteY16"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79500 w 1543050"/>
                <a:gd name="connsiteY14" fmla="*/ 936625 h 2041525"/>
                <a:gd name="connsiteX15" fmla="*/ 463550 w 1543050"/>
                <a:gd name="connsiteY15" fmla="*/ 930275 h 2041525"/>
                <a:gd name="connsiteX16" fmla="*/ 555625 w 1543050"/>
                <a:gd name="connsiteY16"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79500 w 1543050"/>
                <a:gd name="connsiteY14" fmla="*/ 936625 h 2041525"/>
                <a:gd name="connsiteX15" fmla="*/ 463550 w 1543050"/>
                <a:gd name="connsiteY15" fmla="*/ 930275 h 2041525"/>
                <a:gd name="connsiteX16" fmla="*/ 555625 w 1543050"/>
                <a:gd name="connsiteY16"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79500 w 1543050"/>
                <a:gd name="connsiteY14" fmla="*/ 936625 h 2041525"/>
                <a:gd name="connsiteX15" fmla="*/ 463550 w 1543050"/>
                <a:gd name="connsiteY15" fmla="*/ 930275 h 2041525"/>
                <a:gd name="connsiteX16" fmla="*/ 555625 w 1543050"/>
                <a:gd name="connsiteY16"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79500 w 1543050"/>
                <a:gd name="connsiteY14" fmla="*/ 936625 h 2041525"/>
                <a:gd name="connsiteX15" fmla="*/ 463550 w 1543050"/>
                <a:gd name="connsiteY15" fmla="*/ 930275 h 2041525"/>
                <a:gd name="connsiteX16" fmla="*/ 555625 w 1543050"/>
                <a:gd name="connsiteY16"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79500 w 1543050"/>
                <a:gd name="connsiteY14" fmla="*/ 936625 h 2041525"/>
                <a:gd name="connsiteX15" fmla="*/ 463550 w 1543050"/>
                <a:gd name="connsiteY15" fmla="*/ 930275 h 2041525"/>
                <a:gd name="connsiteX16" fmla="*/ 555625 w 1543050"/>
                <a:gd name="connsiteY16"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79500 w 1543050"/>
                <a:gd name="connsiteY14" fmla="*/ 936625 h 2041525"/>
                <a:gd name="connsiteX15" fmla="*/ 463550 w 1543050"/>
                <a:gd name="connsiteY15" fmla="*/ 930275 h 2041525"/>
                <a:gd name="connsiteX16" fmla="*/ 555625 w 1543050"/>
                <a:gd name="connsiteY16"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30300 w 1543050"/>
                <a:gd name="connsiteY11" fmla="*/ 504825 h 2041525"/>
                <a:gd name="connsiteX12" fmla="*/ 1120775 w 1543050"/>
                <a:gd name="connsiteY12" fmla="*/ 12700 h 2041525"/>
                <a:gd name="connsiteX13" fmla="*/ 996950 w 1543050"/>
                <a:gd name="connsiteY13" fmla="*/ 12700 h 2041525"/>
                <a:gd name="connsiteX14" fmla="*/ 1079500 w 1543050"/>
                <a:gd name="connsiteY14" fmla="*/ 936625 h 2041525"/>
                <a:gd name="connsiteX15" fmla="*/ 463550 w 1543050"/>
                <a:gd name="connsiteY15" fmla="*/ 930275 h 2041525"/>
                <a:gd name="connsiteX16" fmla="*/ 555625 w 1543050"/>
                <a:gd name="connsiteY16"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43000 w 1543050"/>
                <a:gd name="connsiteY10" fmla="*/ 657225 h 2041525"/>
                <a:gd name="connsiteX11" fmla="*/ 1120775 w 1543050"/>
                <a:gd name="connsiteY11" fmla="*/ 12700 h 2041525"/>
                <a:gd name="connsiteX12" fmla="*/ 996950 w 1543050"/>
                <a:gd name="connsiteY12" fmla="*/ 12700 h 2041525"/>
                <a:gd name="connsiteX13" fmla="*/ 1079500 w 1543050"/>
                <a:gd name="connsiteY13" fmla="*/ 936625 h 2041525"/>
                <a:gd name="connsiteX14" fmla="*/ 463550 w 1543050"/>
                <a:gd name="connsiteY14" fmla="*/ 930275 h 2041525"/>
                <a:gd name="connsiteX15" fmla="*/ 555625 w 1543050"/>
                <a:gd name="connsiteY15"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368300 w 1543050"/>
                <a:gd name="connsiteY3" fmla="*/ 796925 h 2041525"/>
                <a:gd name="connsiteX4" fmla="*/ 0 w 1543050"/>
                <a:gd name="connsiteY4" fmla="*/ 1873250 h 2041525"/>
                <a:gd name="connsiteX5" fmla="*/ 57150 w 1543050"/>
                <a:gd name="connsiteY5" fmla="*/ 1997075 h 2041525"/>
                <a:gd name="connsiteX6" fmla="*/ 171450 w 1543050"/>
                <a:gd name="connsiteY6" fmla="*/ 2041525 h 2041525"/>
                <a:gd name="connsiteX7" fmla="*/ 1381125 w 1543050"/>
                <a:gd name="connsiteY7" fmla="*/ 2041525 h 2041525"/>
                <a:gd name="connsiteX8" fmla="*/ 1508125 w 1543050"/>
                <a:gd name="connsiteY8" fmla="*/ 1990725 h 2041525"/>
                <a:gd name="connsiteX9" fmla="*/ 1543050 w 1543050"/>
                <a:gd name="connsiteY9" fmla="*/ 1806575 h 2041525"/>
                <a:gd name="connsiteX10" fmla="*/ 1120775 w 1543050"/>
                <a:gd name="connsiteY10" fmla="*/ 12700 h 2041525"/>
                <a:gd name="connsiteX11" fmla="*/ 996950 w 1543050"/>
                <a:gd name="connsiteY11" fmla="*/ 12700 h 2041525"/>
                <a:gd name="connsiteX12" fmla="*/ 1079500 w 1543050"/>
                <a:gd name="connsiteY12" fmla="*/ 936625 h 2041525"/>
                <a:gd name="connsiteX13" fmla="*/ 463550 w 1543050"/>
                <a:gd name="connsiteY13" fmla="*/ 930275 h 2041525"/>
                <a:gd name="connsiteX14" fmla="*/ 555625 w 1543050"/>
                <a:gd name="connsiteY14" fmla="*/ 3175 h 2041525"/>
                <a:gd name="connsiteX0" fmla="*/ 555625 w 1543050"/>
                <a:gd name="connsiteY0" fmla="*/ 3175 h 2041525"/>
                <a:gd name="connsiteX1" fmla="*/ 422275 w 1543050"/>
                <a:gd name="connsiteY1" fmla="*/ 0 h 2041525"/>
                <a:gd name="connsiteX2" fmla="*/ 422275 w 1543050"/>
                <a:gd name="connsiteY2" fmla="*/ 574675 h 2041525"/>
                <a:gd name="connsiteX3" fmla="*/ 0 w 1543050"/>
                <a:gd name="connsiteY3" fmla="*/ 1873250 h 2041525"/>
                <a:gd name="connsiteX4" fmla="*/ 57150 w 1543050"/>
                <a:gd name="connsiteY4" fmla="*/ 1997075 h 2041525"/>
                <a:gd name="connsiteX5" fmla="*/ 171450 w 1543050"/>
                <a:gd name="connsiteY5" fmla="*/ 2041525 h 2041525"/>
                <a:gd name="connsiteX6" fmla="*/ 1381125 w 1543050"/>
                <a:gd name="connsiteY6" fmla="*/ 2041525 h 2041525"/>
                <a:gd name="connsiteX7" fmla="*/ 1508125 w 1543050"/>
                <a:gd name="connsiteY7" fmla="*/ 1990725 h 2041525"/>
                <a:gd name="connsiteX8" fmla="*/ 1543050 w 1543050"/>
                <a:gd name="connsiteY8" fmla="*/ 1806575 h 2041525"/>
                <a:gd name="connsiteX9" fmla="*/ 1120775 w 1543050"/>
                <a:gd name="connsiteY9" fmla="*/ 12700 h 2041525"/>
                <a:gd name="connsiteX10" fmla="*/ 996950 w 1543050"/>
                <a:gd name="connsiteY10" fmla="*/ 12700 h 2041525"/>
                <a:gd name="connsiteX11" fmla="*/ 1079500 w 1543050"/>
                <a:gd name="connsiteY11" fmla="*/ 936625 h 2041525"/>
                <a:gd name="connsiteX12" fmla="*/ 463550 w 1543050"/>
                <a:gd name="connsiteY12" fmla="*/ 930275 h 2041525"/>
                <a:gd name="connsiteX13" fmla="*/ 555625 w 1543050"/>
                <a:gd name="connsiteY13"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120775 w 1543050"/>
                <a:gd name="connsiteY8" fmla="*/ 12700 h 2041525"/>
                <a:gd name="connsiteX9" fmla="*/ 996950 w 1543050"/>
                <a:gd name="connsiteY9" fmla="*/ 12700 h 2041525"/>
                <a:gd name="connsiteX10" fmla="*/ 1079500 w 1543050"/>
                <a:gd name="connsiteY10" fmla="*/ 936625 h 2041525"/>
                <a:gd name="connsiteX11" fmla="*/ 463550 w 1543050"/>
                <a:gd name="connsiteY11" fmla="*/ 930275 h 2041525"/>
                <a:gd name="connsiteX12" fmla="*/ 555625 w 1543050"/>
                <a:gd name="connsiteY12"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120775 w 1543050"/>
                <a:gd name="connsiteY8" fmla="*/ 12700 h 2041525"/>
                <a:gd name="connsiteX9" fmla="*/ 996950 w 1543050"/>
                <a:gd name="connsiteY9" fmla="*/ 12700 h 2041525"/>
                <a:gd name="connsiteX10" fmla="*/ 1079500 w 1543050"/>
                <a:gd name="connsiteY10" fmla="*/ 936625 h 2041525"/>
                <a:gd name="connsiteX11" fmla="*/ 463550 w 1543050"/>
                <a:gd name="connsiteY11" fmla="*/ 930275 h 2041525"/>
                <a:gd name="connsiteX12" fmla="*/ 555625 w 1543050"/>
                <a:gd name="connsiteY12"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120775 w 1543050"/>
                <a:gd name="connsiteY8" fmla="*/ 12700 h 2041525"/>
                <a:gd name="connsiteX9" fmla="*/ 996950 w 1543050"/>
                <a:gd name="connsiteY9" fmla="*/ 12700 h 2041525"/>
                <a:gd name="connsiteX10" fmla="*/ 1079500 w 1543050"/>
                <a:gd name="connsiteY10" fmla="*/ 936625 h 2041525"/>
                <a:gd name="connsiteX11" fmla="*/ 463550 w 1543050"/>
                <a:gd name="connsiteY11" fmla="*/ 930275 h 2041525"/>
                <a:gd name="connsiteX12" fmla="*/ 555625 w 1543050"/>
                <a:gd name="connsiteY12"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120775 w 1543050"/>
                <a:gd name="connsiteY8" fmla="*/ 12700 h 2041525"/>
                <a:gd name="connsiteX9" fmla="*/ 996950 w 1543050"/>
                <a:gd name="connsiteY9" fmla="*/ 12700 h 2041525"/>
                <a:gd name="connsiteX10" fmla="*/ 1079500 w 1543050"/>
                <a:gd name="connsiteY10" fmla="*/ 936625 h 2041525"/>
                <a:gd name="connsiteX11" fmla="*/ 463550 w 1543050"/>
                <a:gd name="connsiteY11" fmla="*/ 930275 h 2041525"/>
                <a:gd name="connsiteX12" fmla="*/ 555625 w 1543050"/>
                <a:gd name="connsiteY12"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120775 w 1543050"/>
                <a:gd name="connsiteY8" fmla="*/ 12700 h 2041525"/>
                <a:gd name="connsiteX9" fmla="*/ 996950 w 1543050"/>
                <a:gd name="connsiteY9" fmla="*/ 12700 h 2041525"/>
                <a:gd name="connsiteX10" fmla="*/ 1079500 w 1543050"/>
                <a:gd name="connsiteY10" fmla="*/ 936625 h 2041525"/>
                <a:gd name="connsiteX11" fmla="*/ 463550 w 1543050"/>
                <a:gd name="connsiteY11" fmla="*/ 930275 h 2041525"/>
                <a:gd name="connsiteX12" fmla="*/ 555625 w 1543050"/>
                <a:gd name="connsiteY12"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120775 w 1543050"/>
                <a:gd name="connsiteY8" fmla="*/ 12700 h 2041525"/>
                <a:gd name="connsiteX9" fmla="*/ 996950 w 1543050"/>
                <a:gd name="connsiteY9" fmla="*/ 12700 h 2041525"/>
                <a:gd name="connsiteX10" fmla="*/ 1079500 w 1543050"/>
                <a:gd name="connsiteY10" fmla="*/ 936625 h 2041525"/>
                <a:gd name="connsiteX11" fmla="*/ 463550 w 1543050"/>
                <a:gd name="connsiteY11" fmla="*/ 930275 h 2041525"/>
                <a:gd name="connsiteX12" fmla="*/ 555625 w 1543050"/>
                <a:gd name="connsiteY12"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120775 w 1543050"/>
                <a:gd name="connsiteY8" fmla="*/ 12700 h 2041525"/>
                <a:gd name="connsiteX9" fmla="*/ 996950 w 1543050"/>
                <a:gd name="connsiteY9" fmla="*/ 12700 h 2041525"/>
                <a:gd name="connsiteX10" fmla="*/ 1079500 w 1543050"/>
                <a:gd name="connsiteY10" fmla="*/ 936625 h 2041525"/>
                <a:gd name="connsiteX11" fmla="*/ 463550 w 1543050"/>
                <a:gd name="connsiteY11" fmla="*/ 930275 h 2041525"/>
                <a:gd name="connsiteX12" fmla="*/ 555625 w 1543050"/>
                <a:gd name="connsiteY12"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120775 w 1543050"/>
                <a:gd name="connsiteY8" fmla="*/ 12700 h 2041525"/>
                <a:gd name="connsiteX9" fmla="*/ 996950 w 1543050"/>
                <a:gd name="connsiteY9" fmla="*/ 12700 h 2041525"/>
                <a:gd name="connsiteX10" fmla="*/ 1079500 w 1543050"/>
                <a:gd name="connsiteY10" fmla="*/ 936625 h 2041525"/>
                <a:gd name="connsiteX11" fmla="*/ 463550 w 1543050"/>
                <a:gd name="connsiteY11" fmla="*/ 930275 h 2041525"/>
                <a:gd name="connsiteX12" fmla="*/ 555625 w 1543050"/>
                <a:gd name="connsiteY12"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120775 w 1543050"/>
                <a:gd name="connsiteY8" fmla="*/ 12700 h 2041525"/>
                <a:gd name="connsiteX9" fmla="*/ 996950 w 1543050"/>
                <a:gd name="connsiteY9" fmla="*/ 12700 h 2041525"/>
                <a:gd name="connsiteX10" fmla="*/ 1079500 w 1543050"/>
                <a:gd name="connsiteY10" fmla="*/ 936625 h 2041525"/>
                <a:gd name="connsiteX11" fmla="*/ 463550 w 1543050"/>
                <a:gd name="connsiteY11" fmla="*/ 930275 h 2041525"/>
                <a:gd name="connsiteX12" fmla="*/ 555625 w 1543050"/>
                <a:gd name="connsiteY12"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120775 w 1543050"/>
                <a:gd name="connsiteY8" fmla="*/ 12700 h 2041525"/>
                <a:gd name="connsiteX9" fmla="*/ 996950 w 1543050"/>
                <a:gd name="connsiteY9" fmla="*/ 12700 h 2041525"/>
                <a:gd name="connsiteX10" fmla="*/ 1079500 w 1543050"/>
                <a:gd name="connsiteY10" fmla="*/ 936625 h 2041525"/>
                <a:gd name="connsiteX11" fmla="*/ 463550 w 1543050"/>
                <a:gd name="connsiteY11" fmla="*/ 930275 h 2041525"/>
                <a:gd name="connsiteX12" fmla="*/ 555625 w 1543050"/>
                <a:gd name="connsiteY12"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120775 w 1543050"/>
                <a:gd name="connsiteY8" fmla="*/ 12700 h 2041525"/>
                <a:gd name="connsiteX9" fmla="*/ 996950 w 1543050"/>
                <a:gd name="connsiteY9" fmla="*/ 12700 h 2041525"/>
                <a:gd name="connsiteX10" fmla="*/ 1079500 w 1543050"/>
                <a:gd name="connsiteY10" fmla="*/ 936625 h 2041525"/>
                <a:gd name="connsiteX11" fmla="*/ 463550 w 1543050"/>
                <a:gd name="connsiteY11" fmla="*/ 930275 h 2041525"/>
                <a:gd name="connsiteX12" fmla="*/ 555625 w 1543050"/>
                <a:gd name="connsiteY12"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120775 w 1543050"/>
                <a:gd name="connsiteY8" fmla="*/ 12700 h 2041525"/>
                <a:gd name="connsiteX9" fmla="*/ 996950 w 1543050"/>
                <a:gd name="connsiteY9" fmla="*/ 12700 h 2041525"/>
                <a:gd name="connsiteX10" fmla="*/ 1079500 w 1543050"/>
                <a:gd name="connsiteY10" fmla="*/ 936625 h 2041525"/>
                <a:gd name="connsiteX11" fmla="*/ 463550 w 1543050"/>
                <a:gd name="connsiteY11" fmla="*/ 930275 h 2041525"/>
                <a:gd name="connsiteX12" fmla="*/ 555625 w 1543050"/>
                <a:gd name="connsiteY12"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120775 w 1543050"/>
                <a:gd name="connsiteY8" fmla="*/ 12700 h 2041525"/>
                <a:gd name="connsiteX9" fmla="*/ 996950 w 1543050"/>
                <a:gd name="connsiteY9" fmla="*/ 12700 h 2041525"/>
                <a:gd name="connsiteX10" fmla="*/ 1079500 w 1543050"/>
                <a:gd name="connsiteY10" fmla="*/ 936625 h 2041525"/>
                <a:gd name="connsiteX11" fmla="*/ 463550 w 1543050"/>
                <a:gd name="connsiteY11" fmla="*/ 930275 h 2041525"/>
                <a:gd name="connsiteX12" fmla="*/ 555625 w 1543050"/>
                <a:gd name="connsiteY12"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120775 w 1543050"/>
                <a:gd name="connsiteY8" fmla="*/ 12700 h 2041525"/>
                <a:gd name="connsiteX9" fmla="*/ 996950 w 1543050"/>
                <a:gd name="connsiteY9" fmla="*/ 12700 h 2041525"/>
                <a:gd name="connsiteX10" fmla="*/ 1079500 w 1543050"/>
                <a:gd name="connsiteY10" fmla="*/ 936625 h 2041525"/>
                <a:gd name="connsiteX11" fmla="*/ 463550 w 1543050"/>
                <a:gd name="connsiteY11" fmla="*/ 930275 h 2041525"/>
                <a:gd name="connsiteX12" fmla="*/ 555625 w 1543050"/>
                <a:gd name="connsiteY12"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120775 w 1543050"/>
                <a:gd name="connsiteY8" fmla="*/ 12700 h 2041525"/>
                <a:gd name="connsiteX9" fmla="*/ 996950 w 1543050"/>
                <a:gd name="connsiteY9" fmla="*/ 12700 h 2041525"/>
                <a:gd name="connsiteX10" fmla="*/ 1079500 w 1543050"/>
                <a:gd name="connsiteY10" fmla="*/ 936625 h 2041525"/>
                <a:gd name="connsiteX11" fmla="*/ 463550 w 1543050"/>
                <a:gd name="connsiteY11" fmla="*/ 930275 h 2041525"/>
                <a:gd name="connsiteX12" fmla="*/ 555625 w 1543050"/>
                <a:gd name="connsiteY12"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120775 w 1543050"/>
                <a:gd name="connsiteY8" fmla="*/ 12700 h 2041525"/>
                <a:gd name="connsiteX9" fmla="*/ 996950 w 1543050"/>
                <a:gd name="connsiteY9" fmla="*/ 12700 h 2041525"/>
                <a:gd name="connsiteX10" fmla="*/ 1079500 w 1543050"/>
                <a:gd name="connsiteY10" fmla="*/ 936625 h 2041525"/>
                <a:gd name="connsiteX11" fmla="*/ 463550 w 1543050"/>
                <a:gd name="connsiteY11" fmla="*/ 930275 h 2041525"/>
                <a:gd name="connsiteX12" fmla="*/ 555625 w 1543050"/>
                <a:gd name="connsiteY12"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120775 w 1543050"/>
                <a:gd name="connsiteY8" fmla="*/ 12700 h 2041525"/>
                <a:gd name="connsiteX9" fmla="*/ 996950 w 1543050"/>
                <a:gd name="connsiteY9" fmla="*/ 12700 h 2041525"/>
                <a:gd name="connsiteX10" fmla="*/ 1079500 w 1543050"/>
                <a:gd name="connsiteY10" fmla="*/ 936625 h 2041525"/>
                <a:gd name="connsiteX11" fmla="*/ 463550 w 1543050"/>
                <a:gd name="connsiteY11" fmla="*/ 930275 h 2041525"/>
                <a:gd name="connsiteX12" fmla="*/ 555625 w 1543050"/>
                <a:gd name="connsiteY12"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216025 w 1543050"/>
                <a:gd name="connsiteY8" fmla="*/ 962025 h 2041525"/>
                <a:gd name="connsiteX9" fmla="*/ 1120775 w 1543050"/>
                <a:gd name="connsiteY9" fmla="*/ 12700 h 2041525"/>
                <a:gd name="connsiteX10" fmla="*/ 996950 w 1543050"/>
                <a:gd name="connsiteY10" fmla="*/ 12700 h 2041525"/>
                <a:gd name="connsiteX11" fmla="*/ 1079500 w 1543050"/>
                <a:gd name="connsiteY11" fmla="*/ 936625 h 2041525"/>
                <a:gd name="connsiteX12" fmla="*/ 463550 w 1543050"/>
                <a:gd name="connsiteY12" fmla="*/ 930275 h 2041525"/>
                <a:gd name="connsiteX13" fmla="*/ 555625 w 1543050"/>
                <a:gd name="connsiteY13"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244600 w 1543050"/>
                <a:gd name="connsiteY8" fmla="*/ 962025 h 2041525"/>
                <a:gd name="connsiteX9" fmla="*/ 1120775 w 1543050"/>
                <a:gd name="connsiteY9" fmla="*/ 12700 h 2041525"/>
                <a:gd name="connsiteX10" fmla="*/ 996950 w 1543050"/>
                <a:gd name="connsiteY10" fmla="*/ 12700 h 2041525"/>
                <a:gd name="connsiteX11" fmla="*/ 1079500 w 1543050"/>
                <a:gd name="connsiteY11" fmla="*/ 936625 h 2041525"/>
                <a:gd name="connsiteX12" fmla="*/ 463550 w 1543050"/>
                <a:gd name="connsiteY12" fmla="*/ 930275 h 2041525"/>
                <a:gd name="connsiteX13" fmla="*/ 555625 w 1543050"/>
                <a:gd name="connsiteY13"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244600 w 1543050"/>
                <a:gd name="connsiteY8" fmla="*/ 962025 h 2041525"/>
                <a:gd name="connsiteX9" fmla="*/ 1120775 w 1543050"/>
                <a:gd name="connsiteY9" fmla="*/ 12700 h 2041525"/>
                <a:gd name="connsiteX10" fmla="*/ 996950 w 1543050"/>
                <a:gd name="connsiteY10" fmla="*/ 12700 h 2041525"/>
                <a:gd name="connsiteX11" fmla="*/ 1079500 w 1543050"/>
                <a:gd name="connsiteY11" fmla="*/ 936625 h 2041525"/>
                <a:gd name="connsiteX12" fmla="*/ 463550 w 1543050"/>
                <a:gd name="connsiteY12" fmla="*/ 930275 h 2041525"/>
                <a:gd name="connsiteX13" fmla="*/ 555625 w 1543050"/>
                <a:gd name="connsiteY13"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244600 w 1543050"/>
                <a:gd name="connsiteY8" fmla="*/ 962025 h 2041525"/>
                <a:gd name="connsiteX9" fmla="*/ 1120775 w 1543050"/>
                <a:gd name="connsiteY9" fmla="*/ 12700 h 2041525"/>
                <a:gd name="connsiteX10" fmla="*/ 996950 w 1543050"/>
                <a:gd name="connsiteY10" fmla="*/ 12700 h 2041525"/>
                <a:gd name="connsiteX11" fmla="*/ 1079500 w 1543050"/>
                <a:gd name="connsiteY11" fmla="*/ 936625 h 2041525"/>
                <a:gd name="connsiteX12" fmla="*/ 463550 w 1543050"/>
                <a:gd name="connsiteY12" fmla="*/ 930275 h 2041525"/>
                <a:gd name="connsiteX13" fmla="*/ 555625 w 1543050"/>
                <a:gd name="connsiteY13"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244600 w 1543050"/>
                <a:gd name="connsiteY8" fmla="*/ 962025 h 2041525"/>
                <a:gd name="connsiteX9" fmla="*/ 1120775 w 1543050"/>
                <a:gd name="connsiteY9" fmla="*/ 12700 h 2041525"/>
                <a:gd name="connsiteX10" fmla="*/ 996950 w 1543050"/>
                <a:gd name="connsiteY10" fmla="*/ 12700 h 2041525"/>
                <a:gd name="connsiteX11" fmla="*/ 1079500 w 1543050"/>
                <a:gd name="connsiteY11" fmla="*/ 936625 h 2041525"/>
                <a:gd name="connsiteX12" fmla="*/ 463550 w 1543050"/>
                <a:gd name="connsiteY12" fmla="*/ 930275 h 2041525"/>
                <a:gd name="connsiteX13" fmla="*/ 555625 w 1543050"/>
                <a:gd name="connsiteY13"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244600 w 1543050"/>
                <a:gd name="connsiteY8" fmla="*/ 962025 h 2041525"/>
                <a:gd name="connsiteX9" fmla="*/ 1120775 w 1543050"/>
                <a:gd name="connsiteY9" fmla="*/ 12700 h 2041525"/>
                <a:gd name="connsiteX10" fmla="*/ 996950 w 1543050"/>
                <a:gd name="connsiteY10" fmla="*/ 12700 h 2041525"/>
                <a:gd name="connsiteX11" fmla="*/ 1079500 w 1543050"/>
                <a:gd name="connsiteY11" fmla="*/ 936625 h 2041525"/>
                <a:gd name="connsiteX12" fmla="*/ 463550 w 1543050"/>
                <a:gd name="connsiteY12" fmla="*/ 930275 h 2041525"/>
                <a:gd name="connsiteX13" fmla="*/ 555625 w 1543050"/>
                <a:gd name="connsiteY13"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244600 w 1543050"/>
                <a:gd name="connsiteY8" fmla="*/ 962025 h 2041525"/>
                <a:gd name="connsiteX9" fmla="*/ 1120775 w 1543050"/>
                <a:gd name="connsiteY9" fmla="*/ 12700 h 2041525"/>
                <a:gd name="connsiteX10" fmla="*/ 996950 w 1543050"/>
                <a:gd name="connsiteY10" fmla="*/ 12700 h 2041525"/>
                <a:gd name="connsiteX11" fmla="*/ 1079500 w 1543050"/>
                <a:gd name="connsiteY11" fmla="*/ 936625 h 2041525"/>
                <a:gd name="connsiteX12" fmla="*/ 463550 w 1543050"/>
                <a:gd name="connsiteY12" fmla="*/ 930275 h 2041525"/>
                <a:gd name="connsiteX13" fmla="*/ 555625 w 1543050"/>
                <a:gd name="connsiteY13"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244600 w 1543050"/>
                <a:gd name="connsiteY8" fmla="*/ 962025 h 2041525"/>
                <a:gd name="connsiteX9" fmla="*/ 1120775 w 1543050"/>
                <a:gd name="connsiteY9" fmla="*/ 12700 h 2041525"/>
                <a:gd name="connsiteX10" fmla="*/ 996950 w 1543050"/>
                <a:gd name="connsiteY10" fmla="*/ 12700 h 2041525"/>
                <a:gd name="connsiteX11" fmla="*/ 1079500 w 1543050"/>
                <a:gd name="connsiteY11" fmla="*/ 936625 h 2041525"/>
                <a:gd name="connsiteX12" fmla="*/ 463550 w 1543050"/>
                <a:gd name="connsiteY12" fmla="*/ 930275 h 2041525"/>
                <a:gd name="connsiteX13" fmla="*/ 555625 w 1543050"/>
                <a:gd name="connsiteY13"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08125 w 1543050"/>
                <a:gd name="connsiteY6" fmla="*/ 1990725 h 2041525"/>
                <a:gd name="connsiteX7" fmla="*/ 1543050 w 1543050"/>
                <a:gd name="connsiteY7" fmla="*/ 1806575 h 2041525"/>
                <a:gd name="connsiteX8" fmla="*/ 1244600 w 1543050"/>
                <a:gd name="connsiteY8" fmla="*/ 962025 h 2041525"/>
                <a:gd name="connsiteX9" fmla="*/ 1120775 w 1543050"/>
                <a:gd name="connsiteY9" fmla="*/ 12700 h 2041525"/>
                <a:gd name="connsiteX10" fmla="*/ 996950 w 1543050"/>
                <a:gd name="connsiteY10" fmla="*/ 12700 h 2041525"/>
                <a:gd name="connsiteX11" fmla="*/ 1079500 w 1543050"/>
                <a:gd name="connsiteY11" fmla="*/ 936625 h 2041525"/>
                <a:gd name="connsiteX12" fmla="*/ 463550 w 1543050"/>
                <a:gd name="connsiteY12" fmla="*/ 930275 h 2041525"/>
                <a:gd name="connsiteX13" fmla="*/ 555625 w 1543050"/>
                <a:gd name="connsiteY13"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57150 w 1543050"/>
                <a:gd name="connsiteY3" fmla="*/ 1997075 h 2041525"/>
                <a:gd name="connsiteX4" fmla="*/ 171450 w 1543050"/>
                <a:gd name="connsiteY4" fmla="*/ 2041525 h 2041525"/>
                <a:gd name="connsiteX5" fmla="*/ 1381125 w 1543050"/>
                <a:gd name="connsiteY5" fmla="*/ 2041525 h 2041525"/>
                <a:gd name="connsiteX6" fmla="*/ 1543050 w 1543050"/>
                <a:gd name="connsiteY6" fmla="*/ 1806575 h 2041525"/>
                <a:gd name="connsiteX7" fmla="*/ 1244600 w 1543050"/>
                <a:gd name="connsiteY7" fmla="*/ 962025 h 2041525"/>
                <a:gd name="connsiteX8" fmla="*/ 1120775 w 1543050"/>
                <a:gd name="connsiteY8" fmla="*/ 12700 h 2041525"/>
                <a:gd name="connsiteX9" fmla="*/ 996950 w 1543050"/>
                <a:gd name="connsiteY9" fmla="*/ 12700 h 2041525"/>
                <a:gd name="connsiteX10" fmla="*/ 1079500 w 1543050"/>
                <a:gd name="connsiteY10" fmla="*/ 936625 h 2041525"/>
                <a:gd name="connsiteX11" fmla="*/ 463550 w 1543050"/>
                <a:gd name="connsiteY11" fmla="*/ 930275 h 2041525"/>
                <a:gd name="connsiteX12" fmla="*/ 555625 w 1543050"/>
                <a:gd name="connsiteY12"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171450 w 1543050"/>
                <a:gd name="connsiteY3" fmla="*/ 2041525 h 2041525"/>
                <a:gd name="connsiteX4" fmla="*/ 1381125 w 1543050"/>
                <a:gd name="connsiteY4" fmla="*/ 2041525 h 2041525"/>
                <a:gd name="connsiteX5" fmla="*/ 1543050 w 1543050"/>
                <a:gd name="connsiteY5" fmla="*/ 1806575 h 2041525"/>
                <a:gd name="connsiteX6" fmla="*/ 1244600 w 1543050"/>
                <a:gd name="connsiteY6" fmla="*/ 962025 h 2041525"/>
                <a:gd name="connsiteX7" fmla="*/ 1120775 w 1543050"/>
                <a:gd name="connsiteY7" fmla="*/ 12700 h 2041525"/>
                <a:gd name="connsiteX8" fmla="*/ 996950 w 1543050"/>
                <a:gd name="connsiteY8" fmla="*/ 12700 h 2041525"/>
                <a:gd name="connsiteX9" fmla="*/ 1079500 w 1543050"/>
                <a:gd name="connsiteY9" fmla="*/ 936625 h 2041525"/>
                <a:gd name="connsiteX10" fmla="*/ 463550 w 1543050"/>
                <a:gd name="connsiteY10" fmla="*/ 930275 h 2041525"/>
                <a:gd name="connsiteX11" fmla="*/ 555625 w 1543050"/>
                <a:gd name="connsiteY11"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171450 w 1543050"/>
                <a:gd name="connsiteY3" fmla="*/ 2041525 h 2041525"/>
                <a:gd name="connsiteX4" fmla="*/ 1381125 w 1543050"/>
                <a:gd name="connsiteY4" fmla="*/ 2041525 h 2041525"/>
                <a:gd name="connsiteX5" fmla="*/ 1543050 w 1543050"/>
                <a:gd name="connsiteY5" fmla="*/ 1806575 h 2041525"/>
                <a:gd name="connsiteX6" fmla="*/ 1244600 w 1543050"/>
                <a:gd name="connsiteY6" fmla="*/ 962025 h 2041525"/>
                <a:gd name="connsiteX7" fmla="*/ 1120775 w 1543050"/>
                <a:gd name="connsiteY7" fmla="*/ 12700 h 2041525"/>
                <a:gd name="connsiteX8" fmla="*/ 996950 w 1543050"/>
                <a:gd name="connsiteY8" fmla="*/ 12700 h 2041525"/>
                <a:gd name="connsiteX9" fmla="*/ 1079500 w 1543050"/>
                <a:gd name="connsiteY9" fmla="*/ 936625 h 2041525"/>
                <a:gd name="connsiteX10" fmla="*/ 463550 w 1543050"/>
                <a:gd name="connsiteY10" fmla="*/ 930275 h 2041525"/>
                <a:gd name="connsiteX11" fmla="*/ 555625 w 1543050"/>
                <a:gd name="connsiteY11"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171450 w 1543050"/>
                <a:gd name="connsiteY3" fmla="*/ 2041525 h 2041525"/>
                <a:gd name="connsiteX4" fmla="*/ 1381125 w 1543050"/>
                <a:gd name="connsiteY4" fmla="*/ 2041525 h 2041525"/>
                <a:gd name="connsiteX5" fmla="*/ 1543050 w 1543050"/>
                <a:gd name="connsiteY5" fmla="*/ 1806575 h 2041525"/>
                <a:gd name="connsiteX6" fmla="*/ 1244600 w 1543050"/>
                <a:gd name="connsiteY6" fmla="*/ 962025 h 2041525"/>
                <a:gd name="connsiteX7" fmla="*/ 1120775 w 1543050"/>
                <a:gd name="connsiteY7" fmla="*/ 12700 h 2041525"/>
                <a:gd name="connsiteX8" fmla="*/ 996950 w 1543050"/>
                <a:gd name="connsiteY8" fmla="*/ 12700 h 2041525"/>
                <a:gd name="connsiteX9" fmla="*/ 1079500 w 1543050"/>
                <a:gd name="connsiteY9" fmla="*/ 936625 h 2041525"/>
                <a:gd name="connsiteX10" fmla="*/ 463550 w 1543050"/>
                <a:gd name="connsiteY10" fmla="*/ 930275 h 2041525"/>
                <a:gd name="connsiteX11" fmla="*/ 555625 w 1543050"/>
                <a:gd name="connsiteY11" fmla="*/ 3175 h 2041525"/>
                <a:gd name="connsiteX0" fmla="*/ 555625 w 1543050"/>
                <a:gd name="connsiteY0" fmla="*/ 3175 h 2041525"/>
                <a:gd name="connsiteX1" fmla="*/ 422275 w 1543050"/>
                <a:gd name="connsiteY1" fmla="*/ 0 h 2041525"/>
                <a:gd name="connsiteX2" fmla="*/ 0 w 1543050"/>
                <a:gd name="connsiteY2" fmla="*/ 1873250 h 2041525"/>
                <a:gd name="connsiteX3" fmla="*/ 171450 w 1543050"/>
                <a:gd name="connsiteY3" fmla="*/ 2041525 h 2041525"/>
                <a:gd name="connsiteX4" fmla="*/ 1381125 w 1543050"/>
                <a:gd name="connsiteY4" fmla="*/ 2041525 h 2041525"/>
                <a:gd name="connsiteX5" fmla="*/ 1543050 w 1543050"/>
                <a:gd name="connsiteY5" fmla="*/ 1806575 h 2041525"/>
                <a:gd name="connsiteX6" fmla="*/ 1244600 w 1543050"/>
                <a:gd name="connsiteY6" fmla="*/ 962025 h 2041525"/>
                <a:gd name="connsiteX7" fmla="*/ 1120775 w 1543050"/>
                <a:gd name="connsiteY7" fmla="*/ 12700 h 2041525"/>
                <a:gd name="connsiteX8" fmla="*/ 996950 w 1543050"/>
                <a:gd name="connsiteY8" fmla="*/ 12700 h 2041525"/>
                <a:gd name="connsiteX9" fmla="*/ 1079500 w 1543050"/>
                <a:gd name="connsiteY9" fmla="*/ 936625 h 2041525"/>
                <a:gd name="connsiteX10" fmla="*/ 463550 w 1543050"/>
                <a:gd name="connsiteY10" fmla="*/ 930275 h 2041525"/>
                <a:gd name="connsiteX11" fmla="*/ 555625 w 1543050"/>
                <a:gd name="connsiteY11" fmla="*/ 3175 h 2041525"/>
                <a:gd name="connsiteX0" fmla="*/ 555625 w 1546413"/>
                <a:gd name="connsiteY0" fmla="*/ 3175 h 2041525"/>
                <a:gd name="connsiteX1" fmla="*/ 422275 w 1546413"/>
                <a:gd name="connsiteY1" fmla="*/ 0 h 2041525"/>
                <a:gd name="connsiteX2" fmla="*/ 0 w 1546413"/>
                <a:gd name="connsiteY2" fmla="*/ 1873250 h 2041525"/>
                <a:gd name="connsiteX3" fmla="*/ 171450 w 1546413"/>
                <a:gd name="connsiteY3" fmla="*/ 2041525 h 2041525"/>
                <a:gd name="connsiteX4" fmla="*/ 1381125 w 1546413"/>
                <a:gd name="connsiteY4" fmla="*/ 2041525 h 2041525"/>
                <a:gd name="connsiteX5" fmla="*/ 1543050 w 1546413"/>
                <a:gd name="connsiteY5" fmla="*/ 1806575 h 2041525"/>
                <a:gd name="connsiteX6" fmla="*/ 1244600 w 1546413"/>
                <a:gd name="connsiteY6" fmla="*/ 962025 h 2041525"/>
                <a:gd name="connsiteX7" fmla="*/ 1120775 w 1546413"/>
                <a:gd name="connsiteY7" fmla="*/ 12700 h 2041525"/>
                <a:gd name="connsiteX8" fmla="*/ 996950 w 1546413"/>
                <a:gd name="connsiteY8" fmla="*/ 12700 h 2041525"/>
                <a:gd name="connsiteX9" fmla="*/ 1079500 w 1546413"/>
                <a:gd name="connsiteY9" fmla="*/ 936625 h 2041525"/>
                <a:gd name="connsiteX10" fmla="*/ 463550 w 1546413"/>
                <a:gd name="connsiteY10" fmla="*/ 930275 h 2041525"/>
                <a:gd name="connsiteX11" fmla="*/ 555625 w 1546413"/>
                <a:gd name="connsiteY11" fmla="*/ 3175 h 2041525"/>
                <a:gd name="connsiteX0" fmla="*/ 557163 w 1547951"/>
                <a:gd name="connsiteY0" fmla="*/ 3175 h 2041525"/>
                <a:gd name="connsiteX1" fmla="*/ 423813 w 1547951"/>
                <a:gd name="connsiteY1" fmla="*/ 0 h 2041525"/>
                <a:gd name="connsiteX2" fmla="*/ 1538 w 1547951"/>
                <a:gd name="connsiteY2" fmla="*/ 1873250 h 2041525"/>
                <a:gd name="connsiteX3" fmla="*/ 172988 w 1547951"/>
                <a:gd name="connsiteY3" fmla="*/ 2041525 h 2041525"/>
                <a:gd name="connsiteX4" fmla="*/ 1382663 w 1547951"/>
                <a:gd name="connsiteY4" fmla="*/ 2041525 h 2041525"/>
                <a:gd name="connsiteX5" fmla="*/ 1544588 w 1547951"/>
                <a:gd name="connsiteY5" fmla="*/ 1806575 h 2041525"/>
                <a:gd name="connsiteX6" fmla="*/ 1246138 w 1547951"/>
                <a:gd name="connsiteY6" fmla="*/ 962025 h 2041525"/>
                <a:gd name="connsiteX7" fmla="*/ 1122313 w 1547951"/>
                <a:gd name="connsiteY7" fmla="*/ 12700 h 2041525"/>
                <a:gd name="connsiteX8" fmla="*/ 998488 w 1547951"/>
                <a:gd name="connsiteY8" fmla="*/ 12700 h 2041525"/>
                <a:gd name="connsiteX9" fmla="*/ 1081038 w 1547951"/>
                <a:gd name="connsiteY9" fmla="*/ 936625 h 2041525"/>
                <a:gd name="connsiteX10" fmla="*/ 465088 w 1547951"/>
                <a:gd name="connsiteY10" fmla="*/ 930275 h 2041525"/>
                <a:gd name="connsiteX11" fmla="*/ 557163 w 1547951"/>
                <a:gd name="connsiteY11" fmla="*/ 3175 h 2041525"/>
                <a:gd name="connsiteX0" fmla="*/ 557820 w 1548608"/>
                <a:gd name="connsiteY0" fmla="*/ 3175 h 2041525"/>
                <a:gd name="connsiteX1" fmla="*/ 424470 w 1548608"/>
                <a:gd name="connsiteY1" fmla="*/ 0 h 2041525"/>
                <a:gd name="connsiteX2" fmla="*/ 2195 w 1548608"/>
                <a:gd name="connsiteY2" fmla="*/ 1873250 h 2041525"/>
                <a:gd name="connsiteX3" fmla="*/ 173645 w 1548608"/>
                <a:gd name="connsiteY3" fmla="*/ 2041525 h 2041525"/>
                <a:gd name="connsiteX4" fmla="*/ 1383320 w 1548608"/>
                <a:gd name="connsiteY4" fmla="*/ 2041525 h 2041525"/>
                <a:gd name="connsiteX5" fmla="*/ 1545245 w 1548608"/>
                <a:gd name="connsiteY5" fmla="*/ 1806575 h 2041525"/>
                <a:gd name="connsiteX6" fmla="*/ 1246795 w 1548608"/>
                <a:gd name="connsiteY6" fmla="*/ 962025 h 2041525"/>
                <a:gd name="connsiteX7" fmla="*/ 1122970 w 1548608"/>
                <a:gd name="connsiteY7" fmla="*/ 12700 h 2041525"/>
                <a:gd name="connsiteX8" fmla="*/ 999145 w 1548608"/>
                <a:gd name="connsiteY8" fmla="*/ 12700 h 2041525"/>
                <a:gd name="connsiteX9" fmla="*/ 1081695 w 1548608"/>
                <a:gd name="connsiteY9" fmla="*/ 936625 h 2041525"/>
                <a:gd name="connsiteX10" fmla="*/ 465745 w 1548608"/>
                <a:gd name="connsiteY10" fmla="*/ 930275 h 2041525"/>
                <a:gd name="connsiteX11" fmla="*/ 557820 w 1548608"/>
                <a:gd name="connsiteY11" fmla="*/ 3175 h 2041525"/>
                <a:gd name="connsiteX0" fmla="*/ 557820 w 1547508"/>
                <a:gd name="connsiteY0" fmla="*/ 3175 h 2041525"/>
                <a:gd name="connsiteX1" fmla="*/ 424470 w 1547508"/>
                <a:gd name="connsiteY1" fmla="*/ 0 h 2041525"/>
                <a:gd name="connsiteX2" fmla="*/ 2195 w 1547508"/>
                <a:gd name="connsiteY2" fmla="*/ 1873250 h 2041525"/>
                <a:gd name="connsiteX3" fmla="*/ 173645 w 1547508"/>
                <a:gd name="connsiteY3" fmla="*/ 2041525 h 2041525"/>
                <a:gd name="connsiteX4" fmla="*/ 1383320 w 1547508"/>
                <a:gd name="connsiteY4" fmla="*/ 2041525 h 2041525"/>
                <a:gd name="connsiteX5" fmla="*/ 1545245 w 1547508"/>
                <a:gd name="connsiteY5" fmla="*/ 1806575 h 2041525"/>
                <a:gd name="connsiteX6" fmla="*/ 1246795 w 1547508"/>
                <a:gd name="connsiteY6" fmla="*/ 962025 h 2041525"/>
                <a:gd name="connsiteX7" fmla="*/ 1122970 w 1547508"/>
                <a:gd name="connsiteY7" fmla="*/ 12700 h 2041525"/>
                <a:gd name="connsiteX8" fmla="*/ 999145 w 1547508"/>
                <a:gd name="connsiteY8" fmla="*/ 12700 h 2041525"/>
                <a:gd name="connsiteX9" fmla="*/ 1081695 w 1547508"/>
                <a:gd name="connsiteY9" fmla="*/ 936625 h 2041525"/>
                <a:gd name="connsiteX10" fmla="*/ 465745 w 1547508"/>
                <a:gd name="connsiteY10" fmla="*/ 930275 h 2041525"/>
                <a:gd name="connsiteX11" fmla="*/ 557820 w 1547508"/>
                <a:gd name="connsiteY11" fmla="*/ 3175 h 2041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47508" h="2041525">
                  <a:moveTo>
                    <a:pt x="557820" y="3175"/>
                  </a:moveTo>
                  <a:lnTo>
                    <a:pt x="424470" y="0"/>
                  </a:lnTo>
                  <a:cubicBezTo>
                    <a:pt x="486912" y="795867"/>
                    <a:pt x="184228" y="1204383"/>
                    <a:pt x="2195" y="1873250"/>
                  </a:cubicBezTo>
                  <a:cubicBezTo>
                    <a:pt x="-10505" y="1940454"/>
                    <a:pt x="29976" y="2035439"/>
                    <a:pt x="173645" y="2041525"/>
                  </a:cubicBezTo>
                  <a:lnTo>
                    <a:pt x="1383320" y="2041525"/>
                  </a:lnTo>
                  <a:cubicBezTo>
                    <a:pt x="1492064" y="2017977"/>
                    <a:pt x="1561120" y="1948392"/>
                    <a:pt x="1545245" y="1806575"/>
                  </a:cubicBezTo>
                  <a:cubicBezTo>
                    <a:pt x="1496562" y="1635125"/>
                    <a:pt x="1333049" y="1194329"/>
                    <a:pt x="1246795" y="962025"/>
                  </a:cubicBezTo>
                  <a:cubicBezTo>
                    <a:pt x="1106566" y="609071"/>
                    <a:pt x="1134083" y="189971"/>
                    <a:pt x="1122970" y="12700"/>
                  </a:cubicBezTo>
                  <a:lnTo>
                    <a:pt x="999145" y="12700"/>
                  </a:lnTo>
                  <a:cubicBezTo>
                    <a:pt x="1004966" y="176212"/>
                    <a:pt x="961045" y="701146"/>
                    <a:pt x="1081695" y="936625"/>
                  </a:cubicBezTo>
                  <a:lnTo>
                    <a:pt x="465745" y="930275"/>
                  </a:lnTo>
                  <a:cubicBezTo>
                    <a:pt x="581103" y="772583"/>
                    <a:pt x="567874" y="183621"/>
                    <a:pt x="557820" y="3175"/>
                  </a:cubicBezTo>
                  <a:close/>
                </a:path>
              </a:pathLst>
            </a:custGeom>
            <a:solidFill>
              <a:srgbClr val="0039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239" fontAlgn="auto">
                <a:spcBef>
                  <a:spcPts val="0"/>
                </a:spcBef>
                <a:spcAft>
                  <a:spcPts val="0"/>
                </a:spcAft>
              </a:pPr>
              <a:endParaRPr lang="en-IN" sz="1836">
                <a:solidFill>
                  <a:prstClr val="white"/>
                </a:solidFill>
              </a:endParaRPr>
            </a:p>
          </p:txBody>
        </p:sp>
        <p:sp>
          <p:nvSpPr>
            <p:cNvPr id="144" name="Rounded Rectangle 143"/>
            <p:cNvSpPr/>
            <p:nvPr/>
          </p:nvSpPr>
          <p:spPr>
            <a:xfrm>
              <a:off x="9157704" y="3537266"/>
              <a:ext cx="946824" cy="263525"/>
            </a:xfrm>
            <a:prstGeom prst="roundRect">
              <a:avLst>
                <a:gd name="adj" fmla="val 21666"/>
              </a:avLst>
            </a:prstGeom>
            <a:solidFill>
              <a:srgbClr val="0039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239" fontAlgn="auto">
                <a:spcBef>
                  <a:spcPts val="0"/>
                </a:spcBef>
                <a:spcAft>
                  <a:spcPts val="0"/>
                </a:spcAft>
              </a:pPr>
              <a:endParaRPr lang="en-IN" sz="1836">
                <a:solidFill>
                  <a:prstClr val="white"/>
                </a:solidFill>
              </a:endParaRPr>
            </a:p>
          </p:txBody>
        </p:sp>
        <p:sp>
          <p:nvSpPr>
            <p:cNvPr id="145" name="Freeform 144"/>
            <p:cNvSpPr/>
            <p:nvPr/>
          </p:nvSpPr>
          <p:spPr>
            <a:xfrm>
              <a:off x="7089322" y="2425771"/>
              <a:ext cx="1793873" cy="629817"/>
            </a:xfrm>
            <a:custGeom>
              <a:avLst/>
              <a:gdLst>
                <a:gd name="connsiteX0" fmla="*/ 1199486 w 1793873"/>
                <a:gd name="connsiteY0" fmla="*/ 158945 h 629817"/>
                <a:gd name="connsiteX1" fmla="*/ 1199486 w 1793873"/>
                <a:gd name="connsiteY1" fmla="*/ 508195 h 629817"/>
                <a:gd name="connsiteX2" fmla="*/ 1637636 w 1793873"/>
                <a:gd name="connsiteY2" fmla="*/ 508195 h 629817"/>
                <a:gd name="connsiteX3" fmla="*/ 1637636 w 1793873"/>
                <a:gd name="connsiteY3" fmla="*/ 158945 h 629817"/>
                <a:gd name="connsiteX4" fmla="*/ 151165 w 1793873"/>
                <a:gd name="connsiteY4" fmla="*/ 158945 h 629817"/>
                <a:gd name="connsiteX5" fmla="*/ 151165 w 1793873"/>
                <a:gd name="connsiteY5" fmla="*/ 508195 h 629817"/>
                <a:gd name="connsiteX6" fmla="*/ 589315 w 1793873"/>
                <a:gd name="connsiteY6" fmla="*/ 508195 h 629817"/>
                <a:gd name="connsiteX7" fmla="*/ 589315 w 1793873"/>
                <a:gd name="connsiteY7" fmla="*/ 158945 h 629817"/>
                <a:gd name="connsiteX8" fmla="*/ 170284 w 1793873"/>
                <a:gd name="connsiteY8" fmla="*/ 0 h 629817"/>
                <a:gd name="connsiteX9" fmla="*/ 571500 w 1793873"/>
                <a:gd name="connsiteY9" fmla="*/ 0 h 629817"/>
                <a:gd name="connsiteX10" fmla="*/ 580706 w 1793873"/>
                <a:gd name="connsiteY10" fmla="*/ 1859 h 629817"/>
                <a:gd name="connsiteX11" fmla="*/ 580706 w 1793873"/>
                <a:gd name="connsiteY11" fmla="*/ 0 h 629817"/>
                <a:gd name="connsiteX12" fmla="*/ 1222373 w 1793873"/>
                <a:gd name="connsiteY12" fmla="*/ 0 h 629817"/>
                <a:gd name="connsiteX13" fmla="*/ 1257524 w 1793873"/>
                <a:gd name="connsiteY13" fmla="*/ 0 h 629817"/>
                <a:gd name="connsiteX14" fmla="*/ 1623589 w 1793873"/>
                <a:gd name="connsiteY14" fmla="*/ 0 h 629817"/>
                <a:gd name="connsiteX15" fmla="*/ 1793873 w 1793873"/>
                <a:gd name="connsiteY15" fmla="*/ 170284 h 629817"/>
                <a:gd name="connsiteX16" fmla="*/ 1793873 w 1793873"/>
                <a:gd name="connsiteY16" fmla="*/ 459533 h 629817"/>
                <a:gd name="connsiteX17" fmla="*/ 1623589 w 1793873"/>
                <a:gd name="connsiteY17" fmla="*/ 629817 h 629817"/>
                <a:gd name="connsiteX18" fmla="*/ 1222373 w 1793873"/>
                <a:gd name="connsiteY18" fmla="*/ 629817 h 629817"/>
                <a:gd name="connsiteX19" fmla="*/ 1052089 w 1793873"/>
                <a:gd name="connsiteY19" fmla="*/ 459533 h 629817"/>
                <a:gd name="connsiteX20" fmla="*/ 1052089 w 1793873"/>
                <a:gd name="connsiteY20" fmla="*/ 269867 h 629817"/>
                <a:gd name="connsiteX21" fmla="*/ 1019448 w 1793873"/>
                <a:gd name="connsiteY21" fmla="*/ 238597 h 629817"/>
                <a:gd name="connsiteX22" fmla="*/ 772480 w 1793873"/>
                <a:gd name="connsiteY22" fmla="*/ 239651 h 629817"/>
                <a:gd name="connsiteX23" fmla="*/ 741784 w 1793873"/>
                <a:gd name="connsiteY23" fmla="*/ 272720 h 629817"/>
                <a:gd name="connsiteX24" fmla="*/ 741784 w 1793873"/>
                <a:gd name="connsiteY24" fmla="*/ 459533 h 629817"/>
                <a:gd name="connsiteX25" fmla="*/ 571500 w 1793873"/>
                <a:gd name="connsiteY25" fmla="*/ 629817 h 629817"/>
                <a:gd name="connsiteX26" fmla="*/ 170284 w 1793873"/>
                <a:gd name="connsiteY26" fmla="*/ 629817 h 629817"/>
                <a:gd name="connsiteX27" fmla="*/ 0 w 1793873"/>
                <a:gd name="connsiteY27" fmla="*/ 459533 h 629817"/>
                <a:gd name="connsiteX28" fmla="*/ 0 w 1793873"/>
                <a:gd name="connsiteY28" fmla="*/ 170284 h 629817"/>
                <a:gd name="connsiteX29" fmla="*/ 170284 w 1793873"/>
                <a:gd name="connsiteY29" fmla="*/ 0 h 629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793873" h="629817">
                  <a:moveTo>
                    <a:pt x="1199486" y="158945"/>
                  </a:moveTo>
                  <a:lnTo>
                    <a:pt x="1199486" y="508195"/>
                  </a:lnTo>
                  <a:lnTo>
                    <a:pt x="1637636" y="508195"/>
                  </a:lnTo>
                  <a:lnTo>
                    <a:pt x="1637636" y="158945"/>
                  </a:lnTo>
                  <a:close/>
                  <a:moveTo>
                    <a:pt x="151165" y="158945"/>
                  </a:moveTo>
                  <a:lnTo>
                    <a:pt x="151165" y="508195"/>
                  </a:lnTo>
                  <a:lnTo>
                    <a:pt x="589315" y="508195"/>
                  </a:lnTo>
                  <a:lnTo>
                    <a:pt x="589315" y="158945"/>
                  </a:lnTo>
                  <a:close/>
                  <a:moveTo>
                    <a:pt x="170284" y="0"/>
                  </a:moveTo>
                  <a:lnTo>
                    <a:pt x="571500" y="0"/>
                  </a:lnTo>
                  <a:lnTo>
                    <a:pt x="580706" y="1859"/>
                  </a:lnTo>
                  <a:lnTo>
                    <a:pt x="580706" y="0"/>
                  </a:lnTo>
                  <a:lnTo>
                    <a:pt x="1222373" y="0"/>
                  </a:lnTo>
                  <a:lnTo>
                    <a:pt x="1257524" y="0"/>
                  </a:lnTo>
                  <a:lnTo>
                    <a:pt x="1623589" y="0"/>
                  </a:lnTo>
                  <a:cubicBezTo>
                    <a:pt x="1717634" y="0"/>
                    <a:pt x="1793873" y="76239"/>
                    <a:pt x="1793873" y="170284"/>
                  </a:cubicBezTo>
                  <a:lnTo>
                    <a:pt x="1793873" y="459533"/>
                  </a:lnTo>
                  <a:cubicBezTo>
                    <a:pt x="1793873" y="553578"/>
                    <a:pt x="1717634" y="629817"/>
                    <a:pt x="1623589" y="629817"/>
                  </a:cubicBezTo>
                  <a:lnTo>
                    <a:pt x="1222373" y="629817"/>
                  </a:lnTo>
                  <a:cubicBezTo>
                    <a:pt x="1128328" y="629817"/>
                    <a:pt x="1052089" y="553578"/>
                    <a:pt x="1052089" y="459533"/>
                  </a:cubicBezTo>
                  <a:lnTo>
                    <a:pt x="1052089" y="269867"/>
                  </a:lnTo>
                  <a:lnTo>
                    <a:pt x="1019448" y="238597"/>
                  </a:lnTo>
                  <a:cubicBezTo>
                    <a:pt x="940178" y="175104"/>
                    <a:pt x="842604" y="178661"/>
                    <a:pt x="772480" y="239651"/>
                  </a:cubicBezTo>
                  <a:lnTo>
                    <a:pt x="741784" y="272720"/>
                  </a:lnTo>
                  <a:lnTo>
                    <a:pt x="741784" y="459533"/>
                  </a:lnTo>
                  <a:cubicBezTo>
                    <a:pt x="741784" y="553578"/>
                    <a:pt x="665545" y="629817"/>
                    <a:pt x="571500" y="629817"/>
                  </a:cubicBezTo>
                  <a:lnTo>
                    <a:pt x="170284" y="629817"/>
                  </a:lnTo>
                  <a:cubicBezTo>
                    <a:pt x="76239" y="629817"/>
                    <a:pt x="0" y="553578"/>
                    <a:pt x="0" y="459533"/>
                  </a:cubicBezTo>
                  <a:lnTo>
                    <a:pt x="0" y="170284"/>
                  </a:lnTo>
                  <a:cubicBezTo>
                    <a:pt x="0" y="76239"/>
                    <a:pt x="76239" y="0"/>
                    <a:pt x="17028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239" fontAlgn="auto">
                <a:spcBef>
                  <a:spcPts val="0"/>
                </a:spcBef>
                <a:spcAft>
                  <a:spcPts val="0"/>
                </a:spcAft>
              </a:pPr>
              <a:endParaRPr lang="en-IN" sz="1836">
                <a:solidFill>
                  <a:prstClr val="white"/>
                </a:solidFill>
              </a:endParaRPr>
            </a:p>
          </p:txBody>
        </p:sp>
      </p:grpSp>
      <p:sp>
        <p:nvSpPr>
          <p:cNvPr id="127" name="TextBox 126"/>
          <p:cNvSpPr txBox="1"/>
          <p:nvPr/>
        </p:nvSpPr>
        <p:spPr>
          <a:xfrm>
            <a:off x="2495131" y="5687782"/>
            <a:ext cx="2809475" cy="407959"/>
          </a:xfrm>
          <a:prstGeom prst="rect">
            <a:avLst/>
          </a:prstGeom>
          <a:noFill/>
        </p:spPr>
        <p:txBody>
          <a:bodyPr wrap="square" rtlCol="0" anchor="ctr">
            <a:noAutofit/>
          </a:bodyPr>
          <a:lstStyle/>
          <a:p>
            <a:pPr algn="ctr" defTabSz="932239" fontAlgn="auto">
              <a:spcBef>
                <a:spcPts val="0"/>
              </a:spcBef>
              <a:spcAft>
                <a:spcPts val="0"/>
              </a:spcAft>
            </a:pPr>
            <a:r>
              <a:rPr lang="en-US" sz="2000" dirty="0" smtClean="0">
                <a:solidFill>
                  <a:srgbClr val="FF8C00"/>
                </a:solidFill>
                <a:latin typeface="Segoe UI" panose="020B0502040204020203" pitchFamily="34" charset="0"/>
                <a:ea typeface="SimSun" panose="02010600030101010101" pitchFamily="2" charset="-122"/>
                <a:cs typeface="Segoe UI" panose="020B0502040204020203" pitchFamily="34" charset="0"/>
              </a:rPr>
              <a:t>Built-in to SQL </a:t>
            </a:r>
            <a:r>
              <a:rPr lang="en-US" sz="2000" dirty="0">
                <a:solidFill>
                  <a:srgbClr val="FF8C00"/>
                </a:solidFill>
                <a:latin typeface="Segoe UI" panose="020B0502040204020203" pitchFamily="34" charset="0"/>
                <a:ea typeface="SimSun" panose="02010600030101010101" pitchFamily="2" charset="-122"/>
                <a:cs typeface="Segoe UI" panose="020B0502040204020203" pitchFamily="34" charset="0"/>
              </a:rPr>
              <a:t>Server</a:t>
            </a:r>
          </a:p>
        </p:txBody>
      </p:sp>
      <p:grpSp>
        <p:nvGrpSpPr>
          <p:cNvPr id="3" name="Group 2"/>
          <p:cNvGrpSpPr/>
          <p:nvPr/>
        </p:nvGrpSpPr>
        <p:grpSpPr>
          <a:xfrm>
            <a:off x="5182869" y="4555580"/>
            <a:ext cx="2330846" cy="1353287"/>
            <a:chOff x="5094745" y="4648758"/>
            <a:chExt cx="2331508" cy="1353671"/>
          </a:xfrm>
        </p:grpSpPr>
        <p:sp>
          <p:nvSpPr>
            <p:cNvPr id="125" name="TextBox 124"/>
            <p:cNvSpPr txBox="1"/>
            <p:nvPr/>
          </p:nvSpPr>
          <p:spPr>
            <a:xfrm>
              <a:off x="5094745" y="5277233"/>
              <a:ext cx="2331508" cy="466302"/>
            </a:xfrm>
            <a:prstGeom prst="rect">
              <a:avLst/>
            </a:prstGeom>
            <a:noFill/>
          </p:spPr>
          <p:txBody>
            <a:bodyPr wrap="square" lIns="0" tIns="0" rIns="0" bIns="0" rtlCol="0">
              <a:noAutofit/>
            </a:bodyPr>
            <a:lstStyle/>
            <a:p>
              <a:pPr algn="ctr" defTabSz="932239" fontAlgn="auto">
                <a:spcBef>
                  <a:spcPts val="0"/>
                </a:spcBef>
                <a:spcAft>
                  <a:spcPts val="0"/>
                </a:spcAft>
              </a:pPr>
              <a:r>
                <a:rPr lang="en-US" sz="1598" dirty="0">
                  <a:solidFill>
                    <a:srgbClr val="5B9BD5">
                      <a:lumMod val="50000"/>
                    </a:srgbClr>
                  </a:solidFill>
                  <a:latin typeface="Segoe UI Semibold" panose="020B0702040204020203" pitchFamily="34" charset="0"/>
                  <a:cs typeface="Segoe UI Semibold" panose="020B0702040204020203" pitchFamily="34" charset="0"/>
                </a:rPr>
                <a:t>Data Developer/DBA</a:t>
              </a:r>
            </a:p>
          </p:txBody>
        </p:sp>
        <p:sp>
          <p:nvSpPr>
            <p:cNvPr id="126" name="TextBox 125"/>
            <p:cNvSpPr txBox="1"/>
            <p:nvPr/>
          </p:nvSpPr>
          <p:spPr>
            <a:xfrm>
              <a:off x="5094745" y="5536127"/>
              <a:ext cx="2331508" cy="466302"/>
            </a:xfrm>
            <a:prstGeom prst="rect">
              <a:avLst/>
            </a:prstGeom>
            <a:noFill/>
          </p:spPr>
          <p:txBody>
            <a:bodyPr wrap="square" lIns="0" tIns="0" rIns="0" bIns="0" rtlCol="0">
              <a:noAutofit/>
            </a:bodyPr>
            <a:lstStyle/>
            <a:p>
              <a:pPr algn="ctr" defTabSz="932239" fontAlgn="auto">
                <a:spcBef>
                  <a:spcPts val="0"/>
                </a:spcBef>
                <a:spcAft>
                  <a:spcPts val="0"/>
                </a:spcAft>
              </a:pPr>
              <a:r>
                <a:rPr lang="en-US" sz="1398" dirty="0">
                  <a:solidFill>
                    <a:prstClr val="black">
                      <a:lumMod val="75000"/>
                      <a:lumOff val="25000"/>
                    </a:prstClr>
                  </a:solidFill>
                  <a:latin typeface="Segoe UI" panose="020B0502040204020203" pitchFamily="34" charset="0"/>
                  <a:cs typeface="Segoe UI" panose="020B0502040204020203" pitchFamily="34" charset="0"/>
                </a:rPr>
                <a:t>Manage data and </a:t>
              </a:r>
            </a:p>
            <a:p>
              <a:pPr algn="ctr" defTabSz="932239" fontAlgn="auto">
                <a:spcBef>
                  <a:spcPts val="0"/>
                </a:spcBef>
                <a:spcAft>
                  <a:spcPts val="0"/>
                </a:spcAft>
              </a:pPr>
              <a:r>
                <a:rPr lang="en-US" sz="1398" dirty="0">
                  <a:solidFill>
                    <a:prstClr val="black">
                      <a:lumMod val="75000"/>
                      <a:lumOff val="25000"/>
                    </a:prstClr>
                  </a:solidFill>
                  <a:latin typeface="Segoe UI" panose="020B0502040204020203" pitchFamily="34" charset="0"/>
                  <a:cs typeface="Segoe UI" panose="020B0502040204020203" pitchFamily="34" charset="0"/>
                </a:rPr>
                <a:t>analytics together</a:t>
              </a:r>
            </a:p>
          </p:txBody>
        </p:sp>
        <p:grpSp>
          <p:nvGrpSpPr>
            <p:cNvPr id="50" name="Group 49"/>
            <p:cNvGrpSpPr>
              <a:grpSpLocks noChangeAspect="1"/>
            </p:cNvGrpSpPr>
            <p:nvPr/>
          </p:nvGrpSpPr>
          <p:grpSpPr>
            <a:xfrm>
              <a:off x="5973566" y="4648758"/>
              <a:ext cx="573866" cy="594358"/>
              <a:chOff x="3807371" y="2914650"/>
              <a:chExt cx="637629" cy="660397"/>
            </a:xfrm>
            <a:solidFill>
              <a:srgbClr val="003963"/>
            </a:solidFill>
          </p:grpSpPr>
          <p:sp>
            <p:nvSpPr>
              <p:cNvPr id="51" name="Oval 50"/>
              <p:cNvSpPr/>
              <p:nvPr/>
            </p:nvSpPr>
            <p:spPr>
              <a:xfrm>
                <a:off x="4054475" y="2914650"/>
                <a:ext cx="273050" cy="27305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239" fontAlgn="auto">
                  <a:spcBef>
                    <a:spcPts val="0"/>
                  </a:spcBef>
                  <a:spcAft>
                    <a:spcPts val="0"/>
                  </a:spcAft>
                </a:pPr>
                <a:endParaRPr lang="en-IN" sz="1836">
                  <a:solidFill>
                    <a:prstClr val="white"/>
                  </a:solidFill>
                </a:endParaRPr>
              </a:p>
            </p:txBody>
          </p:sp>
          <p:sp>
            <p:nvSpPr>
              <p:cNvPr id="52" name="Freeform 51"/>
              <p:cNvSpPr/>
              <p:nvPr/>
            </p:nvSpPr>
            <p:spPr>
              <a:xfrm>
                <a:off x="3888313" y="3201605"/>
                <a:ext cx="556687" cy="373442"/>
              </a:xfrm>
              <a:custGeom>
                <a:avLst/>
                <a:gdLst>
                  <a:gd name="connsiteX0" fmla="*/ 34925 w 558800"/>
                  <a:gd name="connsiteY0" fmla="*/ 266700 h 371475"/>
                  <a:gd name="connsiteX1" fmla="*/ 203200 w 558800"/>
                  <a:gd name="connsiteY1" fmla="*/ 250825 h 371475"/>
                  <a:gd name="connsiteX2" fmla="*/ 260350 w 558800"/>
                  <a:gd name="connsiteY2" fmla="*/ 73025 h 371475"/>
                  <a:gd name="connsiteX3" fmla="*/ 320675 w 558800"/>
                  <a:gd name="connsiteY3" fmla="*/ 15875 h 371475"/>
                  <a:gd name="connsiteX4" fmla="*/ 419100 w 558800"/>
                  <a:gd name="connsiteY4" fmla="*/ 0 h 371475"/>
                  <a:gd name="connsiteX5" fmla="*/ 501650 w 558800"/>
                  <a:gd name="connsiteY5" fmla="*/ 44450 h 371475"/>
                  <a:gd name="connsiteX6" fmla="*/ 536575 w 558800"/>
                  <a:gd name="connsiteY6" fmla="*/ 98425 h 371475"/>
                  <a:gd name="connsiteX7" fmla="*/ 558800 w 558800"/>
                  <a:gd name="connsiteY7" fmla="*/ 346075 h 371475"/>
                  <a:gd name="connsiteX8" fmla="*/ 349250 w 558800"/>
                  <a:gd name="connsiteY8" fmla="*/ 355600 h 371475"/>
                  <a:gd name="connsiteX9" fmla="*/ 346075 w 558800"/>
                  <a:gd name="connsiteY9" fmla="*/ 349250 h 371475"/>
                  <a:gd name="connsiteX10" fmla="*/ 415925 w 558800"/>
                  <a:gd name="connsiteY10" fmla="*/ 196850 h 371475"/>
                  <a:gd name="connsiteX11" fmla="*/ 412750 w 558800"/>
                  <a:gd name="connsiteY11" fmla="*/ 184150 h 371475"/>
                  <a:gd name="connsiteX12" fmla="*/ 381000 w 558800"/>
                  <a:gd name="connsiteY12" fmla="*/ 187325 h 371475"/>
                  <a:gd name="connsiteX13" fmla="*/ 301625 w 558800"/>
                  <a:gd name="connsiteY13" fmla="*/ 365125 h 371475"/>
                  <a:gd name="connsiteX14" fmla="*/ 28575 w 558800"/>
                  <a:gd name="connsiteY14" fmla="*/ 371475 h 371475"/>
                  <a:gd name="connsiteX15" fmla="*/ 0 w 558800"/>
                  <a:gd name="connsiteY15" fmla="*/ 336550 h 371475"/>
                  <a:gd name="connsiteX16" fmla="*/ 34925 w 558800"/>
                  <a:gd name="connsiteY16" fmla="*/ 266700 h 371475"/>
                  <a:gd name="connsiteX0" fmla="*/ 34925 w 558800"/>
                  <a:gd name="connsiteY0" fmla="*/ 266700 h 371475"/>
                  <a:gd name="connsiteX1" fmla="*/ 203200 w 558800"/>
                  <a:gd name="connsiteY1" fmla="*/ 250825 h 371475"/>
                  <a:gd name="connsiteX2" fmla="*/ 260350 w 558800"/>
                  <a:gd name="connsiteY2" fmla="*/ 73025 h 371475"/>
                  <a:gd name="connsiteX3" fmla="*/ 419100 w 558800"/>
                  <a:gd name="connsiteY3" fmla="*/ 0 h 371475"/>
                  <a:gd name="connsiteX4" fmla="*/ 501650 w 558800"/>
                  <a:gd name="connsiteY4" fmla="*/ 44450 h 371475"/>
                  <a:gd name="connsiteX5" fmla="*/ 536575 w 558800"/>
                  <a:gd name="connsiteY5" fmla="*/ 98425 h 371475"/>
                  <a:gd name="connsiteX6" fmla="*/ 558800 w 558800"/>
                  <a:gd name="connsiteY6" fmla="*/ 346075 h 371475"/>
                  <a:gd name="connsiteX7" fmla="*/ 349250 w 558800"/>
                  <a:gd name="connsiteY7" fmla="*/ 355600 h 371475"/>
                  <a:gd name="connsiteX8" fmla="*/ 346075 w 558800"/>
                  <a:gd name="connsiteY8" fmla="*/ 349250 h 371475"/>
                  <a:gd name="connsiteX9" fmla="*/ 415925 w 558800"/>
                  <a:gd name="connsiteY9" fmla="*/ 196850 h 371475"/>
                  <a:gd name="connsiteX10" fmla="*/ 412750 w 558800"/>
                  <a:gd name="connsiteY10" fmla="*/ 184150 h 371475"/>
                  <a:gd name="connsiteX11" fmla="*/ 381000 w 558800"/>
                  <a:gd name="connsiteY11" fmla="*/ 187325 h 371475"/>
                  <a:gd name="connsiteX12" fmla="*/ 301625 w 558800"/>
                  <a:gd name="connsiteY12" fmla="*/ 365125 h 371475"/>
                  <a:gd name="connsiteX13" fmla="*/ 28575 w 558800"/>
                  <a:gd name="connsiteY13" fmla="*/ 371475 h 371475"/>
                  <a:gd name="connsiteX14" fmla="*/ 0 w 558800"/>
                  <a:gd name="connsiteY14" fmla="*/ 336550 h 371475"/>
                  <a:gd name="connsiteX15" fmla="*/ 34925 w 558800"/>
                  <a:gd name="connsiteY15" fmla="*/ 266700 h 371475"/>
                  <a:gd name="connsiteX0" fmla="*/ 34925 w 558800"/>
                  <a:gd name="connsiteY0" fmla="*/ 222250 h 327025"/>
                  <a:gd name="connsiteX1" fmla="*/ 203200 w 558800"/>
                  <a:gd name="connsiteY1" fmla="*/ 206375 h 327025"/>
                  <a:gd name="connsiteX2" fmla="*/ 260350 w 558800"/>
                  <a:gd name="connsiteY2" fmla="*/ 28575 h 327025"/>
                  <a:gd name="connsiteX3" fmla="*/ 501650 w 558800"/>
                  <a:gd name="connsiteY3" fmla="*/ 0 h 327025"/>
                  <a:gd name="connsiteX4" fmla="*/ 536575 w 558800"/>
                  <a:gd name="connsiteY4" fmla="*/ 53975 h 327025"/>
                  <a:gd name="connsiteX5" fmla="*/ 558800 w 558800"/>
                  <a:gd name="connsiteY5" fmla="*/ 301625 h 327025"/>
                  <a:gd name="connsiteX6" fmla="*/ 349250 w 558800"/>
                  <a:gd name="connsiteY6" fmla="*/ 311150 h 327025"/>
                  <a:gd name="connsiteX7" fmla="*/ 346075 w 558800"/>
                  <a:gd name="connsiteY7" fmla="*/ 304800 h 327025"/>
                  <a:gd name="connsiteX8" fmla="*/ 415925 w 558800"/>
                  <a:gd name="connsiteY8" fmla="*/ 152400 h 327025"/>
                  <a:gd name="connsiteX9" fmla="*/ 412750 w 558800"/>
                  <a:gd name="connsiteY9" fmla="*/ 139700 h 327025"/>
                  <a:gd name="connsiteX10" fmla="*/ 381000 w 558800"/>
                  <a:gd name="connsiteY10" fmla="*/ 142875 h 327025"/>
                  <a:gd name="connsiteX11" fmla="*/ 301625 w 558800"/>
                  <a:gd name="connsiteY11" fmla="*/ 320675 h 327025"/>
                  <a:gd name="connsiteX12" fmla="*/ 28575 w 558800"/>
                  <a:gd name="connsiteY12" fmla="*/ 327025 h 327025"/>
                  <a:gd name="connsiteX13" fmla="*/ 0 w 558800"/>
                  <a:gd name="connsiteY13" fmla="*/ 292100 h 327025"/>
                  <a:gd name="connsiteX14" fmla="*/ 34925 w 558800"/>
                  <a:gd name="connsiteY14" fmla="*/ 222250 h 327025"/>
                  <a:gd name="connsiteX0" fmla="*/ 34925 w 558800"/>
                  <a:gd name="connsiteY0" fmla="*/ 246288 h 351063"/>
                  <a:gd name="connsiteX1" fmla="*/ 203200 w 558800"/>
                  <a:gd name="connsiteY1" fmla="*/ 230413 h 351063"/>
                  <a:gd name="connsiteX2" fmla="*/ 260350 w 558800"/>
                  <a:gd name="connsiteY2" fmla="*/ 52613 h 351063"/>
                  <a:gd name="connsiteX3" fmla="*/ 501650 w 558800"/>
                  <a:gd name="connsiteY3" fmla="*/ 24038 h 351063"/>
                  <a:gd name="connsiteX4" fmla="*/ 536575 w 558800"/>
                  <a:gd name="connsiteY4" fmla="*/ 78013 h 351063"/>
                  <a:gd name="connsiteX5" fmla="*/ 558800 w 558800"/>
                  <a:gd name="connsiteY5" fmla="*/ 325663 h 351063"/>
                  <a:gd name="connsiteX6" fmla="*/ 349250 w 558800"/>
                  <a:gd name="connsiteY6" fmla="*/ 335188 h 351063"/>
                  <a:gd name="connsiteX7" fmla="*/ 346075 w 558800"/>
                  <a:gd name="connsiteY7" fmla="*/ 328838 h 351063"/>
                  <a:gd name="connsiteX8" fmla="*/ 415925 w 558800"/>
                  <a:gd name="connsiteY8" fmla="*/ 176438 h 351063"/>
                  <a:gd name="connsiteX9" fmla="*/ 412750 w 558800"/>
                  <a:gd name="connsiteY9" fmla="*/ 163738 h 351063"/>
                  <a:gd name="connsiteX10" fmla="*/ 381000 w 558800"/>
                  <a:gd name="connsiteY10" fmla="*/ 166913 h 351063"/>
                  <a:gd name="connsiteX11" fmla="*/ 301625 w 558800"/>
                  <a:gd name="connsiteY11" fmla="*/ 344713 h 351063"/>
                  <a:gd name="connsiteX12" fmla="*/ 28575 w 558800"/>
                  <a:gd name="connsiteY12" fmla="*/ 351063 h 351063"/>
                  <a:gd name="connsiteX13" fmla="*/ 0 w 558800"/>
                  <a:gd name="connsiteY13" fmla="*/ 316138 h 351063"/>
                  <a:gd name="connsiteX14" fmla="*/ 34925 w 558800"/>
                  <a:gd name="connsiteY14" fmla="*/ 246288 h 35106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36575 w 558800"/>
                  <a:gd name="connsiteY4" fmla="*/ 95653 h 368703"/>
                  <a:gd name="connsiteX5" fmla="*/ 558800 w 558800"/>
                  <a:gd name="connsiteY5" fmla="*/ 343303 h 368703"/>
                  <a:gd name="connsiteX6" fmla="*/ 349250 w 558800"/>
                  <a:gd name="connsiteY6" fmla="*/ 352828 h 368703"/>
                  <a:gd name="connsiteX7" fmla="*/ 346075 w 558800"/>
                  <a:gd name="connsiteY7" fmla="*/ 346478 h 368703"/>
                  <a:gd name="connsiteX8" fmla="*/ 415925 w 558800"/>
                  <a:gd name="connsiteY8" fmla="*/ 194078 h 368703"/>
                  <a:gd name="connsiteX9" fmla="*/ 412750 w 558800"/>
                  <a:gd name="connsiteY9" fmla="*/ 181378 h 368703"/>
                  <a:gd name="connsiteX10" fmla="*/ 381000 w 558800"/>
                  <a:gd name="connsiteY10" fmla="*/ 184553 h 368703"/>
                  <a:gd name="connsiteX11" fmla="*/ 301625 w 558800"/>
                  <a:gd name="connsiteY11" fmla="*/ 362353 h 368703"/>
                  <a:gd name="connsiteX12" fmla="*/ 28575 w 558800"/>
                  <a:gd name="connsiteY12" fmla="*/ 368703 h 368703"/>
                  <a:gd name="connsiteX13" fmla="*/ 0 w 558800"/>
                  <a:gd name="connsiteY13" fmla="*/ 333778 h 368703"/>
                  <a:gd name="connsiteX14" fmla="*/ 34925 w 558800"/>
                  <a:gd name="connsiteY14" fmla="*/ 263928 h 36870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58800 w 558800"/>
                  <a:gd name="connsiteY4" fmla="*/ 343303 h 368703"/>
                  <a:gd name="connsiteX5" fmla="*/ 349250 w 558800"/>
                  <a:gd name="connsiteY5" fmla="*/ 352828 h 368703"/>
                  <a:gd name="connsiteX6" fmla="*/ 346075 w 558800"/>
                  <a:gd name="connsiteY6" fmla="*/ 346478 h 368703"/>
                  <a:gd name="connsiteX7" fmla="*/ 415925 w 558800"/>
                  <a:gd name="connsiteY7" fmla="*/ 194078 h 368703"/>
                  <a:gd name="connsiteX8" fmla="*/ 412750 w 558800"/>
                  <a:gd name="connsiteY8" fmla="*/ 181378 h 368703"/>
                  <a:gd name="connsiteX9" fmla="*/ 381000 w 558800"/>
                  <a:gd name="connsiteY9" fmla="*/ 184553 h 368703"/>
                  <a:gd name="connsiteX10" fmla="*/ 301625 w 558800"/>
                  <a:gd name="connsiteY10" fmla="*/ 362353 h 368703"/>
                  <a:gd name="connsiteX11" fmla="*/ 28575 w 558800"/>
                  <a:gd name="connsiteY11" fmla="*/ 368703 h 368703"/>
                  <a:gd name="connsiteX12" fmla="*/ 0 w 558800"/>
                  <a:gd name="connsiteY12" fmla="*/ 333778 h 368703"/>
                  <a:gd name="connsiteX13" fmla="*/ 34925 w 558800"/>
                  <a:gd name="connsiteY13" fmla="*/ 263928 h 36870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58800 w 558800"/>
                  <a:gd name="connsiteY4" fmla="*/ 343303 h 368703"/>
                  <a:gd name="connsiteX5" fmla="*/ 349250 w 558800"/>
                  <a:gd name="connsiteY5" fmla="*/ 352828 h 368703"/>
                  <a:gd name="connsiteX6" fmla="*/ 346075 w 558800"/>
                  <a:gd name="connsiteY6" fmla="*/ 346478 h 368703"/>
                  <a:gd name="connsiteX7" fmla="*/ 415925 w 558800"/>
                  <a:gd name="connsiteY7" fmla="*/ 194078 h 368703"/>
                  <a:gd name="connsiteX8" fmla="*/ 412750 w 558800"/>
                  <a:gd name="connsiteY8" fmla="*/ 181378 h 368703"/>
                  <a:gd name="connsiteX9" fmla="*/ 381000 w 558800"/>
                  <a:gd name="connsiteY9" fmla="*/ 184553 h 368703"/>
                  <a:gd name="connsiteX10" fmla="*/ 301625 w 558800"/>
                  <a:gd name="connsiteY10" fmla="*/ 362353 h 368703"/>
                  <a:gd name="connsiteX11" fmla="*/ 28575 w 558800"/>
                  <a:gd name="connsiteY11" fmla="*/ 368703 h 368703"/>
                  <a:gd name="connsiteX12" fmla="*/ 0 w 558800"/>
                  <a:gd name="connsiteY12" fmla="*/ 333778 h 368703"/>
                  <a:gd name="connsiteX13" fmla="*/ 34925 w 558800"/>
                  <a:gd name="connsiteY13" fmla="*/ 263928 h 36870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58800 w 558800"/>
                  <a:gd name="connsiteY4" fmla="*/ 343303 h 368703"/>
                  <a:gd name="connsiteX5" fmla="*/ 349250 w 558800"/>
                  <a:gd name="connsiteY5" fmla="*/ 352828 h 368703"/>
                  <a:gd name="connsiteX6" fmla="*/ 346075 w 558800"/>
                  <a:gd name="connsiteY6" fmla="*/ 346478 h 368703"/>
                  <a:gd name="connsiteX7" fmla="*/ 415925 w 558800"/>
                  <a:gd name="connsiteY7" fmla="*/ 194078 h 368703"/>
                  <a:gd name="connsiteX8" fmla="*/ 412750 w 558800"/>
                  <a:gd name="connsiteY8" fmla="*/ 181378 h 368703"/>
                  <a:gd name="connsiteX9" fmla="*/ 381000 w 558800"/>
                  <a:gd name="connsiteY9" fmla="*/ 184553 h 368703"/>
                  <a:gd name="connsiteX10" fmla="*/ 301625 w 558800"/>
                  <a:gd name="connsiteY10" fmla="*/ 362353 h 368703"/>
                  <a:gd name="connsiteX11" fmla="*/ 28575 w 558800"/>
                  <a:gd name="connsiteY11" fmla="*/ 368703 h 368703"/>
                  <a:gd name="connsiteX12" fmla="*/ 0 w 558800"/>
                  <a:gd name="connsiteY12" fmla="*/ 333778 h 368703"/>
                  <a:gd name="connsiteX13" fmla="*/ 34925 w 558800"/>
                  <a:gd name="connsiteY13" fmla="*/ 263928 h 368703"/>
                  <a:gd name="connsiteX0" fmla="*/ 34925 w 558800"/>
                  <a:gd name="connsiteY0" fmla="*/ 263928 h 368703"/>
                  <a:gd name="connsiteX1" fmla="*/ 203200 w 558800"/>
                  <a:gd name="connsiteY1" fmla="*/ 248053 h 368703"/>
                  <a:gd name="connsiteX2" fmla="*/ 260350 w 558800"/>
                  <a:gd name="connsiteY2" fmla="*/ 70253 h 368703"/>
                  <a:gd name="connsiteX3" fmla="*/ 501650 w 558800"/>
                  <a:gd name="connsiteY3" fmla="*/ 41678 h 368703"/>
                  <a:gd name="connsiteX4" fmla="*/ 558800 w 558800"/>
                  <a:gd name="connsiteY4" fmla="*/ 343303 h 368703"/>
                  <a:gd name="connsiteX5" fmla="*/ 349250 w 558800"/>
                  <a:gd name="connsiteY5" fmla="*/ 352828 h 368703"/>
                  <a:gd name="connsiteX6" fmla="*/ 346075 w 558800"/>
                  <a:gd name="connsiteY6" fmla="*/ 346478 h 368703"/>
                  <a:gd name="connsiteX7" fmla="*/ 415925 w 558800"/>
                  <a:gd name="connsiteY7" fmla="*/ 194078 h 368703"/>
                  <a:gd name="connsiteX8" fmla="*/ 381000 w 558800"/>
                  <a:gd name="connsiteY8" fmla="*/ 184553 h 368703"/>
                  <a:gd name="connsiteX9" fmla="*/ 301625 w 558800"/>
                  <a:gd name="connsiteY9" fmla="*/ 362353 h 368703"/>
                  <a:gd name="connsiteX10" fmla="*/ 28575 w 558800"/>
                  <a:gd name="connsiteY10" fmla="*/ 368703 h 368703"/>
                  <a:gd name="connsiteX11" fmla="*/ 0 w 558800"/>
                  <a:gd name="connsiteY11" fmla="*/ 333778 h 368703"/>
                  <a:gd name="connsiteX12" fmla="*/ 34925 w 558800"/>
                  <a:gd name="connsiteY12" fmla="*/ 263928 h 368703"/>
                  <a:gd name="connsiteX0" fmla="*/ 6350 w 530225"/>
                  <a:gd name="connsiteY0" fmla="*/ 263928 h 368703"/>
                  <a:gd name="connsiteX1" fmla="*/ 174625 w 530225"/>
                  <a:gd name="connsiteY1" fmla="*/ 248053 h 368703"/>
                  <a:gd name="connsiteX2" fmla="*/ 231775 w 530225"/>
                  <a:gd name="connsiteY2" fmla="*/ 70253 h 368703"/>
                  <a:gd name="connsiteX3" fmla="*/ 473075 w 530225"/>
                  <a:gd name="connsiteY3" fmla="*/ 41678 h 368703"/>
                  <a:gd name="connsiteX4" fmla="*/ 530225 w 530225"/>
                  <a:gd name="connsiteY4" fmla="*/ 343303 h 368703"/>
                  <a:gd name="connsiteX5" fmla="*/ 320675 w 530225"/>
                  <a:gd name="connsiteY5" fmla="*/ 352828 h 368703"/>
                  <a:gd name="connsiteX6" fmla="*/ 317500 w 530225"/>
                  <a:gd name="connsiteY6" fmla="*/ 346478 h 368703"/>
                  <a:gd name="connsiteX7" fmla="*/ 387350 w 530225"/>
                  <a:gd name="connsiteY7" fmla="*/ 194078 h 368703"/>
                  <a:gd name="connsiteX8" fmla="*/ 352425 w 530225"/>
                  <a:gd name="connsiteY8" fmla="*/ 184553 h 368703"/>
                  <a:gd name="connsiteX9" fmla="*/ 273050 w 530225"/>
                  <a:gd name="connsiteY9" fmla="*/ 362353 h 368703"/>
                  <a:gd name="connsiteX10" fmla="*/ 0 w 530225"/>
                  <a:gd name="connsiteY10" fmla="*/ 368703 h 368703"/>
                  <a:gd name="connsiteX11" fmla="*/ 6350 w 530225"/>
                  <a:gd name="connsiteY11" fmla="*/ 263928 h 368703"/>
                  <a:gd name="connsiteX0" fmla="*/ 28984 w 552859"/>
                  <a:gd name="connsiteY0" fmla="*/ 263928 h 368703"/>
                  <a:gd name="connsiteX1" fmla="*/ 197259 w 552859"/>
                  <a:gd name="connsiteY1" fmla="*/ 248053 h 368703"/>
                  <a:gd name="connsiteX2" fmla="*/ 254409 w 552859"/>
                  <a:gd name="connsiteY2" fmla="*/ 70253 h 368703"/>
                  <a:gd name="connsiteX3" fmla="*/ 495709 w 552859"/>
                  <a:gd name="connsiteY3" fmla="*/ 41678 h 368703"/>
                  <a:gd name="connsiteX4" fmla="*/ 552859 w 552859"/>
                  <a:gd name="connsiteY4" fmla="*/ 343303 h 368703"/>
                  <a:gd name="connsiteX5" fmla="*/ 343309 w 552859"/>
                  <a:gd name="connsiteY5" fmla="*/ 352828 h 368703"/>
                  <a:gd name="connsiteX6" fmla="*/ 340134 w 552859"/>
                  <a:gd name="connsiteY6" fmla="*/ 346478 h 368703"/>
                  <a:gd name="connsiteX7" fmla="*/ 409984 w 552859"/>
                  <a:gd name="connsiteY7" fmla="*/ 194078 h 368703"/>
                  <a:gd name="connsiteX8" fmla="*/ 375059 w 552859"/>
                  <a:gd name="connsiteY8" fmla="*/ 184553 h 368703"/>
                  <a:gd name="connsiteX9" fmla="*/ 295684 w 552859"/>
                  <a:gd name="connsiteY9" fmla="*/ 362353 h 368703"/>
                  <a:gd name="connsiteX10" fmla="*/ 22634 w 552859"/>
                  <a:gd name="connsiteY10" fmla="*/ 368703 h 368703"/>
                  <a:gd name="connsiteX11" fmla="*/ 28984 w 552859"/>
                  <a:gd name="connsiteY11" fmla="*/ 263928 h 368703"/>
                  <a:gd name="connsiteX0" fmla="*/ 35058 w 558933"/>
                  <a:gd name="connsiteY0" fmla="*/ 263928 h 369620"/>
                  <a:gd name="connsiteX1" fmla="*/ 203333 w 558933"/>
                  <a:gd name="connsiteY1" fmla="*/ 248053 h 369620"/>
                  <a:gd name="connsiteX2" fmla="*/ 260483 w 558933"/>
                  <a:gd name="connsiteY2" fmla="*/ 70253 h 369620"/>
                  <a:gd name="connsiteX3" fmla="*/ 501783 w 558933"/>
                  <a:gd name="connsiteY3" fmla="*/ 41678 h 369620"/>
                  <a:gd name="connsiteX4" fmla="*/ 558933 w 558933"/>
                  <a:gd name="connsiteY4" fmla="*/ 343303 h 369620"/>
                  <a:gd name="connsiteX5" fmla="*/ 349383 w 558933"/>
                  <a:gd name="connsiteY5" fmla="*/ 352828 h 369620"/>
                  <a:gd name="connsiteX6" fmla="*/ 346208 w 558933"/>
                  <a:gd name="connsiteY6" fmla="*/ 346478 h 369620"/>
                  <a:gd name="connsiteX7" fmla="*/ 416058 w 558933"/>
                  <a:gd name="connsiteY7" fmla="*/ 194078 h 369620"/>
                  <a:gd name="connsiteX8" fmla="*/ 381133 w 558933"/>
                  <a:gd name="connsiteY8" fmla="*/ 184553 h 369620"/>
                  <a:gd name="connsiteX9" fmla="*/ 301758 w 558933"/>
                  <a:gd name="connsiteY9" fmla="*/ 362353 h 369620"/>
                  <a:gd name="connsiteX10" fmla="*/ 28708 w 558933"/>
                  <a:gd name="connsiteY10" fmla="*/ 368703 h 369620"/>
                  <a:gd name="connsiteX11" fmla="*/ 35058 w 558933"/>
                  <a:gd name="connsiteY11" fmla="*/ 263928 h 369620"/>
                  <a:gd name="connsiteX0" fmla="*/ 38101 w 561976"/>
                  <a:gd name="connsiteY0" fmla="*/ 263928 h 368703"/>
                  <a:gd name="connsiteX1" fmla="*/ 206376 w 561976"/>
                  <a:gd name="connsiteY1" fmla="*/ 248053 h 368703"/>
                  <a:gd name="connsiteX2" fmla="*/ 263526 w 561976"/>
                  <a:gd name="connsiteY2" fmla="*/ 70253 h 368703"/>
                  <a:gd name="connsiteX3" fmla="*/ 504826 w 561976"/>
                  <a:gd name="connsiteY3" fmla="*/ 41678 h 368703"/>
                  <a:gd name="connsiteX4" fmla="*/ 561976 w 561976"/>
                  <a:gd name="connsiteY4" fmla="*/ 343303 h 368703"/>
                  <a:gd name="connsiteX5" fmla="*/ 352426 w 561976"/>
                  <a:gd name="connsiteY5" fmla="*/ 352828 h 368703"/>
                  <a:gd name="connsiteX6" fmla="*/ 349251 w 561976"/>
                  <a:gd name="connsiteY6" fmla="*/ 346478 h 368703"/>
                  <a:gd name="connsiteX7" fmla="*/ 419101 w 561976"/>
                  <a:gd name="connsiteY7" fmla="*/ 194078 h 368703"/>
                  <a:gd name="connsiteX8" fmla="*/ 384176 w 561976"/>
                  <a:gd name="connsiteY8" fmla="*/ 184553 h 368703"/>
                  <a:gd name="connsiteX9" fmla="*/ 304801 w 561976"/>
                  <a:gd name="connsiteY9" fmla="*/ 362353 h 368703"/>
                  <a:gd name="connsiteX10" fmla="*/ 31751 w 561976"/>
                  <a:gd name="connsiteY10" fmla="*/ 368703 h 368703"/>
                  <a:gd name="connsiteX11" fmla="*/ 38101 w 561976"/>
                  <a:gd name="connsiteY11" fmla="*/ 263928 h 368703"/>
                  <a:gd name="connsiteX0" fmla="*/ 35796 w 559671"/>
                  <a:gd name="connsiteY0" fmla="*/ 263928 h 368703"/>
                  <a:gd name="connsiteX1" fmla="*/ 204071 w 559671"/>
                  <a:gd name="connsiteY1" fmla="*/ 248053 h 368703"/>
                  <a:gd name="connsiteX2" fmla="*/ 261221 w 559671"/>
                  <a:gd name="connsiteY2" fmla="*/ 70253 h 368703"/>
                  <a:gd name="connsiteX3" fmla="*/ 502521 w 559671"/>
                  <a:gd name="connsiteY3" fmla="*/ 41678 h 368703"/>
                  <a:gd name="connsiteX4" fmla="*/ 559671 w 559671"/>
                  <a:gd name="connsiteY4" fmla="*/ 343303 h 368703"/>
                  <a:gd name="connsiteX5" fmla="*/ 350121 w 559671"/>
                  <a:gd name="connsiteY5" fmla="*/ 352828 h 368703"/>
                  <a:gd name="connsiteX6" fmla="*/ 346946 w 559671"/>
                  <a:gd name="connsiteY6" fmla="*/ 346478 h 368703"/>
                  <a:gd name="connsiteX7" fmla="*/ 416796 w 559671"/>
                  <a:gd name="connsiteY7" fmla="*/ 194078 h 368703"/>
                  <a:gd name="connsiteX8" fmla="*/ 381871 w 559671"/>
                  <a:gd name="connsiteY8" fmla="*/ 184553 h 368703"/>
                  <a:gd name="connsiteX9" fmla="*/ 302496 w 559671"/>
                  <a:gd name="connsiteY9" fmla="*/ 362353 h 368703"/>
                  <a:gd name="connsiteX10" fmla="*/ 29446 w 559671"/>
                  <a:gd name="connsiteY10" fmla="*/ 368703 h 368703"/>
                  <a:gd name="connsiteX11" fmla="*/ 35796 w 559671"/>
                  <a:gd name="connsiteY11" fmla="*/ 263928 h 368703"/>
                  <a:gd name="connsiteX0" fmla="*/ 33802 w 557677"/>
                  <a:gd name="connsiteY0" fmla="*/ 263928 h 368703"/>
                  <a:gd name="connsiteX1" fmla="*/ 202077 w 557677"/>
                  <a:gd name="connsiteY1" fmla="*/ 248053 h 368703"/>
                  <a:gd name="connsiteX2" fmla="*/ 259227 w 557677"/>
                  <a:gd name="connsiteY2" fmla="*/ 70253 h 368703"/>
                  <a:gd name="connsiteX3" fmla="*/ 500527 w 557677"/>
                  <a:gd name="connsiteY3" fmla="*/ 41678 h 368703"/>
                  <a:gd name="connsiteX4" fmla="*/ 557677 w 557677"/>
                  <a:gd name="connsiteY4" fmla="*/ 343303 h 368703"/>
                  <a:gd name="connsiteX5" fmla="*/ 348127 w 557677"/>
                  <a:gd name="connsiteY5" fmla="*/ 352828 h 368703"/>
                  <a:gd name="connsiteX6" fmla="*/ 344952 w 557677"/>
                  <a:gd name="connsiteY6" fmla="*/ 346478 h 368703"/>
                  <a:gd name="connsiteX7" fmla="*/ 414802 w 557677"/>
                  <a:gd name="connsiteY7" fmla="*/ 194078 h 368703"/>
                  <a:gd name="connsiteX8" fmla="*/ 379877 w 557677"/>
                  <a:gd name="connsiteY8" fmla="*/ 184553 h 368703"/>
                  <a:gd name="connsiteX9" fmla="*/ 300502 w 557677"/>
                  <a:gd name="connsiteY9" fmla="*/ 362353 h 368703"/>
                  <a:gd name="connsiteX10" fmla="*/ 27452 w 557677"/>
                  <a:gd name="connsiteY10" fmla="*/ 368703 h 368703"/>
                  <a:gd name="connsiteX11" fmla="*/ 33802 w 557677"/>
                  <a:gd name="connsiteY11"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343962 w 556687"/>
                  <a:gd name="connsiteY6" fmla="*/ 346478 h 368703"/>
                  <a:gd name="connsiteX7" fmla="*/ 413812 w 556687"/>
                  <a:gd name="connsiteY7" fmla="*/ 194078 h 368703"/>
                  <a:gd name="connsiteX8" fmla="*/ 378887 w 556687"/>
                  <a:gd name="connsiteY8" fmla="*/ 184553 h 368703"/>
                  <a:gd name="connsiteX9" fmla="*/ 299512 w 556687"/>
                  <a:gd name="connsiteY9" fmla="*/ 362353 h 368703"/>
                  <a:gd name="connsiteX10" fmla="*/ 26462 w 556687"/>
                  <a:gd name="connsiteY10" fmla="*/ 368703 h 368703"/>
                  <a:gd name="connsiteX11" fmla="*/ 32812 w 556687"/>
                  <a:gd name="connsiteY11"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413812 w 556687"/>
                  <a:gd name="connsiteY6" fmla="*/ 194078 h 368703"/>
                  <a:gd name="connsiteX7" fmla="*/ 378887 w 556687"/>
                  <a:gd name="connsiteY7" fmla="*/ 184553 h 368703"/>
                  <a:gd name="connsiteX8" fmla="*/ 299512 w 556687"/>
                  <a:gd name="connsiteY8" fmla="*/ 362353 h 368703"/>
                  <a:gd name="connsiteX9" fmla="*/ 26462 w 556687"/>
                  <a:gd name="connsiteY9" fmla="*/ 368703 h 368703"/>
                  <a:gd name="connsiteX10" fmla="*/ 32812 w 556687"/>
                  <a:gd name="connsiteY10"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413812 w 556687"/>
                  <a:gd name="connsiteY6" fmla="*/ 194078 h 368703"/>
                  <a:gd name="connsiteX7" fmla="*/ 378887 w 556687"/>
                  <a:gd name="connsiteY7" fmla="*/ 184553 h 368703"/>
                  <a:gd name="connsiteX8" fmla="*/ 299512 w 556687"/>
                  <a:gd name="connsiteY8" fmla="*/ 362353 h 368703"/>
                  <a:gd name="connsiteX9" fmla="*/ 26462 w 556687"/>
                  <a:gd name="connsiteY9" fmla="*/ 368703 h 368703"/>
                  <a:gd name="connsiteX10" fmla="*/ 32812 w 556687"/>
                  <a:gd name="connsiteY10"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413812 w 556687"/>
                  <a:gd name="connsiteY6" fmla="*/ 194078 h 368703"/>
                  <a:gd name="connsiteX7" fmla="*/ 378887 w 556687"/>
                  <a:gd name="connsiteY7" fmla="*/ 184553 h 368703"/>
                  <a:gd name="connsiteX8" fmla="*/ 299512 w 556687"/>
                  <a:gd name="connsiteY8" fmla="*/ 362353 h 368703"/>
                  <a:gd name="connsiteX9" fmla="*/ 26462 w 556687"/>
                  <a:gd name="connsiteY9" fmla="*/ 368703 h 368703"/>
                  <a:gd name="connsiteX10" fmla="*/ 32812 w 556687"/>
                  <a:gd name="connsiteY10" fmla="*/ 263928 h 368703"/>
                  <a:gd name="connsiteX0" fmla="*/ 32812 w 556687"/>
                  <a:gd name="connsiteY0" fmla="*/ 263928 h 368703"/>
                  <a:gd name="connsiteX1" fmla="*/ 201087 w 556687"/>
                  <a:gd name="connsiteY1" fmla="*/ 248053 h 368703"/>
                  <a:gd name="connsiteX2" fmla="*/ 258237 w 556687"/>
                  <a:gd name="connsiteY2" fmla="*/ 70253 h 368703"/>
                  <a:gd name="connsiteX3" fmla="*/ 499537 w 556687"/>
                  <a:gd name="connsiteY3" fmla="*/ 41678 h 368703"/>
                  <a:gd name="connsiteX4" fmla="*/ 556687 w 556687"/>
                  <a:gd name="connsiteY4" fmla="*/ 343303 h 368703"/>
                  <a:gd name="connsiteX5" fmla="*/ 347137 w 556687"/>
                  <a:gd name="connsiteY5" fmla="*/ 352828 h 368703"/>
                  <a:gd name="connsiteX6" fmla="*/ 413812 w 556687"/>
                  <a:gd name="connsiteY6" fmla="*/ 194078 h 368703"/>
                  <a:gd name="connsiteX7" fmla="*/ 378887 w 556687"/>
                  <a:gd name="connsiteY7" fmla="*/ 184553 h 368703"/>
                  <a:gd name="connsiteX8" fmla="*/ 299512 w 556687"/>
                  <a:gd name="connsiteY8" fmla="*/ 362353 h 368703"/>
                  <a:gd name="connsiteX9" fmla="*/ 26462 w 556687"/>
                  <a:gd name="connsiteY9" fmla="*/ 368703 h 368703"/>
                  <a:gd name="connsiteX10" fmla="*/ 32812 w 556687"/>
                  <a:gd name="connsiteY10" fmla="*/ 263928 h 368703"/>
                  <a:gd name="connsiteX0" fmla="*/ 32812 w 556687"/>
                  <a:gd name="connsiteY0" fmla="*/ 260508 h 365283"/>
                  <a:gd name="connsiteX1" fmla="*/ 201087 w 556687"/>
                  <a:gd name="connsiteY1" fmla="*/ 244633 h 365283"/>
                  <a:gd name="connsiteX2" fmla="*/ 258237 w 556687"/>
                  <a:gd name="connsiteY2" fmla="*/ 66833 h 365283"/>
                  <a:gd name="connsiteX3" fmla="*/ 426512 w 556687"/>
                  <a:gd name="connsiteY3" fmla="*/ 7302 h 365283"/>
                  <a:gd name="connsiteX4" fmla="*/ 499537 w 556687"/>
                  <a:gd name="connsiteY4" fmla="*/ 38258 h 365283"/>
                  <a:gd name="connsiteX5" fmla="*/ 556687 w 556687"/>
                  <a:gd name="connsiteY5" fmla="*/ 339883 h 365283"/>
                  <a:gd name="connsiteX6" fmla="*/ 347137 w 556687"/>
                  <a:gd name="connsiteY6" fmla="*/ 349408 h 365283"/>
                  <a:gd name="connsiteX7" fmla="*/ 413812 w 556687"/>
                  <a:gd name="connsiteY7" fmla="*/ 190658 h 365283"/>
                  <a:gd name="connsiteX8" fmla="*/ 378887 w 556687"/>
                  <a:gd name="connsiteY8" fmla="*/ 181133 h 365283"/>
                  <a:gd name="connsiteX9" fmla="*/ 299512 w 556687"/>
                  <a:gd name="connsiteY9" fmla="*/ 358933 h 365283"/>
                  <a:gd name="connsiteX10" fmla="*/ 26462 w 556687"/>
                  <a:gd name="connsiteY10" fmla="*/ 365283 h 365283"/>
                  <a:gd name="connsiteX11" fmla="*/ 32812 w 556687"/>
                  <a:gd name="connsiteY11" fmla="*/ 260508 h 365283"/>
                  <a:gd name="connsiteX0" fmla="*/ 32812 w 557953"/>
                  <a:gd name="connsiteY0" fmla="*/ 268685 h 373460"/>
                  <a:gd name="connsiteX1" fmla="*/ 201087 w 557953"/>
                  <a:gd name="connsiteY1" fmla="*/ 252810 h 373460"/>
                  <a:gd name="connsiteX2" fmla="*/ 258237 w 557953"/>
                  <a:gd name="connsiteY2" fmla="*/ 75010 h 373460"/>
                  <a:gd name="connsiteX3" fmla="*/ 426512 w 557953"/>
                  <a:gd name="connsiteY3" fmla="*/ 15479 h 373460"/>
                  <a:gd name="connsiteX4" fmla="*/ 556687 w 557953"/>
                  <a:gd name="connsiteY4" fmla="*/ 348060 h 373460"/>
                  <a:gd name="connsiteX5" fmla="*/ 347137 w 557953"/>
                  <a:gd name="connsiteY5" fmla="*/ 357585 h 373460"/>
                  <a:gd name="connsiteX6" fmla="*/ 413812 w 557953"/>
                  <a:gd name="connsiteY6" fmla="*/ 198835 h 373460"/>
                  <a:gd name="connsiteX7" fmla="*/ 378887 w 557953"/>
                  <a:gd name="connsiteY7" fmla="*/ 189310 h 373460"/>
                  <a:gd name="connsiteX8" fmla="*/ 299512 w 557953"/>
                  <a:gd name="connsiteY8" fmla="*/ 367110 h 373460"/>
                  <a:gd name="connsiteX9" fmla="*/ 26462 w 557953"/>
                  <a:gd name="connsiteY9" fmla="*/ 373460 h 373460"/>
                  <a:gd name="connsiteX10" fmla="*/ 32812 w 557953"/>
                  <a:gd name="connsiteY10" fmla="*/ 268685 h 373460"/>
                  <a:gd name="connsiteX0" fmla="*/ 32812 w 557953"/>
                  <a:gd name="connsiteY0" fmla="*/ 260976 h 365751"/>
                  <a:gd name="connsiteX1" fmla="*/ 201087 w 557953"/>
                  <a:gd name="connsiteY1" fmla="*/ 245101 h 365751"/>
                  <a:gd name="connsiteX2" fmla="*/ 258237 w 557953"/>
                  <a:gd name="connsiteY2" fmla="*/ 67301 h 365751"/>
                  <a:gd name="connsiteX3" fmla="*/ 426512 w 557953"/>
                  <a:gd name="connsiteY3" fmla="*/ 7770 h 365751"/>
                  <a:gd name="connsiteX4" fmla="*/ 556687 w 557953"/>
                  <a:gd name="connsiteY4" fmla="*/ 340351 h 365751"/>
                  <a:gd name="connsiteX5" fmla="*/ 347137 w 557953"/>
                  <a:gd name="connsiteY5" fmla="*/ 349876 h 365751"/>
                  <a:gd name="connsiteX6" fmla="*/ 413812 w 557953"/>
                  <a:gd name="connsiteY6" fmla="*/ 191126 h 365751"/>
                  <a:gd name="connsiteX7" fmla="*/ 378887 w 557953"/>
                  <a:gd name="connsiteY7" fmla="*/ 181601 h 365751"/>
                  <a:gd name="connsiteX8" fmla="*/ 299512 w 557953"/>
                  <a:gd name="connsiteY8" fmla="*/ 359401 h 365751"/>
                  <a:gd name="connsiteX9" fmla="*/ 26462 w 557953"/>
                  <a:gd name="connsiteY9" fmla="*/ 365751 h 365751"/>
                  <a:gd name="connsiteX10" fmla="*/ 32812 w 557953"/>
                  <a:gd name="connsiteY10" fmla="*/ 260976 h 365751"/>
                  <a:gd name="connsiteX0" fmla="*/ 32812 w 558115"/>
                  <a:gd name="connsiteY0" fmla="*/ 269583 h 374358"/>
                  <a:gd name="connsiteX1" fmla="*/ 201087 w 558115"/>
                  <a:gd name="connsiteY1" fmla="*/ 253708 h 374358"/>
                  <a:gd name="connsiteX2" fmla="*/ 258237 w 558115"/>
                  <a:gd name="connsiteY2" fmla="*/ 75908 h 374358"/>
                  <a:gd name="connsiteX3" fmla="*/ 438418 w 558115"/>
                  <a:gd name="connsiteY3" fmla="*/ 6852 h 374358"/>
                  <a:gd name="connsiteX4" fmla="*/ 556687 w 558115"/>
                  <a:gd name="connsiteY4" fmla="*/ 348958 h 374358"/>
                  <a:gd name="connsiteX5" fmla="*/ 347137 w 558115"/>
                  <a:gd name="connsiteY5" fmla="*/ 358483 h 374358"/>
                  <a:gd name="connsiteX6" fmla="*/ 413812 w 558115"/>
                  <a:gd name="connsiteY6" fmla="*/ 199733 h 374358"/>
                  <a:gd name="connsiteX7" fmla="*/ 378887 w 558115"/>
                  <a:gd name="connsiteY7" fmla="*/ 190208 h 374358"/>
                  <a:gd name="connsiteX8" fmla="*/ 299512 w 558115"/>
                  <a:gd name="connsiteY8" fmla="*/ 368008 h 374358"/>
                  <a:gd name="connsiteX9" fmla="*/ 26462 w 558115"/>
                  <a:gd name="connsiteY9" fmla="*/ 374358 h 374358"/>
                  <a:gd name="connsiteX10" fmla="*/ 32812 w 558115"/>
                  <a:gd name="connsiteY10" fmla="*/ 269583 h 374358"/>
                  <a:gd name="connsiteX0" fmla="*/ 32812 w 558706"/>
                  <a:gd name="connsiteY0" fmla="*/ 269583 h 374358"/>
                  <a:gd name="connsiteX1" fmla="*/ 201087 w 558706"/>
                  <a:gd name="connsiteY1" fmla="*/ 253708 h 374358"/>
                  <a:gd name="connsiteX2" fmla="*/ 258237 w 558706"/>
                  <a:gd name="connsiteY2" fmla="*/ 75908 h 374358"/>
                  <a:gd name="connsiteX3" fmla="*/ 438418 w 558706"/>
                  <a:gd name="connsiteY3" fmla="*/ 6852 h 374358"/>
                  <a:gd name="connsiteX4" fmla="*/ 556687 w 558706"/>
                  <a:gd name="connsiteY4" fmla="*/ 348958 h 374358"/>
                  <a:gd name="connsiteX5" fmla="*/ 347137 w 558706"/>
                  <a:gd name="connsiteY5" fmla="*/ 358483 h 374358"/>
                  <a:gd name="connsiteX6" fmla="*/ 413812 w 558706"/>
                  <a:gd name="connsiteY6" fmla="*/ 199733 h 374358"/>
                  <a:gd name="connsiteX7" fmla="*/ 378887 w 558706"/>
                  <a:gd name="connsiteY7" fmla="*/ 190208 h 374358"/>
                  <a:gd name="connsiteX8" fmla="*/ 299512 w 558706"/>
                  <a:gd name="connsiteY8" fmla="*/ 368008 h 374358"/>
                  <a:gd name="connsiteX9" fmla="*/ 26462 w 558706"/>
                  <a:gd name="connsiteY9" fmla="*/ 374358 h 374358"/>
                  <a:gd name="connsiteX10" fmla="*/ 32812 w 558706"/>
                  <a:gd name="connsiteY10" fmla="*/ 269583 h 374358"/>
                  <a:gd name="connsiteX0" fmla="*/ 32812 w 558706"/>
                  <a:gd name="connsiteY0" fmla="*/ 265576 h 370351"/>
                  <a:gd name="connsiteX1" fmla="*/ 201087 w 558706"/>
                  <a:gd name="connsiteY1" fmla="*/ 249701 h 370351"/>
                  <a:gd name="connsiteX2" fmla="*/ 258237 w 558706"/>
                  <a:gd name="connsiteY2" fmla="*/ 71901 h 370351"/>
                  <a:gd name="connsiteX3" fmla="*/ 438418 w 558706"/>
                  <a:gd name="connsiteY3" fmla="*/ 2845 h 370351"/>
                  <a:gd name="connsiteX4" fmla="*/ 556687 w 558706"/>
                  <a:gd name="connsiteY4" fmla="*/ 344951 h 370351"/>
                  <a:gd name="connsiteX5" fmla="*/ 347137 w 558706"/>
                  <a:gd name="connsiteY5" fmla="*/ 354476 h 370351"/>
                  <a:gd name="connsiteX6" fmla="*/ 413812 w 558706"/>
                  <a:gd name="connsiteY6" fmla="*/ 195726 h 370351"/>
                  <a:gd name="connsiteX7" fmla="*/ 378887 w 558706"/>
                  <a:gd name="connsiteY7" fmla="*/ 186201 h 370351"/>
                  <a:gd name="connsiteX8" fmla="*/ 299512 w 558706"/>
                  <a:gd name="connsiteY8" fmla="*/ 364001 h 370351"/>
                  <a:gd name="connsiteX9" fmla="*/ 26462 w 558706"/>
                  <a:gd name="connsiteY9" fmla="*/ 370351 h 370351"/>
                  <a:gd name="connsiteX10" fmla="*/ 32812 w 558706"/>
                  <a:gd name="connsiteY10" fmla="*/ 265576 h 370351"/>
                  <a:gd name="connsiteX0" fmla="*/ 32812 w 558706"/>
                  <a:gd name="connsiteY0" fmla="*/ 268667 h 373442"/>
                  <a:gd name="connsiteX1" fmla="*/ 201087 w 558706"/>
                  <a:gd name="connsiteY1" fmla="*/ 252792 h 373442"/>
                  <a:gd name="connsiteX2" fmla="*/ 258237 w 558706"/>
                  <a:gd name="connsiteY2" fmla="*/ 74992 h 373442"/>
                  <a:gd name="connsiteX3" fmla="*/ 438418 w 558706"/>
                  <a:gd name="connsiteY3" fmla="*/ 5936 h 373442"/>
                  <a:gd name="connsiteX4" fmla="*/ 556687 w 558706"/>
                  <a:gd name="connsiteY4" fmla="*/ 348042 h 373442"/>
                  <a:gd name="connsiteX5" fmla="*/ 347137 w 558706"/>
                  <a:gd name="connsiteY5" fmla="*/ 357567 h 373442"/>
                  <a:gd name="connsiteX6" fmla="*/ 413812 w 558706"/>
                  <a:gd name="connsiteY6" fmla="*/ 198817 h 373442"/>
                  <a:gd name="connsiteX7" fmla="*/ 378887 w 558706"/>
                  <a:gd name="connsiteY7" fmla="*/ 189292 h 373442"/>
                  <a:gd name="connsiteX8" fmla="*/ 299512 w 558706"/>
                  <a:gd name="connsiteY8" fmla="*/ 367092 h 373442"/>
                  <a:gd name="connsiteX9" fmla="*/ 26462 w 558706"/>
                  <a:gd name="connsiteY9" fmla="*/ 373442 h 373442"/>
                  <a:gd name="connsiteX10" fmla="*/ 32812 w 558706"/>
                  <a:gd name="connsiteY10" fmla="*/ 268667 h 373442"/>
                  <a:gd name="connsiteX0" fmla="*/ 32812 w 556687"/>
                  <a:gd name="connsiteY0" fmla="*/ 268667 h 373442"/>
                  <a:gd name="connsiteX1" fmla="*/ 201087 w 556687"/>
                  <a:gd name="connsiteY1" fmla="*/ 252792 h 373442"/>
                  <a:gd name="connsiteX2" fmla="*/ 258237 w 556687"/>
                  <a:gd name="connsiteY2" fmla="*/ 74992 h 373442"/>
                  <a:gd name="connsiteX3" fmla="*/ 438418 w 556687"/>
                  <a:gd name="connsiteY3" fmla="*/ 5936 h 373442"/>
                  <a:gd name="connsiteX4" fmla="*/ 556687 w 556687"/>
                  <a:gd name="connsiteY4" fmla="*/ 348042 h 373442"/>
                  <a:gd name="connsiteX5" fmla="*/ 347137 w 556687"/>
                  <a:gd name="connsiteY5" fmla="*/ 357567 h 373442"/>
                  <a:gd name="connsiteX6" fmla="*/ 413812 w 556687"/>
                  <a:gd name="connsiteY6" fmla="*/ 198817 h 373442"/>
                  <a:gd name="connsiteX7" fmla="*/ 378887 w 556687"/>
                  <a:gd name="connsiteY7" fmla="*/ 189292 h 373442"/>
                  <a:gd name="connsiteX8" fmla="*/ 299512 w 556687"/>
                  <a:gd name="connsiteY8" fmla="*/ 367092 h 373442"/>
                  <a:gd name="connsiteX9" fmla="*/ 26462 w 556687"/>
                  <a:gd name="connsiteY9" fmla="*/ 373442 h 373442"/>
                  <a:gd name="connsiteX10" fmla="*/ 32812 w 556687"/>
                  <a:gd name="connsiteY10" fmla="*/ 268667 h 373442"/>
                  <a:gd name="connsiteX0" fmla="*/ 32812 w 556687"/>
                  <a:gd name="connsiteY0" fmla="*/ 268667 h 373442"/>
                  <a:gd name="connsiteX1" fmla="*/ 201087 w 556687"/>
                  <a:gd name="connsiteY1" fmla="*/ 252792 h 373442"/>
                  <a:gd name="connsiteX2" fmla="*/ 258237 w 556687"/>
                  <a:gd name="connsiteY2" fmla="*/ 74992 h 373442"/>
                  <a:gd name="connsiteX3" fmla="*/ 438418 w 556687"/>
                  <a:gd name="connsiteY3" fmla="*/ 5936 h 373442"/>
                  <a:gd name="connsiteX4" fmla="*/ 556687 w 556687"/>
                  <a:gd name="connsiteY4" fmla="*/ 348042 h 373442"/>
                  <a:gd name="connsiteX5" fmla="*/ 347137 w 556687"/>
                  <a:gd name="connsiteY5" fmla="*/ 357567 h 373442"/>
                  <a:gd name="connsiteX6" fmla="*/ 413812 w 556687"/>
                  <a:gd name="connsiteY6" fmla="*/ 198817 h 373442"/>
                  <a:gd name="connsiteX7" fmla="*/ 378887 w 556687"/>
                  <a:gd name="connsiteY7" fmla="*/ 189292 h 373442"/>
                  <a:gd name="connsiteX8" fmla="*/ 299512 w 556687"/>
                  <a:gd name="connsiteY8" fmla="*/ 367092 h 373442"/>
                  <a:gd name="connsiteX9" fmla="*/ 26462 w 556687"/>
                  <a:gd name="connsiteY9" fmla="*/ 373442 h 373442"/>
                  <a:gd name="connsiteX10" fmla="*/ 32812 w 556687"/>
                  <a:gd name="connsiteY10" fmla="*/ 268667 h 373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6687" h="373442">
                    <a:moveTo>
                      <a:pt x="32812" y="268667"/>
                    </a:moveTo>
                    <a:lnTo>
                      <a:pt x="201087" y="252792"/>
                    </a:lnTo>
                    <a:lnTo>
                      <a:pt x="258237" y="74992"/>
                    </a:lnTo>
                    <a:cubicBezTo>
                      <a:pt x="302951" y="-282"/>
                      <a:pt x="376770" y="-8615"/>
                      <a:pt x="438418" y="5936"/>
                    </a:cubicBezTo>
                    <a:cubicBezTo>
                      <a:pt x="516735" y="49062"/>
                      <a:pt x="546104" y="71949"/>
                      <a:pt x="556687" y="348042"/>
                    </a:cubicBezTo>
                    <a:cubicBezTo>
                      <a:pt x="479693" y="353599"/>
                      <a:pt x="416987" y="354392"/>
                      <a:pt x="347137" y="357567"/>
                    </a:cubicBezTo>
                    <a:cubicBezTo>
                      <a:pt x="357456" y="321318"/>
                      <a:pt x="389206" y="251734"/>
                      <a:pt x="413812" y="198817"/>
                    </a:cubicBezTo>
                    <a:lnTo>
                      <a:pt x="378887" y="189292"/>
                    </a:lnTo>
                    <a:lnTo>
                      <a:pt x="299512" y="367092"/>
                    </a:lnTo>
                    <a:lnTo>
                      <a:pt x="26462" y="373442"/>
                    </a:lnTo>
                    <a:cubicBezTo>
                      <a:pt x="3972" y="361535"/>
                      <a:pt x="-22485" y="302005"/>
                      <a:pt x="32812" y="268667"/>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239" fontAlgn="auto">
                  <a:spcBef>
                    <a:spcPts val="0"/>
                  </a:spcBef>
                  <a:spcAft>
                    <a:spcPts val="0"/>
                  </a:spcAft>
                </a:pPr>
                <a:endParaRPr lang="en-IN" sz="1836">
                  <a:solidFill>
                    <a:prstClr val="white"/>
                  </a:solidFill>
                </a:endParaRPr>
              </a:p>
            </p:txBody>
          </p:sp>
          <p:sp>
            <p:nvSpPr>
              <p:cNvPr id="53" name="Freeform 52"/>
              <p:cNvSpPr/>
              <p:nvPr/>
            </p:nvSpPr>
            <p:spPr>
              <a:xfrm rot="20245202">
                <a:off x="3807371" y="3312921"/>
                <a:ext cx="255167" cy="149644"/>
              </a:xfrm>
              <a:custGeom>
                <a:avLst/>
                <a:gdLst>
                  <a:gd name="connsiteX0" fmla="*/ 246244 w 255167"/>
                  <a:gd name="connsiteY0" fmla="*/ 8923 h 128920"/>
                  <a:gd name="connsiteX1" fmla="*/ 255167 w 255167"/>
                  <a:gd name="connsiteY1" fmla="*/ 30466 h 128920"/>
                  <a:gd name="connsiteX2" fmla="*/ 255167 w 255167"/>
                  <a:gd name="connsiteY2" fmla="*/ 101784 h 128920"/>
                  <a:gd name="connsiteX3" fmla="*/ 246244 w 255167"/>
                  <a:gd name="connsiteY3" fmla="*/ 123327 h 128920"/>
                  <a:gd name="connsiteX4" fmla="*/ 232739 w 255167"/>
                  <a:gd name="connsiteY4" fmla="*/ 128920 h 128920"/>
                  <a:gd name="connsiteX5" fmla="*/ 232739 w 255167"/>
                  <a:gd name="connsiteY5" fmla="*/ 29639 h 128920"/>
                  <a:gd name="connsiteX6" fmla="*/ 223504 w 255167"/>
                  <a:gd name="connsiteY6" fmla="*/ 20404 h 128920"/>
                  <a:gd name="connsiteX7" fmla="*/ 31662 w 255167"/>
                  <a:gd name="connsiteY7" fmla="*/ 20404 h 128920"/>
                  <a:gd name="connsiteX8" fmla="*/ 22427 w 255167"/>
                  <a:gd name="connsiteY8" fmla="*/ 29639 h 128920"/>
                  <a:gd name="connsiteX9" fmla="*/ 22427 w 255167"/>
                  <a:gd name="connsiteY9" fmla="*/ 128920 h 128920"/>
                  <a:gd name="connsiteX10" fmla="*/ 8923 w 255167"/>
                  <a:gd name="connsiteY10" fmla="*/ 123327 h 128920"/>
                  <a:gd name="connsiteX11" fmla="*/ 0 w 255167"/>
                  <a:gd name="connsiteY11" fmla="*/ 101784 h 128920"/>
                  <a:gd name="connsiteX12" fmla="*/ 0 w 255167"/>
                  <a:gd name="connsiteY12" fmla="*/ 30466 h 128920"/>
                  <a:gd name="connsiteX13" fmla="*/ 30466 w 255167"/>
                  <a:gd name="connsiteY13" fmla="*/ 0 h 128920"/>
                  <a:gd name="connsiteX14" fmla="*/ 224701 w 255167"/>
                  <a:gd name="connsiteY14" fmla="*/ 0 h 128920"/>
                  <a:gd name="connsiteX15" fmla="*/ 246244 w 255167"/>
                  <a:gd name="connsiteY15" fmla="*/ 8923 h 128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55167" h="128920">
                    <a:moveTo>
                      <a:pt x="246244" y="8923"/>
                    </a:moveTo>
                    <a:cubicBezTo>
                      <a:pt x="251757" y="14437"/>
                      <a:pt x="255167" y="22053"/>
                      <a:pt x="255167" y="30466"/>
                    </a:cubicBezTo>
                    <a:lnTo>
                      <a:pt x="255167" y="101784"/>
                    </a:lnTo>
                    <a:cubicBezTo>
                      <a:pt x="255167" y="110197"/>
                      <a:pt x="251757" y="117814"/>
                      <a:pt x="246244" y="123327"/>
                    </a:cubicBezTo>
                    <a:lnTo>
                      <a:pt x="232739" y="128920"/>
                    </a:lnTo>
                    <a:lnTo>
                      <a:pt x="232739" y="29639"/>
                    </a:lnTo>
                    <a:cubicBezTo>
                      <a:pt x="232739" y="24539"/>
                      <a:pt x="228604" y="20404"/>
                      <a:pt x="223504" y="20404"/>
                    </a:cubicBezTo>
                    <a:lnTo>
                      <a:pt x="31662" y="20404"/>
                    </a:lnTo>
                    <a:cubicBezTo>
                      <a:pt x="26562" y="20404"/>
                      <a:pt x="22427" y="24539"/>
                      <a:pt x="22427" y="29639"/>
                    </a:cubicBezTo>
                    <a:lnTo>
                      <a:pt x="22427" y="128920"/>
                    </a:lnTo>
                    <a:lnTo>
                      <a:pt x="8923" y="123327"/>
                    </a:lnTo>
                    <a:cubicBezTo>
                      <a:pt x="3410" y="117813"/>
                      <a:pt x="0" y="110197"/>
                      <a:pt x="0" y="101784"/>
                    </a:cubicBezTo>
                    <a:lnTo>
                      <a:pt x="0" y="30466"/>
                    </a:lnTo>
                    <a:cubicBezTo>
                      <a:pt x="0" y="13640"/>
                      <a:pt x="13640" y="0"/>
                      <a:pt x="30466" y="0"/>
                    </a:cubicBezTo>
                    <a:lnTo>
                      <a:pt x="224701" y="0"/>
                    </a:lnTo>
                    <a:cubicBezTo>
                      <a:pt x="233114" y="0"/>
                      <a:pt x="240731" y="3410"/>
                      <a:pt x="246244" y="8923"/>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239" fontAlgn="auto">
                  <a:spcBef>
                    <a:spcPts val="0"/>
                  </a:spcBef>
                  <a:spcAft>
                    <a:spcPts val="0"/>
                  </a:spcAft>
                </a:pPr>
                <a:endParaRPr lang="en-IN" sz="1836">
                  <a:solidFill>
                    <a:prstClr val="white"/>
                  </a:solidFill>
                </a:endParaRPr>
              </a:p>
            </p:txBody>
          </p:sp>
        </p:grpSp>
      </p:grpSp>
      <p:sp>
        <p:nvSpPr>
          <p:cNvPr id="68" name="Title 3"/>
          <p:cNvSpPr txBox="1">
            <a:spLocks/>
          </p:cNvSpPr>
          <p:nvPr/>
        </p:nvSpPr>
        <p:spPr>
          <a:xfrm>
            <a:off x="266249" y="265406"/>
            <a:ext cx="11883829" cy="946145"/>
          </a:xfrm>
          <a:prstGeom prst="rect">
            <a:avLst/>
          </a:prstGeom>
        </p:spPr>
        <p:txBody>
          <a:bodyPr vert="horz" wrap="square" lIns="146262" tIns="91414" rIns="146262" bIns="91414" rtlCol="0" anchor="t">
            <a:noAutofit/>
          </a:bodyPr>
          <a:lstStyle>
            <a:lvl1pPr algn="l" defTabSz="931863" rtl="0" fontAlgn="base">
              <a:lnSpc>
                <a:spcPct val="90000"/>
              </a:lnSpc>
              <a:spcBef>
                <a:spcPct val="0"/>
              </a:spcBef>
              <a:spcAft>
                <a:spcPct val="0"/>
              </a:spcAft>
              <a:defRPr lang="en-US" sz="5200" kern="1200" spc="-102">
                <a:ln w="3175">
                  <a:noFill/>
                </a:ln>
                <a:solidFill>
                  <a:schemeClr val="tx2"/>
                </a:solidFill>
                <a:latin typeface="+mj-lt"/>
                <a:ea typeface="ＭＳ Ｐゴシック" charset="0"/>
                <a:cs typeface="Segoe UI" pitchFamily="34" charset="0"/>
              </a:defRPr>
            </a:lvl1pPr>
            <a:lvl2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2pPr>
            <a:lvl3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3pPr>
            <a:lvl4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4pPr>
            <a:lvl5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5pPr>
            <a:lvl6pPr marL="4572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6pPr>
            <a:lvl7pPr marL="9144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7pPr>
            <a:lvl8pPr marL="13716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8pPr>
            <a:lvl9pPr marL="18288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9pPr>
          </a:lstStyle>
          <a:p>
            <a:endParaRPr sz="3598" dirty="0">
              <a:solidFill>
                <a:srgbClr val="C00000"/>
              </a:solidFill>
              <a:latin typeface="Segoe UI Light"/>
            </a:endParaRPr>
          </a:p>
        </p:txBody>
      </p:sp>
      <p:sp>
        <p:nvSpPr>
          <p:cNvPr id="109" name="Right Brace 108"/>
          <p:cNvSpPr/>
          <p:nvPr/>
        </p:nvSpPr>
        <p:spPr>
          <a:xfrm flipH="1">
            <a:off x="5125924" y="3902765"/>
            <a:ext cx="197599" cy="1585107"/>
          </a:xfrm>
          <a:prstGeom prst="rightBrace">
            <a:avLst>
              <a:gd name="adj1" fmla="val 43816"/>
              <a:gd name="adj2" fmla="val 50000"/>
            </a:avLst>
          </a:prstGeom>
          <a:ln>
            <a:solidFill>
              <a:schemeClr val="accent1">
                <a:lumMod val="50000"/>
              </a:schemeClr>
            </a:solidFill>
            <a:headEnd type="none" w="med" len="sm"/>
            <a:tailEnd type="none" w="med"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31505" fontAlgn="auto">
              <a:spcBef>
                <a:spcPts val="0"/>
              </a:spcBef>
              <a:spcAft>
                <a:spcPts val="0"/>
              </a:spcAft>
            </a:pPr>
            <a:endParaRPr lang="en-US" sz="1800">
              <a:solidFill>
                <a:srgbClr val="000000"/>
              </a:solidFill>
            </a:endParaRPr>
          </a:p>
        </p:txBody>
      </p:sp>
      <p:sp>
        <p:nvSpPr>
          <p:cNvPr id="49" name="Rectangle 48"/>
          <p:cNvSpPr/>
          <p:nvPr/>
        </p:nvSpPr>
        <p:spPr bwMode="auto">
          <a:xfrm>
            <a:off x="559635" y="1876811"/>
            <a:ext cx="2315287" cy="1828282"/>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91414" rIns="91414" bIns="146262" numCol="1" spcCol="0" rtlCol="0" fromWordArt="0" anchor="t" anchorCtr="0" forceAA="0" compatLnSpc="1">
            <a:prstTxWarp prst="textNoShape">
              <a:avLst/>
            </a:prstTxWarp>
            <a:noAutofit/>
          </a:bodyPr>
          <a:lstStyle/>
          <a:p>
            <a:pPr defTabSz="932114" fontAlgn="auto">
              <a:lnSpc>
                <a:spcPct val="90000"/>
              </a:lnSpc>
              <a:spcBef>
                <a:spcPts val="0"/>
              </a:spcBef>
              <a:spcAft>
                <a:spcPts val="0"/>
              </a:spcAft>
            </a:pPr>
            <a:endParaRPr lang="en-US" sz="2000" dirty="0">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103" name="Rectangle 102"/>
          <p:cNvSpPr/>
          <p:nvPr/>
        </p:nvSpPr>
        <p:spPr bwMode="auto">
          <a:xfrm>
            <a:off x="545530" y="1939065"/>
            <a:ext cx="2376766" cy="1736867"/>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0" rIns="93234" bIns="45700" numCol="1" spcCol="0" rtlCol="0" fromWordArt="0" anchor="t" anchorCtr="0" forceAA="0" compatLnSpc="1">
            <a:prstTxWarp prst="textNoShape">
              <a:avLst/>
            </a:prstTxWarp>
            <a:noAutofit/>
          </a:bodyPr>
          <a:lstStyle/>
          <a:p>
            <a:pPr defTabSz="932114" fontAlgn="auto">
              <a:lnSpc>
                <a:spcPct val="90000"/>
              </a:lnSpc>
              <a:spcBef>
                <a:spcPts val="0"/>
              </a:spcBef>
              <a:spcAft>
                <a:spcPts val="0"/>
              </a:spcAft>
              <a:defRPr/>
            </a:pPr>
            <a:r>
              <a:rPr lang="en-US" sz="1836" kern="0" spc="-30" dirty="0">
                <a:solidFill>
                  <a:srgbClr val="44546A"/>
                </a:solidFill>
                <a:latin typeface="Segoe UI Semibold" panose="020B0702040204020203" pitchFamily="34" charset="0"/>
                <a:ea typeface="MS PGothic" charset="0"/>
                <a:cs typeface="Segoe UI Semibold" panose="020B0702040204020203" pitchFamily="34" charset="0"/>
              </a:rPr>
              <a:t>Example Solutions</a:t>
            </a:r>
          </a:p>
          <a:p>
            <a:pPr marL="182810" indent="-182810" defTabSz="913244" fontAlgn="auto">
              <a:spcBef>
                <a:spcPts val="600"/>
              </a:spcBef>
              <a:spcAft>
                <a:spcPts val="0"/>
              </a:spcAft>
              <a:buClr>
                <a:srgbClr val="5B9BD5">
                  <a:lumMod val="50000"/>
                </a:srgbClr>
              </a:buClr>
              <a:buSzPct val="100000"/>
              <a:buFont typeface="Arial" panose="020B0604020202020204" pitchFamily="34" charset="0"/>
              <a:buChar char="•"/>
            </a:pPr>
            <a:r>
              <a:rPr lang="en-US" sz="1598" spc="-100" dirty="0" smtClean="0">
                <a:solidFill>
                  <a:prstClr val="black">
                    <a:lumMod val="75000"/>
                    <a:lumOff val="25000"/>
                  </a:prstClr>
                </a:solidFill>
                <a:latin typeface="Segoe UI" panose="020B0502040204020203" pitchFamily="34" charset="0"/>
                <a:ea typeface="Segoe UI" panose="020B0502040204020203" pitchFamily="34" charset="0"/>
                <a:cs typeface="Segoe UI" panose="020B0502040204020203" pitchFamily="34" charset="0"/>
              </a:rPr>
              <a:t>Sales </a:t>
            </a:r>
            <a:r>
              <a:rPr lang="en-US" sz="1598" spc="-100" dirty="0">
                <a:solidFill>
                  <a:prstClr val="black">
                    <a:lumMod val="75000"/>
                    <a:lumOff val="25000"/>
                  </a:prstClr>
                </a:solidFill>
                <a:latin typeface="Segoe UI" panose="020B0502040204020203" pitchFamily="34" charset="0"/>
                <a:ea typeface="Segoe UI" panose="020B0502040204020203" pitchFamily="34" charset="0"/>
                <a:cs typeface="Segoe UI" panose="020B0502040204020203" pitchFamily="34" charset="0"/>
              </a:rPr>
              <a:t>forecasting</a:t>
            </a:r>
          </a:p>
          <a:p>
            <a:pPr marL="182810" indent="-182810" defTabSz="913244" fontAlgn="auto">
              <a:spcBef>
                <a:spcPts val="600"/>
              </a:spcBef>
              <a:spcAft>
                <a:spcPts val="0"/>
              </a:spcAft>
              <a:buClr>
                <a:srgbClr val="5B9BD5">
                  <a:lumMod val="50000"/>
                </a:srgbClr>
              </a:buClr>
              <a:buSzPct val="100000"/>
              <a:buFont typeface="Arial" panose="020B0604020202020204" pitchFamily="34" charset="0"/>
              <a:buChar char="•"/>
            </a:pPr>
            <a:r>
              <a:rPr lang="en-US" sz="1598" spc="-30" dirty="0">
                <a:solidFill>
                  <a:prstClr val="black">
                    <a:lumMod val="75000"/>
                    <a:lumOff val="25000"/>
                  </a:prstClr>
                </a:solidFill>
                <a:latin typeface="Segoe UI" panose="020B0502040204020203" pitchFamily="34" charset="0"/>
                <a:ea typeface="Segoe UI" panose="020B0502040204020203" pitchFamily="34" charset="0"/>
                <a:cs typeface="Segoe UI" panose="020B0502040204020203" pitchFamily="34" charset="0"/>
              </a:rPr>
              <a:t>Warehouse efficiency</a:t>
            </a:r>
          </a:p>
          <a:p>
            <a:pPr marL="182810" indent="-182810" defTabSz="913244" fontAlgn="auto">
              <a:spcBef>
                <a:spcPts val="600"/>
              </a:spcBef>
              <a:spcAft>
                <a:spcPts val="0"/>
              </a:spcAft>
              <a:buClr>
                <a:srgbClr val="5B9BD5">
                  <a:lumMod val="50000"/>
                </a:srgbClr>
              </a:buClr>
              <a:buSzPct val="100000"/>
              <a:buFont typeface="Arial" panose="020B0604020202020204" pitchFamily="34" charset="0"/>
              <a:buChar char="•"/>
            </a:pPr>
            <a:r>
              <a:rPr lang="en-US" sz="1598" spc="-70" dirty="0" smtClean="0">
                <a:solidFill>
                  <a:prstClr val="black">
                    <a:lumMod val="75000"/>
                    <a:lumOff val="25000"/>
                  </a:prstClr>
                </a:solidFill>
                <a:latin typeface="Segoe UI" panose="020B0502040204020203" pitchFamily="34" charset="0"/>
                <a:ea typeface="Segoe UI" panose="020B0502040204020203" pitchFamily="34" charset="0"/>
                <a:cs typeface="Segoe UI" panose="020B0502040204020203" pitchFamily="34" charset="0"/>
              </a:rPr>
              <a:t>Predictive maintenance</a:t>
            </a:r>
          </a:p>
          <a:p>
            <a:pPr marL="274214" indent="-182810" defTabSz="913244" fontAlgn="auto">
              <a:spcBef>
                <a:spcPts val="600"/>
              </a:spcBef>
              <a:spcAft>
                <a:spcPts val="0"/>
              </a:spcAft>
              <a:buClr>
                <a:srgbClr val="FF8C00"/>
              </a:buClr>
            </a:pPr>
            <a:endParaRPr lang="en-US" sz="1598" dirty="0">
              <a:solidFill>
                <a:prstClr val="black">
                  <a:lumMod val="75000"/>
                  <a:lumOff val="25000"/>
                </a:prstClr>
              </a:solidFill>
              <a:latin typeface="Segoe UI" panose="020B0502040204020203" pitchFamily="34" charset="0"/>
              <a:ea typeface="Segoe UI" panose="020B0502040204020203" pitchFamily="34" charset="0"/>
              <a:cs typeface="Segoe UI" panose="020B0502040204020203" pitchFamily="34" charset="0"/>
            </a:endParaRPr>
          </a:p>
        </p:txBody>
      </p:sp>
      <p:grpSp>
        <p:nvGrpSpPr>
          <p:cNvPr id="4" name="Group 3"/>
          <p:cNvGrpSpPr>
            <a:grpSpLocks noChangeAspect="1"/>
          </p:cNvGrpSpPr>
          <p:nvPr/>
        </p:nvGrpSpPr>
        <p:grpSpPr>
          <a:xfrm>
            <a:off x="2974274" y="3638861"/>
            <a:ext cx="1892882" cy="2003077"/>
            <a:chOff x="416566" y="4162604"/>
            <a:chExt cx="1956396" cy="2107258"/>
          </a:xfrm>
        </p:grpSpPr>
        <p:grpSp>
          <p:nvGrpSpPr>
            <p:cNvPr id="65" name="Group 64"/>
            <p:cNvGrpSpPr/>
            <p:nvPr/>
          </p:nvGrpSpPr>
          <p:grpSpPr>
            <a:xfrm>
              <a:off x="416566" y="4162604"/>
              <a:ext cx="1956396" cy="2107258"/>
              <a:chOff x="9932528" y="2568750"/>
              <a:chExt cx="493807" cy="641257"/>
            </a:xfrm>
          </p:grpSpPr>
          <p:sp>
            <p:nvSpPr>
              <p:cNvPr id="66" name="Oval 122"/>
              <p:cNvSpPr>
                <a:spLocks noChangeArrowheads="1"/>
              </p:cNvSpPr>
              <p:nvPr/>
            </p:nvSpPr>
            <p:spPr bwMode="auto">
              <a:xfrm>
                <a:off x="9940976" y="2568750"/>
                <a:ext cx="476912" cy="90621"/>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418" fontAlgn="auto">
                  <a:spcBef>
                    <a:spcPts val="0"/>
                  </a:spcBef>
                  <a:spcAft>
                    <a:spcPts val="0"/>
                  </a:spcAft>
                  <a:defRPr/>
                </a:pPr>
                <a:endParaRPr lang="en-US" sz="1800" kern="0">
                  <a:solidFill>
                    <a:srgbClr val="FFFFFF"/>
                  </a:solidFill>
                  <a:latin typeface="Calibri" panose="020F0502020204030204"/>
                  <a:cs typeface="+mn-cs"/>
                </a:endParaRPr>
              </a:p>
            </p:txBody>
          </p:sp>
          <p:sp>
            <p:nvSpPr>
              <p:cNvPr id="67" name="Freeform 123"/>
              <p:cNvSpPr>
                <a:spLocks noEditPoints="1"/>
              </p:cNvSpPr>
              <p:nvPr/>
            </p:nvSpPr>
            <p:spPr bwMode="auto">
              <a:xfrm>
                <a:off x="9932528" y="2631724"/>
                <a:ext cx="493807" cy="578283"/>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418" fontAlgn="auto">
                  <a:spcBef>
                    <a:spcPts val="0"/>
                  </a:spcBef>
                  <a:spcAft>
                    <a:spcPts val="0"/>
                  </a:spcAft>
                  <a:defRPr/>
                </a:pPr>
                <a:endParaRPr lang="en-US" sz="1800" kern="0">
                  <a:solidFill>
                    <a:srgbClr val="FFFFFF"/>
                  </a:solidFill>
                  <a:latin typeface="Calibri" panose="020F0502020204030204"/>
                  <a:cs typeface="+mn-cs"/>
                </a:endParaRPr>
              </a:p>
            </p:txBody>
          </p:sp>
        </p:grpSp>
        <p:sp>
          <p:nvSpPr>
            <p:cNvPr id="2" name="Rectangle 1"/>
            <p:cNvSpPr/>
            <p:nvPr/>
          </p:nvSpPr>
          <p:spPr>
            <a:xfrm>
              <a:off x="492481" y="4820549"/>
              <a:ext cx="1818171" cy="273876"/>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31505" fontAlgn="auto">
                <a:spcBef>
                  <a:spcPts val="0"/>
                </a:spcBef>
                <a:spcAft>
                  <a:spcPts val="0"/>
                </a:spcAft>
              </a:pPr>
              <a:endParaRPr lang="en-US" sz="1800">
                <a:solidFill>
                  <a:prstClr val="white"/>
                </a:solidFill>
              </a:endParaRPr>
            </a:p>
          </p:txBody>
        </p:sp>
        <p:sp>
          <p:nvSpPr>
            <p:cNvPr id="71" name="Rectangle 70"/>
            <p:cNvSpPr/>
            <p:nvPr/>
          </p:nvSpPr>
          <p:spPr>
            <a:xfrm>
              <a:off x="505290" y="5436473"/>
              <a:ext cx="1818171" cy="273876"/>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31505" fontAlgn="auto">
                <a:spcBef>
                  <a:spcPts val="0"/>
                </a:spcBef>
                <a:spcAft>
                  <a:spcPts val="0"/>
                </a:spcAft>
              </a:pPr>
              <a:endParaRPr lang="en-US" sz="1800">
                <a:solidFill>
                  <a:prstClr val="white"/>
                </a:solidFill>
              </a:endParaRPr>
            </a:p>
          </p:txBody>
        </p:sp>
      </p:grpSp>
      <p:sp>
        <p:nvSpPr>
          <p:cNvPr id="117" name="TextBox 116"/>
          <p:cNvSpPr txBox="1"/>
          <p:nvPr/>
        </p:nvSpPr>
        <p:spPr>
          <a:xfrm>
            <a:off x="2998326" y="5215904"/>
            <a:ext cx="1838415" cy="251051"/>
          </a:xfrm>
          <a:prstGeom prst="rect">
            <a:avLst/>
          </a:prstGeom>
          <a:noFill/>
        </p:spPr>
        <p:txBody>
          <a:bodyPr wrap="square" lIns="274242" tIns="0" rIns="0" bIns="0" rtlCol="0" anchor="ctr">
            <a:noAutofit/>
          </a:bodyPr>
          <a:lstStyle/>
          <a:p>
            <a:pPr defTabSz="932239" fontAlgn="auto">
              <a:spcBef>
                <a:spcPts val="0"/>
              </a:spcBef>
              <a:spcAft>
                <a:spcPts val="0"/>
              </a:spcAft>
            </a:pPr>
            <a:r>
              <a:rPr lang="en-US" sz="1398" spc="-31" dirty="0">
                <a:solidFill>
                  <a:srgbClr val="404040"/>
                </a:solidFill>
                <a:latin typeface="Segoe UI Semibold" panose="020B0702040204020203" pitchFamily="34" charset="0"/>
                <a:cs typeface="Segoe UI Semibold" panose="020B0702040204020203" pitchFamily="34" charset="0"/>
              </a:rPr>
              <a:t>Relational Data</a:t>
            </a:r>
          </a:p>
        </p:txBody>
      </p:sp>
      <p:sp>
        <p:nvSpPr>
          <p:cNvPr id="118" name="TextBox 117"/>
          <p:cNvSpPr txBox="1"/>
          <p:nvPr/>
        </p:nvSpPr>
        <p:spPr>
          <a:xfrm>
            <a:off x="2828466" y="4044937"/>
            <a:ext cx="2118964" cy="411860"/>
          </a:xfrm>
          <a:prstGeom prst="rect">
            <a:avLst/>
          </a:prstGeom>
          <a:noFill/>
        </p:spPr>
        <p:txBody>
          <a:bodyPr wrap="square" lIns="274242" tIns="0" rIns="0" bIns="0" rtlCol="0" anchor="t">
            <a:noAutofit/>
          </a:bodyPr>
          <a:lstStyle/>
          <a:p>
            <a:pPr indent="-365620" defTabSz="932239" fontAlgn="auto">
              <a:spcBef>
                <a:spcPts val="0"/>
              </a:spcBef>
              <a:spcAft>
                <a:spcPts val="0"/>
              </a:spcAft>
            </a:pPr>
            <a:r>
              <a:rPr lang="en-US" sz="1800" dirty="0">
                <a:solidFill>
                  <a:srgbClr val="404040"/>
                </a:solidFill>
                <a:latin typeface="Segoe UI Semibold" panose="020B0702040204020203" pitchFamily="34" charset="0"/>
                <a:cs typeface="Segoe UI Semibold" panose="020B0702040204020203" pitchFamily="34" charset="0"/>
              </a:rPr>
              <a:t>Analytic </a:t>
            </a:r>
            <a:r>
              <a:rPr lang="en-US" sz="1800" dirty="0" smtClean="0">
                <a:solidFill>
                  <a:srgbClr val="404040"/>
                </a:solidFill>
                <a:latin typeface="Segoe UI Semibold" panose="020B0702040204020203" pitchFamily="34" charset="0"/>
                <a:cs typeface="Segoe UI Semibold" panose="020B0702040204020203" pitchFamily="34" charset="0"/>
              </a:rPr>
              <a:t>Library</a:t>
            </a:r>
            <a:endParaRPr lang="en-US" sz="1198" dirty="0">
              <a:solidFill>
                <a:srgbClr val="404040"/>
              </a:solidFill>
              <a:latin typeface="Segoe UI" panose="020B0502040204020203" pitchFamily="34" charset="0"/>
              <a:cs typeface="Segoe UI" panose="020B0502040204020203" pitchFamily="34" charset="0"/>
            </a:endParaRPr>
          </a:p>
          <a:p>
            <a:pPr indent="91405" defTabSz="932239" fontAlgn="auto">
              <a:spcBef>
                <a:spcPts val="0"/>
              </a:spcBef>
              <a:spcAft>
                <a:spcPts val="0"/>
              </a:spcAft>
            </a:pPr>
            <a:endParaRPr lang="en-US" sz="1632" dirty="0">
              <a:solidFill>
                <a:prstClr val="black">
                  <a:lumMod val="75000"/>
                  <a:lumOff val="25000"/>
                </a:prstClr>
              </a:solidFill>
              <a:latin typeface="Calibri" panose="020F0502020204030204"/>
              <a:cs typeface="+mn-cs"/>
            </a:endParaRPr>
          </a:p>
        </p:txBody>
      </p:sp>
      <p:sp>
        <p:nvSpPr>
          <p:cNvPr id="119" name="TextBox 118"/>
          <p:cNvSpPr txBox="1"/>
          <p:nvPr/>
        </p:nvSpPr>
        <p:spPr>
          <a:xfrm>
            <a:off x="2998326" y="4822382"/>
            <a:ext cx="1838415" cy="251051"/>
          </a:xfrm>
          <a:prstGeom prst="rect">
            <a:avLst/>
          </a:prstGeom>
          <a:noFill/>
        </p:spPr>
        <p:txBody>
          <a:bodyPr wrap="square" lIns="274242" tIns="0" rIns="0" bIns="0" rtlCol="0" anchor="ctr">
            <a:noAutofit/>
          </a:bodyPr>
          <a:lstStyle/>
          <a:p>
            <a:pPr defTabSz="932239" fontAlgn="auto">
              <a:spcBef>
                <a:spcPts val="0"/>
              </a:spcBef>
              <a:spcAft>
                <a:spcPts val="0"/>
              </a:spcAft>
            </a:pPr>
            <a:r>
              <a:rPr lang="en-US" sz="1398" dirty="0">
                <a:solidFill>
                  <a:srgbClr val="404040"/>
                </a:solidFill>
                <a:latin typeface="Segoe UI Semibold" panose="020B0702040204020203" pitchFamily="34" charset="0"/>
                <a:cs typeface="Segoe UI Semibold" panose="020B0702040204020203" pitchFamily="34" charset="0"/>
              </a:rPr>
              <a:t>T-SQL Interface</a:t>
            </a:r>
          </a:p>
        </p:txBody>
      </p:sp>
      <p:sp>
        <p:nvSpPr>
          <p:cNvPr id="120" name="Down Arrow 119"/>
          <p:cNvSpPr/>
          <p:nvPr/>
        </p:nvSpPr>
        <p:spPr>
          <a:xfrm flipV="1">
            <a:off x="3201545" y="3249372"/>
            <a:ext cx="333835" cy="766377"/>
          </a:xfrm>
          <a:prstGeom prst="downArrow">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239" fontAlgn="auto">
              <a:spcBef>
                <a:spcPts val="0"/>
              </a:spcBef>
              <a:spcAft>
                <a:spcPts val="0"/>
              </a:spcAft>
            </a:pPr>
            <a:endParaRPr lang="en-IN" sz="1836">
              <a:solidFill>
                <a:srgbClr val="44546A"/>
              </a:solidFill>
            </a:endParaRPr>
          </a:p>
        </p:txBody>
      </p:sp>
      <p:grpSp>
        <p:nvGrpSpPr>
          <p:cNvPr id="24" name="Group 23"/>
          <p:cNvGrpSpPr/>
          <p:nvPr/>
        </p:nvGrpSpPr>
        <p:grpSpPr>
          <a:xfrm>
            <a:off x="4502814" y="5149371"/>
            <a:ext cx="226547" cy="267835"/>
            <a:chOff x="4221470" y="5212261"/>
            <a:chExt cx="284247" cy="336051"/>
          </a:xfrm>
        </p:grpSpPr>
        <p:grpSp>
          <p:nvGrpSpPr>
            <p:cNvPr id="22" name="Group 21"/>
            <p:cNvGrpSpPr/>
            <p:nvPr/>
          </p:nvGrpSpPr>
          <p:grpSpPr>
            <a:xfrm rot="10800000">
              <a:off x="4221470" y="5212261"/>
              <a:ext cx="284247" cy="336051"/>
              <a:chOff x="4710120" y="5169893"/>
              <a:chExt cx="284247" cy="315193"/>
            </a:xfrm>
          </p:grpSpPr>
          <p:sp>
            <p:nvSpPr>
              <p:cNvPr id="101" name="Freeform 100"/>
              <p:cNvSpPr>
                <a:spLocks noChangeAspect="1"/>
              </p:cNvSpPr>
              <p:nvPr/>
            </p:nvSpPr>
            <p:spPr bwMode="auto">
              <a:xfrm rot="16200000">
                <a:off x="4694647" y="5185366"/>
                <a:ext cx="315193" cy="284247"/>
              </a:xfrm>
              <a:custGeom>
                <a:avLst/>
                <a:gdLst>
                  <a:gd name="connsiteX0" fmla="*/ 678350 w 1481959"/>
                  <a:gd name="connsiteY0" fmla="*/ 258990 h 962317"/>
                  <a:gd name="connsiteX1" fmla="*/ 688805 w 1481959"/>
                  <a:gd name="connsiteY1" fmla="*/ 259224 h 962317"/>
                  <a:gd name="connsiteX2" fmla="*/ 971484 w 1481959"/>
                  <a:gd name="connsiteY2" fmla="*/ 259224 h 962317"/>
                  <a:gd name="connsiteX3" fmla="*/ 1006067 w 1481959"/>
                  <a:gd name="connsiteY3" fmla="*/ 292305 h 962317"/>
                  <a:gd name="connsiteX4" fmla="*/ 1006067 w 1481959"/>
                  <a:gd name="connsiteY4" fmla="*/ 576488 h 962317"/>
                  <a:gd name="connsiteX5" fmla="*/ 1004269 w 1481959"/>
                  <a:gd name="connsiteY5" fmla="*/ 595185 h 962317"/>
                  <a:gd name="connsiteX6" fmla="*/ 996845 w 1481959"/>
                  <a:gd name="connsiteY6" fmla="*/ 596703 h 962317"/>
                  <a:gd name="connsiteX7" fmla="*/ 946477 w 1481959"/>
                  <a:gd name="connsiteY7" fmla="*/ 546841 h 962317"/>
                  <a:gd name="connsiteX8" fmla="*/ 903068 w 1481959"/>
                  <a:gd name="connsiteY8" fmla="*/ 547059 h 962317"/>
                  <a:gd name="connsiteX9" fmla="*/ 711725 w 1481959"/>
                  <a:gd name="connsiteY9" fmla="*/ 740344 h 962317"/>
                  <a:gd name="connsiteX10" fmla="*/ 661739 w 1481959"/>
                  <a:gd name="connsiteY10" fmla="*/ 719332 h 962317"/>
                  <a:gd name="connsiteX11" fmla="*/ 535436 w 1481959"/>
                  <a:gd name="connsiteY11" fmla="*/ 593028 h 962317"/>
                  <a:gd name="connsiteX12" fmla="*/ 520710 w 1481959"/>
                  <a:gd name="connsiteY12" fmla="*/ 557602 h 962317"/>
                  <a:gd name="connsiteX13" fmla="*/ 597984 w 1481959"/>
                  <a:gd name="connsiteY13" fmla="*/ 478826 h 962317"/>
                  <a:gd name="connsiteX14" fmla="*/ 709855 w 1481959"/>
                  <a:gd name="connsiteY14" fmla="*/ 368988 h 962317"/>
                  <a:gd name="connsiteX15" fmla="*/ 720565 w 1481959"/>
                  <a:gd name="connsiteY15" fmla="*/ 351055 h 962317"/>
                  <a:gd name="connsiteX16" fmla="*/ 722022 w 1481959"/>
                  <a:gd name="connsiteY16" fmla="*/ 347917 h 962317"/>
                  <a:gd name="connsiteX17" fmla="*/ 723721 w 1481959"/>
                  <a:gd name="connsiteY17" fmla="*/ 338718 h 962317"/>
                  <a:gd name="connsiteX18" fmla="*/ 723262 w 1481959"/>
                  <a:gd name="connsiteY18" fmla="*/ 334338 h 962317"/>
                  <a:gd name="connsiteX19" fmla="*/ 723111 w 1481959"/>
                  <a:gd name="connsiteY19" fmla="*/ 333602 h 962317"/>
                  <a:gd name="connsiteX20" fmla="*/ 714729 w 1481959"/>
                  <a:gd name="connsiteY20" fmla="*/ 315979 h 962317"/>
                  <a:gd name="connsiteX21" fmla="*/ 678087 w 1481959"/>
                  <a:gd name="connsiteY21" fmla="*/ 280035 h 962317"/>
                  <a:gd name="connsiteX22" fmla="*/ 668098 w 1481959"/>
                  <a:gd name="connsiteY22" fmla="*/ 262301 h 962317"/>
                  <a:gd name="connsiteX23" fmla="*/ 678350 w 1481959"/>
                  <a:gd name="connsiteY23" fmla="*/ 258990 h 962317"/>
                  <a:gd name="connsiteX24" fmla="*/ 72174 w 1481959"/>
                  <a:gd name="connsiteY24" fmla="*/ 72174 h 962317"/>
                  <a:gd name="connsiteX25" fmla="*/ 72174 w 1481959"/>
                  <a:gd name="connsiteY25" fmla="*/ 887737 h 962317"/>
                  <a:gd name="connsiteX26" fmla="*/ 1402569 w 1481959"/>
                  <a:gd name="connsiteY26" fmla="*/ 887737 h 962317"/>
                  <a:gd name="connsiteX27" fmla="*/ 1402569 w 1481959"/>
                  <a:gd name="connsiteY27" fmla="*/ 72174 h 962317"/>
                  <a:gd name="connsiteX28" fmla="*/ 65620 w 1481959"/>
                  <a:gd name="connsiteY28" fmla="*/ 0 h 962317"/>
                  <a:gd name="connsiteX29" fmla="*/ 1416339 w 1481959"/>
                  <a:gd name="connsiteY29" fmla="*/ 0 h 962317"/>
                  <a:gd name="connsiteX30" fmla="*/ 1481959 w 1481959"/>
                  <a:gd name="connsiteY30" fmla="*/ 65621 h 962317"/>
                  <a:gd name="connsiteX31" fmla="*/ 1481959 w 1481959"/>
                  <a:gd name="connsiteY31" fmla="*/ 896697 h 962317"/>
                  <a:gd name="connsiteX32" fmla="*/ 1416339 w 1481959"/>
                  <a:gd name="connsiteY32" fmla="*/ 962317 h 962317"/>
                  <a:gd name="connsiteX33" fmla="*/ 65620 w 1481959"/>
                  <a:gd name="connsiteY33" fmla="*/ 962317 h 962317"/>
                  <a:gd name="connsiteX34" fmla="*/ 0 w 1481959"/>
                  <a:gd name="connsiteY34" fmla="*/ 896697 h 962317"/>
                  <a:gd name="connsiteX35" fmla="*/ 0 w 1481959"/>
                  <a:gd name="connsiteY35" fmla="*/ 65621 h 962317"/>
                  <a:gd name="connsiteX36" fmla="*/ 65620 w 1481959"/>
                  <a:gd name="connsiteY36" fmla="*/ 0 h 962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481959" h="962317">
                    <a:moveTo>
                      <a:pt x="678350" y="258990"/>
                    </a:moveTo>
                    <a:cubicBezTo>
                      <a:pt x="681742" y="259020"/>
                      <a:pt x="685484" y="259288"/>
                      <a:pt x="688805" y="259224"/>
                    </a:cubicBezTo>
                    <a:lnTo>
                      <a:pt x="971484" y="259224"/>
                    </a:lnTo>
                    <a:cubicBezTo>
                      <a:pt x="1000302" y="256718"/>
                      <a:pt x="1008071" y="270753"/>
                      <a:pt x="1006067" y="292305"/>
                    </a:cubicBezTo>
                    <a:lnTo>
                      <a:pt x="1006067" y="576488"/>
                    </a:lnTo>
                    <a:lnTo>
                      <a:pt x="1004269" y="595185"/>
                    </a:lnTo>
                    <a:cubicBezTo>
                      <a:pt x="1002451" y="598026"/>
                      <a:pt x="999695" y="598003"/>
                      <a:pt x="996845" y="596703"/>
                    </a:cubicBezTo>
                    <a:lnTo>
                      <a:pt x="946477" y="546841"/>
                    </a:lnTo>
                    <a:cubicBezTo>
                      <a:pt x="934430" y="534914"/>
                      <a:pt x="914995" y="535011"/>
                      <a:pt x="903068" y="547059"/>
                    </a:cubicBezTo>
                    <a:lnTo>
                      <a:pt x="711725" y="740344"/>
                    </a:lnTo>
                    <a:cubicBezTo>
                      <a:pt x="699360" y="748226"/>
                      <a:pt x="689313" y="744295"/>
                      <a:pt x="661739" y="719332"/>
                    </a:cubicBezTo>
                    <a:lnTo>
                      <a:pt x="535436" y="593028"/>
                    </a:lnTo>
                    <a:cubicBezTo>
                      <a:pt x="524870" y="579553"/>
                      <a:pt x="516830" y="569445"/>
                      <a:pt x="520710" y="557602"/>
                    </a:cubicBezTo>
                    <a:lnTo>
                      <a:pt x="597984" y="478826"/>
                    </a:lnTo>
                    <a:lnTo>
                      <a:pt x="709855" y="368988"/>
                    </a:lnTo>
                    <a:cubicBezTo>
                      <a:pt x="715078" y="361976"/>
                      <a:pt x="718582" y="356117"/>
                      <a:pt x="720565" y="351055"/>
                    </a:cubicBezTo>
                    <a:cubicBezTo>
                      <a:pt x="721405" y="350159"/>
                      <a:pt x="721848" y="349083"/>
                      <a:pt x="722022" y="347917"/>
                    </a:cubicBezTo>
                    <a:cubicBezTo>
                      <a:pt x="723326" y="344409"/>
                      <a:pt x="723862" y="341379"/>
                      <a:pt x="723721" y="338718"/>
                    </a:cubicBezTo>
                    <a:cubicBezTo>
                      <a:pt x="723959" y="337241"/>
                      <a:pt x="723892" y="335759"/>
                      <a:pt x="723262" y="334338"/>
                    </a:cubicBezTo>
                    <a:cubicBezTo>
                      <a:pt x="723291" y="334071"/>
                      <a:pt x="723225" y="333829"/>
                      <a:pt x="723111" y="333602"/>
                    </a:cubicBezTo>
                    <a:cubicBezTo>
                      <a:pt x="722700" y="327088"/>
                      <a:pt x="719734" y="320887"/>
                      <a:pt x="714729" y="315979"/>
                    </a:cubicBezTo>
                    <a:lnTo>
                      <a:pt x="678087" y="280035"/>
                    </a:lnTo>
                    <a:lnTo>
                      <a:pt x="668098" y="262301"/>
                    </a:lnTo>
                    <a:cubicBezTo>
                      <a:pt x="669005" y="259420"/>
                      <a:pt x="673283" y="258942"/>
                      <a:pt x="678350" y="258990"/>
                    </a:cubicBezTo>
                    <a:close/>
                    <a:moveTo>
                      <a:pt x="72174" y="72174"/>
                    </a:moveTo>
                    <a:lnTo>
                      <a:pt x="72174" y="887737"/>
                    </a:lnTo>
                    <a:lnTo>
                      <a:pt x="1402569" y="887737"/>
                    </a:lnTo>
                    <a:lnTo>
                      <a:pt x="1402569" y="72174"/>
                    </a:lnTo>
                    <a:close/>
                    <a:moveTo>
                      <a:pt x="65620" y="0"/>
                    </a:moveTo>
                    <a:lnTo>
                      <a:pt x="1416339" y="0"/>
                    </a:lnTo>
                    <a:cubicBezTo>
                      <a:pt x="1452581" y="0"/>
                      <a:pt x="1481959" y="29379"/>
                      <a:pt x="1481959" y="65621"/>
                    </a:cubicBezTo>
                    <a:lnTo>
                      <a:pt x="1481959" y="896697"/>
                    </a:lnTo>
                    <a:cubicBezTo>
                      <a:pt x="1481959" y="932938"/>
                      <a:pt x="1452581" y="962317"/>
                      <a:pt x="1416339" y="962317"/>
                    </a:cubicBezTo>
                    <a:lnTo>
                      <a:pt x="65620" y="962317"/>
                    </a:lnTo>
                    <a:cubicBezTo>
                      <a:pt x="29379" y="962317"/>
                      <a:pt x="0" y="932938"/>
                      <a:pt x="0" y="896697"/>
                    </a:cubicBezTo>
                    <a:lnTo>
                      <a:pt x="0" y="65621"/>
                    </a:lnTo>
                    <a:cubicBezTo>
                      <a:pt x="0" y="29379"/>
                      <a:pt x="29379" y="0"/>
                      <a:pt x="65620" y="0"/>
                    </a:cubicBezTo>
                    <a:close/>
                  </a:path>
                </a:pathLst>
              </a:custGeom>
              <a:solidFill>
                <a:srgbClr val="FF8C00"/>
              </a:solidFill>
              <a:ln w="9525" cap="flat" cmpd="sng" algn="ctr">
                <a:noFill/>
                <a:prstDash val="solid"/>
              </a:ln>
              <a:effectLst/>
            </p:spPr>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auto">
                  <a:spcBef>
                    <a:spcPts val="0"/>
                  </a:spcBef>
                  <a:spcAft>
                    <a:spcPts val="0"/>
                  </a:spcAft>
                  <a:defRPr/>
                </a:pPr>
                <a:endParaRPr lang="en-US" sz="1398" kern="0" spc="-50" dirty="0">
                  <a:ln>
                    <a:solidFill>
                      <a:srgbClr val="FFFFFF">
                        <a:alpha val="0"/>
                      </a:srgbClr>
                    </a:solidFill>
                  </a:ln>
                  <a:solidFill>
                    <a:srgbClr val="000000"/>
                  </a:solidFill>
                  <a:latin typeface="Segoe UI"/>
                  <a:ea typeface="Segoe UI" pitchFamily="34" charset="0"/>
                  <a:cs typeface="Segoe UI" pitchFamily="34" charset="0"/>
                </a:endParaRPr>
              </a:p>
            </p:txBody>
          </p:sp>
          <p:sp>
            <p:nvSpPr>
              <p:cNvPr id="19" name="Rectangle 18"/>
              <p:cNvSpPr/>
              <p:nvPr/>
            </p:nvSpPr>
            <p:spPr>
              <a:xfrm>
                <a:off x="4727370" y="5184932"/>
                <a:ext cx="244616" cy="2866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31505" fontAlgn="auto">
                  <a:spcBef>
                    <a:spcPts val="0"/>
                  </a:spcBef>
                  <a:spcAft>
                    <a:spcPts val="0"/>
                  </a:spcAft>
                </a:pPr>
                <a:endParaRPr lang="en-US" sz="1800">
                  <a:solidFill>
                    <a:prstClr val="white"/>
                  </a:solidFill>
                </a:endParaRPr>
              </a:p>
            </p:txBody>
          </p:sp>
        </p:grpSp>
        <p:grpSp>
          <p:nvGrpSpPr>
            <p:cNvPr id="21" name="Group 20"/>
            <p:cNvGrpSpPr/>
            <p:nvPr/>
          </p:nvGrpSpPr>
          <p:grpSpPr>
            <a:xfrm>
              <a:off x="4225721" y="5224167"/>
              <a:ext cx="263064" cy="315192"/>
              <a:chOff x="4721454" y="5169895"/>
              <a:chExt cx="263064" cy="315192"/>
            </a:xfrm>
          </p:grpSpPr>
          <p:cxnSp>
            <p:nvCxnSpPr>
              <p:cNvPr id="16" name="Straight Connector 15"/>
              <p:cNvCxnSpPr/>
              <p:nvPr/>
            </p:nvCxnSpPr>
            <p:spPr>
              <a:xfrm>
                <a:off x="4809715" y="5169895"/>
                <a:ext cx="0" cy="315192"/>
              </a:xfrm>
              <a:prstGeom prst="line">
                <a:avLst/>
              </a:prstGeom>
              <a:ln w="12700">
                <a:solidFill>
                  <a:srgbClr val="FF8C00"/>
                </a:solidFill>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4866636" y="5169895"/>
                <a:ext cx="0" cy="315192"/>
              </a:xfrm>
              <a:prstGeom prst="line">
                <a:avLst/>
              </a:prstGeom>
              <a:ln w="12700">
                <a:solidFill>
                  <a:srgbClr val="FF8C00"/>
                </a:solidFill>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4929134" y="5169895"/>
                <a:ext cx="0" cy="315192"/>
              </a:xfrm>
              <a:prstGeom prst="line">
                <a:avLst/>
              </a:prstGeom>
              <a:ln w="12700">
                <a:solidFill>
                  <a:srgbClr val="FF8C00"/>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4721454" y="5265572"/>
                <a:ext cx="262256" cy="0"/>
              </a:xfrm>
              <a:prstGeom prst="line">
                <a:avLst/>
              </a:prstGeom>
              <a:ln w="12700">
                <a:solidFill>
                  <a:srgbClr val="FF8C00"/>
                </a:solidFill>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4721454" y="5319130"/>
                <a:ext cx="262256" cy="0"/>
              </a:xfrm>
              <a:prstGeom prst="line">
                <a:avLst/>
              </a:prstGeom>
              <a:ln w="12700">
                <a:solidFill>
                  <a:srgbClr val="FF8C00"/>
                </a:solidFill>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4722262" y="5375108"/>
                <a:ext cx="262256" cy="0"/>
              </a:xfrm>
              <a:prstGeom prst="line">
                <a:avLst/>
              </a:prstGeom>
              <a:ln w="12700">
                <a:solidFill>
                  <a:srgbClr val="FF8C00"/>
                </a:solidFill>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a:off x="4722262" y="5425533"/>
                <a:ext cx="262256" cy="0"/>
              </a:xfrm>
              <a:prstGeom prst="line">
                <a:avLst/>
              </a:prstGeom>
              <a:ln w="12700">
                <a:solidFill>
                  <a:srgbClr val="FF8C00"/>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p:nvCxnSpPr>
            <p:spPr>
              <a:xfrm>
                <a:off x="4722181" y="5213725"/>
                <a:ext cx="262256" cy="0"/>
              </a:xfrm>
              <a:prstGeom prst="line">
                <a:avLst/>
              </a:prstGeom>
              <a:ln w="12700">
                <a:solidFill>
                  <a:srgbClr val="FF8C00"/>
                </a:solidFill>
              </a:ln>
            </p:spPr>
            <p:style>
              <a:lnRef idx="1">
                <a:schemeClr val="accent1"/>
              </a:lnRef>
              <a:fillRef idx="0">
                <a:schemeClr val="accent1"/>
              </a:fillRef>
              <a:effectRef idx="0">
                <a:schemeClr val="accent1"/>
              </a:effectRef>
              <a:fontRef idx="minor">
                <a:schemeClr val="tx1"/>
              </a:fontRef>
            </p:style>
          </p:cxnSp>
        </p:grpSp>
      </p:grpSp>
      <p:cxnSp>
        <p:nvCxnSpPr>
          <p:cNvPr id="132" name="Straight Arrow Connector 131"/>
          <p:cNvCxnSpPr/>
          <p:nvPr/>
        </p:nvCxnSpPr>
        <p:spPr>
          <a:xfrm flipV="1">
            <a:off x="3167692" y="4365460"/>
            <a:ext cx="0" cy="991510"/>
          </a:xfrm>
          <a:prstGeom prst="straightConnector1">
            <a:avLst/>
          </a:prstGeom>
          <a:ln w="31750">
            <a:solidFill>
              <a:srgbClr val="404040"/>
            </a:solidFill>
            <a:headEnd type="triangle" w="med" len="sm"/>
            <a:tailEnd type="triangle" w="med" len="sm"/>
          </a:ln>
        </p:spPr>
        <p:style>
          <a:lnRef idx="1">
            <a:schemeClr val="accent1"/>
          </a:lnRef>
          <a:fillRef idx="0">
            <a:schemeClr val="accent1"/>
          </a:fillRef>
          <a:effectRef idx="0">
            <a:schemeClr val="accent1"/>
          </a:effectRef>
          <a:fontRef idx="minor">
            <a:schemeClr val="tx1"/>
          </a:fontRef>
        </p:style>
      </p:cxnSp>
      <p:sp>
        <p:nvSpPr>
          <p:cNvPr id="12" name="Bent Arrow 11"/>
          <p:cNvSpPr/>
          <p:nvPr/>
        </p:nvSpPr>
        <p:spPr>
          <a:xfrm rot="16200000">
            <a:off x="1720153" y="3314272"/>
            <a:ext cx="699858" cy="1629287"/>
          </a:xfrm>
          <a:prstGeom prst="bentArrow">
            <a:avLst>
              <a:gd name="adj1" fmla="val 25000"/>
              <a:gd name="adj2" fmla="val 28765"/>
              <a:gd name="adj3" fmla="val 35040"/>
              <a:gd name="adj4" fmla="val 51280"/>
            </a:avLst>
          </a:prstGeom>
          <a:solidFill>
            <a:srgbClr val="FF8C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31505" fontAlgn="auto">
              <a:spcBef>
                <a:spcPts val="0"/>
              </a:spcBef>
              <a:spcAft>
                <a:spcPts val="0"/>
              </a:spcAft>
            </a:pPr>
            <a:endParaRPr lang="en-US" sz="1800">
              <a:solidFill>
                <a:prstClr val="black"/>
              </a:solidFill>
            </a:endParaRPr>
          </a:p>
        </p:txBody>
      </p:sp>
      <p:grpSp>
        <p:nvGrpSpPr>
          <p:cNvPr id="6" name="Group 5"/>
          <p:cNvGrpSpPr/>
          <p:nvPr/>
        </p:nvGrpSpPr>
        <p:grpSpPr>
          <a:xfrm>
            <a:off x="3057949" y="2023524"/>
            <a:ext cx="1614792" cy="1209863"/>
            <a:chOff x="4102693" y="2104736"/>
            <a:chExt cx="1614792" cy="1209863"/>
          </a:xfrm>
        </p:grpSpPr>
        <p:grpSp>
          <p:nvGrpSpPr>
            <p:cNvPr id="5" name="Group 4"/>
            <p:cNvGrpSpPr/>
            <p:nvPr/>
          </p:nvGrpSpPr>
          <p:grpSpPr>
            <a:xfrm>
              <a:off x="4102693" y="2104736"/>
              <a:ext cx="1614792" cy="1209863"/>
              <a:chOff x="4102693" y="2104736"/>
              <a:chExt cx="1614792" cy="1209863"/>
            </a:xfrm>
          </p:grpSpPr>
          <p:sp>
            <p:nvSpPr>
              <p:cNvPr id="128" name="TextBox 127"/>
              <p:cNvSpPr txBox="1"/>
              <p:nvPr/>
            </p:nvSpPr>
            <p:spPr>
              <a:xfrm>
                <a:off x="4102693" y="2104736"/>
                <a:ext cx="1343909" cy="345114"/>
              </a:xfrm>
              <a:prstGeom prst="rect">
                <a:avLst/>
              </a:prstGeom>
              <a:noFill/>
            </p:spPr>
            <p:txBody>
              <a:bodyPr wrap="square" rtlCol="0">
                <a:spAutoFit/>
              </a:bodyPr>
              <a:lstStyle/>
              <a:p>
                <a:pPr defTabSz="932239" fontAlgn="auto">
                  <a:spcBef>
                    <a:spcPts val="0"/>
                  </a:spcBef>
                  <a:spcAft>
                    <a:spcPts val="0"/>
                  </a:spcAft>
                </a:pPr>
                <a:r>
                  <a:rPr lang="en-US" sz="1598" dirty="0">
                    <a:solidFill>
                      <a:srgbClr val="5B9BD5">
                        <a:lumMod val="50000"/>
                      </a:srgbClr>
                    </a:solidFill>
                    <a:latin typeface="Segoe UI Semibold" panose="020B0702040204020203" pitchFamily="34" charset="0"/>
                    <a:cs typeface="Segoe UI Semibold" panose="020B0702040204020203" pitchFamily="34" charset="0"/>
                  </a:rPr>
                  <a:t>Extensibility</a:t>
                </a:r>
              </a:p>
            </p:txBody>
          </p:sp>
          <p:sp>
            <p:nvSpPr>
              <p:cNvPr id="73" name="Freeform 72"/>
              <p:cNvSpPr>
                <a:spLocks/>
              </p:cNvSpPr>
              <p:nvPr/>
            </p:nvSpPr>
            <p:spPr bwMode="auto">
              <a:xfrm>
                <a:off x="5123209" y="2787302"/>
                <a:ext cx="594276" cy="527297"/>
              </a:xfrm>
              <a:custGeom>
                <a:avLst/>
                <a:gdLst>
                  <a:gd name="connsiteX0" fmla="*/ 678350 w 1481959"/>
                  <a:gd name="connsiteY0" fmla="*/ 258990 h 962317"/>
                  <a:gd name="connsiteX1" fmla="*/ 688805 w 1481959"/>
                  <a:gd name="connsiteY1" fmla="*/ 259224 h 962317"/>
                  <a:gd name="connsiteX2" fmla="*/ 971484 w 1481959"/>
                  <a:gd name="connsiteY2" fmla="*/ 259224 h 962317"/>
                  <a:gd name="connsiteX3" fmla="*/ 1006067 w 1481959"/>
                  <a:gd name="connsiteY3" fmla="*/ 292305 h 962317"/>
                  <a:gd name="connsiteX4" fmla="*/ 1006067 w 1481959"/>
                  <a:gd name="connsiteY4" fmla="*/ 576488 h 962317"/>
                  <a:gd name="connsiteX5" fmla="*/ 1004269 w 1481959"/>
                  <a:gd name="connsiteY5" fmla="*/ 595185 h 962317"/>
                  <a:gd name="connsiteX6" fmla="*/ 996845 w 1481959"/>
                  <a:gd name="connsiteY6" fmla="*/ 596703 h 962317"/>
                  <a:gd name="connsiteX7" fmla="*/ 946477 w 1481959"/>
                  <a:gd name="connsiteY7" fmla="*/ 546841 h 962317"/>
                  <a:gd name="connsiteX8" fmla="*/ 903068 w 1481959"/>
                  <a:gd name="connsiteY8" fmla="*/ 547059 h 962317"/>
                  <a:gd name="connsiteX9" fmla="*/ 711725 w 1481959"/>
                  <a:gd name="connsiteY9" fmla="*/ 740344 h 962317"/>
                  <a:gd name="connsiteX10" fmla="*/ 661739 w 1481959"/>
                  <a:gd name="connsiteY10" fmla="*/ 719332 h 962317"/>
                  <a:gd name="connsiteX11" fmla="*/ 535436 w 1481959"/>
                  <a:gd name="connsiteY11" fmla="*/ 593028 h 962317"/>
                  <a:gd name="connsiteX12" fmla="*/ 520710 w 1481959"/>
                  <a:gd name="connsiteY12" fmla="*/ 557602 h 962317"/>
                  <a:gd name="connsiteX13" fmla="*/ 597984 w 1481959"/>
                  <a:gd name="connsiteY13" fmla="*/ 478826 h 962317"/>
                  <a:gd name="connsiteX14" fmla="*/ 709855 w 1481959"/>
                  <a:gd name="connsiteY14" fmla="*/ 368988 h 962317"/>
                  <a:gd name="connsiteX15" fmla="*/ 720565 w 1481959"/>
                  <a:gd name="connsiteY15" fmla="*/ 351055 h 962317"/>
                  <a:gd name="connsiteX16" fmla="*/ 722022 w 1481959"/>
                  <a:gd name="connsiteY16" fmla="*/ 347917 h 962317"/>
                  <a:gd name="connsiteX17" fmla="*/ 723721 w 1481959"/>
                  <a:gd name="connsiteY17" fmla="*/ 338718 h 962317"/>
                  <a:gd name="connsiteX18" fmla="*/ 723262 w 1481959"/>
                  <a:gd name="connsiteY18" fmla="*/ 334338 h 962317"/>
                  <a:gd name="connsiteX19" fmla="*/ 723111 w 1481959"/>
                  <a:gd name="connsiteY19" fmla="*/ 333602 h 962317"/>
                  <a:gd name="connsiteX20" fmla="*/ 714729 w 1481959"/>
                  <a:gd name="connsiteY20" fmla="*/ 315979 h 962317"/>
                  <a:gd name="connsiteX21" fmla="*/ 678087 w 1481959"/>
                  <a:gd name="connsiteY21" fmla="*/ 280035 h 962317"/>
                  <a:gd name="connsiteX22" fmla="*/ 668098 w 1481959"/>
                  <a:gd name="connsiteY22" fmla="*/ 262301 h 962317"/>
                  <a:gd name="connsiteX23" fmla="*/ 678350 w 1481959"/>
                  <a:gd name="connsiteY23" fmla="*/ 258990 h 962317"/>
                  <a:gd name="connsiteX24" fmla="*/ 72174 w 1481959"/>
                  <a:gd name="connsiteY24" fmla="*/ 72174 h 962317"/>
                  <a:gd name="connsiteX25" fmla="*/ 72174 w 1481959"/>
                  <a:gd name="connsiteY25" fmla="*/ 887737 h 962317"/>
                  <a:gd name="connsiteX26" fmla="*/ 1402569 w 1481959"/>
                  <a:gd name="connsiteY26" fmla="*/ 887737 h 962317"/>
                  <a:gd name="connsiteX27" fmla="*/ 1402569 w 1481959"/>
                  <a:gd name="connsiteY27" fmla="*/ 72174 h 962317"/>
                  <a:gd name="connsiteX28" fmla="*/ 65620 w 1481959"/>
                  <a:gd name="connsiteY28" fmla="*/ 0 h 962317"/>
                  <a:gd name="connsiteX29" fmla="*/ 1416339 w 1481959"/>
                  <a:gd name="connsiteY29" fmla="*/ 0 h 962317"/>
                  <a:gd name="connsiteX30" fmla="*/ 1481959 w 1481959"/>
                  <a:gd name="connsiteY30" fmla="*/ 65621 h 962317"/>
                  <a:gd name="connsiteX31" fmla="*/ 1481959 w 1481959"/>
                  <a:gd name="connsiteY31" fmla="*/ 896697 h 962317"/>
                  <a:gd name="connsiteX32" fmla="*/ 1416339 w 1481959"/>
                  <a:gd name="connsiteY32" fmla="*/ 962317 h 962317"/>
                  <a:gd name="connsiteX33" fmla="*/ 65620 w 1481959"/>
                  <a:gd name="connsiteY33" fmla="*/ 962317 h 962317"/>
                  <a:gd name="connsiteX34" fmla="*/ 0 w 1481959"/>
                  <a:gd name="connsiteY34" fmla="*/ 896697 h 962317"/>
                  <a:gd name="connsiteX35" fmla="*/ 0 w 1481959"/>
                  <a:gd name="connsiteY35" fmla="*/ 65621 h 962317"/>
                  <a:gd name="connsiteX36" fmla="*/ 65620 w 1481959"/>
                  <a:gd name="connsiteY36" fmla="*/ 0 h 962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481959" h="962317">
                    <a:moveTo>
                      <a:pt x="678350" y="258990"/>
                    </a:moveTo>
                    <a:cubicBezTo>
                      <a:pt x="681742" y="259020"/>
                      <a:pt x="685484" y="259288"/>
                      <a:pt x="688805" y="259224"/>
                    </a:cubicBezTo>
                    <a:lnTo>
                      <a:pt x="971484" y="259224"/>
                    </a:lnTo>
                    <a:cubicBezTo>
                      <a:pt x="1000302" y="256718"/>
                      <a:pt x="1008071" y="270753"/>
                      <a:pt x="1006067" y="292305"/>
                    </a:cubicBezTo>
                    <a:lnTo>
                      <a:pt x="1006067" y="576488"/>
                    </a:lnTo>
                    <a:lnTo>
                      <a:pt x="1004269" y="595185"/>
                    </a:lnTo>
                    <a:cubicBezTo>
                      <a:pt x="1002451" y="598026"/>
                      <a:pt x="999695" y="598003"/>
                      <a:pt x="996845" y="596703"/>
                    </a:cubicBezTo>
                    <a:lnTo>
                      <a:pt x="946477" y="546841"/>
                    </a:lnTo>
                    <a:cubicBezTo>
                      <a:pt x="934430" y="534914"/>
                      <a:pt x="914995" y="535011"/>
                      <a:pt x="903068" y="547059"/>
                    </a:cubicBezTo>
                    <a:lnTo>
                      <a:pt x="711725" y="740344"/>
                    </a:lnTo>
                    <a:cubicBezTo>
                      <a:pt x="699360" y="748226"/>
                      <a:pt x="689313" y="744295"/>
                      <a:pt x="661739" y="719332"/>
                    </a:cubicBezTo>
                    <a:lnTo>
                      <a:pt x="535436" y="593028"/>
                    </a:lnTo>
                    <a:cubicBezTo>
                      <a:pt x="524870" y="579553"/>
                      <a:pt x="516830" y="569445"/>
                      <a:pt x="520710" y="557602"/>
                    </a:cubicBezTo>
                    <a:lnTo>
                      <a:pt x="597984" y="478826"/>
                    </a:lnTo>
                    <a:lnTo>
                      <a:pt x="709855" y="368988"/>
                    </a:lnTo>
                    <a:cubicBezTo>
                      <a:pt x="715078" y="361976"/>
                      <a:pt x="718582" y="356117"/>
                      <a:pt x="720565" y="351055"/>
                    </a:cubicBezTo>
                    <a:cubicBezTo>
                      <a:pt x="721405" y="350159"/>
                      <a:pt x="721848" y="349083"/>
                      <a:pt x="722022" y="347917"/>
                    </a:cubicBezTo>
                    <a:cubicBezTo>
                      <a:pt x="723326" y="344409"/>
                      <a:pt x="723862" y="341379"/>
                      <a:pt x="723721" y="338718"/>
                    </a:cubicBezTo>
                    <a:cubicBezTo>
                      <a:pt x="723959" y="337241"/>
                      <a:pt x="723892" y="335759"/>
                      <a:pt x="723262" y="334338"/>
                    </a:cubicBezTo>
                    <a:cubicBezTo>
                      <a:pt x="723291" y="334071"/>
                      <a:pt x="723225" y="333829"/>
                      <a:pt x="723111" y="333602"/>
                    </a:cubicBezTo>
                    <a:cubicBezTo>
                      <a:pt x="722700" y="327088"/>
                      <a:pt x="719734" y="320887"/>
                      <a:pt x="714729" y="315979"/>
                    </a:cubicBezTo>
                    <a:lnTo>
                      <a:pt x="678087" y="280035"/>
                    </a:lnTo>
                    <a:lnTo>
                      <a:pt x="668098" y="262301"/>
                    </a:lnTo>
                    <a:cubicBezTo>
                      <a:pt x="669005" y="259420"/>
                      <a:pt x="673283" y="258942"/>
                      <a:pt x="678350" y="258990"/>
                    </a:cubicBezTo>
                    <a:close/>
                    <a:moveTo>
                      <a:pt x="72174" y="72174"/>
                    </a:moveTo>
                    <a:lnTo>
                      <a:pt x="72174" y="887737"/>
                    </a:lnTo>
                    <a:lnTo>
                      <a:pt x="1402569" y="887737"/>
                    </a:lnTo>
                    <a:lnTo>
                      <a:pt x="1402569" y="72174"/>
                    </a:lnTo>
                    <a:close/>
                    <a:moveTo>
                      <a:pt x="65620" y="0"/>
                    </a:moveTo>
                    <a:lnTo>
                      <a:pt x="1416339" y="0"/>
                    </a:lnTo>
                    <a:cubicBezTo>
                      <a:pt x="1452581" y="0"/>
                      <a:pt x="1481959" y="29379"/>
                      <a:pt x="1481959" y="65621"/>
                    </a:cubicBezTo>
                    <a:lnTo>
                      <a:pt x="1481959" y="896697"/>
                    </a:lnTo>
                    <a:cubicBezTo>
                      <a:pt x="1481959" y="932938"/>
                      <a:pt x="1452581" y="962317"/>
                      <a:pt x="1416339" y="962317"/>
                    </a:cubicBezTo>
                    <a:lnTo>
                      <a:pt x="65620" y="962317"/>
                    </a:lnTo>
                    <a:cubicBezTo>
                      <a:pt x="29379" y="962317"/>
                      <a:pt x="0" y="932938"/>
                      <a:pt x="0" y="896697"/>
                    </a:cubicBezTo>
                    <a:lnTo>
                      <a:pt x="0" y="65621"/>
                    </a:lnTo>
                    <a:cubicBezTo>
                      <a:pt x="0" y="29379"/>
                      <a:pt x="29379" y="0"/>
                      <a:pt x="65620" y="0"/>
                    </a:cubicBezTo>
                    <a:close/>
                  </a:path>
                </a:pathLst>
              </a:custGeom>
              <a:solidFill>
                <a:schemeClr val="accent1">
                  <a:lumMod val="75000"/>
                </a:schemeClr>
              </a:solidFill>
              <a:ln w="9525" cap="flat" cmpd="sng" algn="ctr">
                <a:noFill/>
                <a:prstDash val="solid"/>
              </a:ln>
              <a:effectLst/>
            </p:spPr>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auto">
                  <a:spcBef>
                    <a:spcPts val="0"/>
                  </a:spcBef>
                  <a:spcAft>
                    <a:spcPts val="0"/>
                  </a:spcAft>
                  <a:defRPr/>
                </a:pPr>
                <a:endParaRPr lang="en-US" sz="1398" kern="0" spc="-50" dirty="0">
                  <a:ln>
                    <a:solidFill>
                      <a:srgbClr val="FFFFFF">
                        <a:alpha val="0"/>
                      </a:srgbClr>
                    </a:solidFill>
                  </a:ln>
                  <a:solidFill>
                    <a:srgbClr val="000000"/>
                  </a:solidFill>
                  <a:latin typeface="Segoe UI"/>
                  <a:ea typeface="Segoe UI" pitchFamily="34" charset="0"/>
                  <a:cs typeface="Segoe UI" pitchFamily="34" charset="0"/>
                </a:endParaRPr>
              </a:p>
            </p:txBody>
          </p:sp>
          <p:sp>
            <p:nvSpPr>
              <p:cNvPr id="79" name="Rectangle 78"/>
              <p:cNvSpPr/>
              <p:nvPr/>
            </p:nvSpPr>
            <p:spPr>
              <a:xfrm>
                <a:off x="5303466" y="2931148"/>
                <a:ext cx="261054" cy="261054"/>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239" fontAlgn="auto">
                  <a:spcBef>
                    <a:spcPts val="0"/>
                  </a:spcBef>
                  <a:spcAft>
                    <a:spcPts val="0"/>
                  </a:spcAft>
                </a:pPr>
                <a:r>
                  <a:rPr lang="en-IN" sz="1598" dirty="0">
                    <a:solidFill>
                      <a:prstClr val="white"/>
                    </a:solidFill>
                    <a:latin typeface="Segoe UI Semibold" panose="020B0702040204020203" pitchFamily="34" charset="0"/>
                    <a:cs typeface="Segoe UI Semibold" panose="020B0702040204020203" pitchFamily="34" charset="0"/>
                  </a:rPr>
                  <a:t>?</a:t>
                </a:r>
              </a:p>
            </p:txBody>
          </p:sp>
          <p:grpSp>
            <p:nvGrpSpPr>
              <p:cNvPr id="9" name="Group 8"/>
              <p:cNvGrpSpPr/>
              <p:nvPr/>
            </p:nvGrpSpPr>
            <p:grpSpPr>
              <a:xfrm>
                <a:off x="4185543" y="2446117"/>
                <a:ext cx="1100241" cy="714448"/>
                <a:chOff x="3533960" y="4436757"/>
                <a:chExt cx="1100554" cy="714651"/>
              </a:xfrm>
            </p:grpSpPr>
            <p:sp>
              <p:nvSpPr>
                <p:cNvPr id="69" name="Freeform 68"/>
                <p:cNvSpPr>
                  <a:spLocks noChangeAspect="1"/>
                </p:cNvSpPr>
                <p:nvPr/>
              </p:nvSpPr>
              <p:spPr bwMode="auto">
                <a:xfrm>
                  <a:off x="3533960" y="4436757"/>
                  <a:ext cx="1100554" cy="714651"/>
                </a:xfrm>
                <a:custGeom>
                  <a:avLst/>
                  <a:gdLst>
                    <a:gd name="connsiteX0" fmla="*/ 678350 w 1481959"/>
                    <a:gd name="connsiteY0" fmla="*/ 258990 h 962317"/>
                    <a:gd name="connsiteX1" fmla="*/ 688805 w 1481959"/>
                    <a:gd name="connsiteY1" fmla="*/ 259224 h 962317"/>
                    <a:gd name="connsiteX2" fmla="*/ 971484 w 1481959"/>
                    <a:gd name="connsiteY2" fmla="*/ 259224 h 962317"/>
                    <a:gd name="connsiteX3" fmla="*/ 1006067 w 1481959"/>
                    <a:gd name="connsiteY3" fmla="*/ 292305 h 962317"/>
                    <a:gd name="connsiteX4" fmla="*/ 1006067 w 1481959"/>
                    <a:gd name="connsiteY4" fmla="*/ 576488 h 962317"/>
                    <a:gd name="connsiteX5" fmla="*/ 1004269 w 1481959"/>
                    <a:gd name="connsiteY5" fmla="*/ 595185 h 962317"/>
                    <a:gd name="connsiteX6" fmla="*/ 996845 w 1481959"/>
                    <a:gd name="connsiteY6" fmla="*/ 596703 h 962317"/>
                    <a:gd name="connsiteX7" fmla="*/ 946477 w 1481959"/>
                    <a:gd name="connsiteY7" fmla="*/ 546841 h 962317"/>
                    <a:gd name="connsiteX8" fmla="*/ 903068 w 1481959"/>
                    <a:gd name="connsiteY8" fmla="*/ 547059 h 962317"/>
                    <a:gd name="connsiteX9" fmla="*/ 711725 w 1481959"/>
                    <a:gd name="connsiteY9" fmla="*/ 740344 h 962317"/>
                    <a:gd name="connsiteX10" fmla="*/ 661739 w 1481959"/>
                    <a:gd name="connsiteY10" fmla="*/ 719332 h 962317"/>
                    <a:gd name="connsiteX11" fmla="*/ 535436 w 1481959"/>
                    <a:gd name="connsiteY11" fmla="*/ 593028 h 962317"/>
                    <a:gd name="connsiteX12" fmla="*/ 520710 w 1481959"/>
                    <a:gd name="connsiteY12" fmla="*/ 557602 h 962317"/>
                    <a:gd name="connsiteX13" fmla="*/ 597984 w 1481959"/>
                    <a:gd name="connsiteY13" fmla="*/ 478826 h 962317"/>
                    <a:gd name="connsiteX14" fmla="*/ 709855 w 1481959"/>
                    <a:gd name="connsiteY14" fmla="*/ 368988 h 962317"/>
                    <a:gd name="connsiteX15" fmla="*/ 720565 w 1481959"/>
                    <a:gd name="connsiteY15" fmla="*/ 351055 h 962317"/>
                    <a:gd name="connsiteX16" fmla="*/ 722022 w 1481959"/>
                    <a:gd name="connsiteY16" fmla="*/ 347917 h 962317"/>
                    <a:gd name="connsiteX17" fmla="*/ 723721 w 1481959"/>
                    <a:gd name="connsiteY17" fmla="*/ 338718 h 962317"/>
                    <a:gd name="connsiteX18" fmla="*/ 723262 w 1481959"/>
                    <a:gd name="connsiteY18" fmla="*/ 334338 h 962317"/>
                    <a:gd name="connsiteX19" fmla="*/ 723111 w 1481959"/>
                    <a:gd name="connsiteY19" fmla="*/ 333602 h 962317"/>
                    <a:gd name="connsiteX20" fmla="*/ 714729 w 1481959"/>
                    <a:gd name="connsiteY20" fmla="*/ 315979 h 962317"/>
                    <a:gd name="connsiteX21" fmla="*/ 678087 w 1481959"/>
                    <a:gd name="connsiteY21" fmla="*/ 280035 h 962317"/>
                    <a:gd name="connsiteX22" fmla="*/ 668098 w 1481959"/>
                    <a:gd name="connsiteY22" fmla="*/ 262301 h 962317"/>
                    <a:gd name="connsiteX23" fmla="*/ 678350 w 1481959"/>
                    <a:gd name="connsiteY23" fmla="*/ 258990 h 962317"/>
                    <a:gd name="connsiteX24" fmla="*/ 72174 w 1481959"/>
                    <a:gd name="connsiteY24" fmla="*/ 72174 h 962317"/>
                    <a:gd name="connsiteX25" fmla="*/ 72174 w 1481959"/>
                    <a:gd name="connsiteY25" fmla="*/ 887737 h 962317"/>
                    <a:gd name="connsiteX26" fmla="*/ 1402569 w 1481959"/>
                    <a:gd name="connsiteY26" fmla="*/ 887737 h 962317"/>
                    <a:gd name="connsiteX27" fmla="*/ 1402569 w 1481959"/>
                    <a:gd name="connsiteY27" fmla="*/ 72174 h 962317"/>
                    <a:gd name="connsiteX28" fmla="*/ 65620 w 1481959"/>
                    <a:gd name="connsiteY28" fmla="*/ 0 h 962317"/>
                    <a:gd name="connsiteX29" fmla="*/ 1416339 w 1481959"/>
                    <a:gd name="connsiteY29" fmla="*/ 0 h 962317"/>
                    <a:gd name="connsiteX30" fmla="*/ 1481959 w 1481959"/>
                    <a:gd name="connsiteY30" fmla="*/ 65621 h 962317"/>
                    <a:gd name="connsiteX31" fmla="*/ 1481959 w 1481959"/>
                    <a:gd name="connsiteY31" fmla="*/ 896697 h 962317"/>
                    <a:gd name="connsiteX32" fmla="*/ 1416339 w 1481959"/>
                    <a:gd name="connsiteY32" fmla="*/ 962317 h 962317"/>
                    <a:gd name="connsiteX33" fmla="*/ 65620 w 1481959"/>
                    <a:gd name="connsiteY33" fmla="*/ 962317 h 962317"/>
                    <a:gd name="connsiteX34" fmla="*/ 0 w 1481959"/>
                    <a:gd name="connsiteY34" fmla="*/ 896697 h 962317"/>
                    <a:gd name="connsiteX35" fmla="*/ 0 w 1481959"/>
                    <a:gd name="connsiteY35" fmla="*/ 65621 h 962317"/>
                    <a:gd name="connsiteX36" fmla="*/ 65620 w 1481959"/>
                    <a:gd name="connsiteY36" fmla="*/ 0 h 962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481959" h="962317">
                      <a:moveTo>
                        <a:pt x="678350" y="258990"/>
                      </a:moveTo>
                      <a:cubicBezTo>
                        <a:pt x="681742" y="259020"/>
                        <a:pt x="685484" y="259288"/>
                        <a:pt x="688805" y="259224"/>
                      </a:cubicBezTo>
                      <a:lnTo>
                        <a:pt x="971484" y="259224"/>
                      </a:lnTo>
                      <a:cubicBezTo>
                        <a:pt x="1000302" y="256718"/>
                        <a:pt x="1008071" y="270753"/>
                        <a:pt x="1006067" y="292305"/>
                      </a:cubicBezTo>
                      <a:lnTo>
                        <a:pt x="1006067" y="576488"/>
                      </a:lnTo>
                      <a:lnTo>
                        <a:pt x="1004269" y="595185"/>
                      </a:lnTo>
                      <a:cubicBezTo>
                        <a:pt x="1002451" y="598026"/>
                        <a:pt x="999695" y="598003"/>
                        <a:pt x="996845" y="596703"/>
                      </a:cubicBezTo>
                      <a:lnTo>
                        <a:pt x="946477" y="546841"/>
                      </a:lnTo>
                      <a:cubicBezTo>
                        <a:pt x="934430" y="534914"/>
                        <a:pt x="914995" y="535011"/>
                        <a:pt x="903068" y="547059"/>
                      </a:cubicBezTo>
                      <a:lnTo>
                        <a:pt x="711725" y="740344"/>
                      </a:lnTo>
                      <a:cubicBezTo>
                        <a:pt x="699360" y="748226"/>
                        <a:pt x="689313" y="744295"/>
                        <a:pt x="661739" y="719332"/>
                      </a:cubicBezTo>
                      <a:lnTo>
                        <a:pt x="535436" y="593028"/>
                      </a:lnTo>
                      <a:cubicBezTo>
                        <a:pt x="524870" y="579553"/>
                        <a:pt x="516830" y="569445"/>
                        <a:pt x="520710" y="557602"/>
                      </a:cubicBezTo>
                      <a:lnTo>
                        <a:pt x="597984" y="478826"/>
                      </a:lnTo>
                      <a:lnTo>
                        <a:pt x="709855" y="368988"/>
                      </a:lnTo>
                      <a:cubicBezTo>
                        <a:pt x="715078" y="361976"/>
                        <a:pt x="718582" y="356117"/>
                        <a:pt x="720565" y="351055"/>
                      </a:cubicBezTo>
                      <a:cubicBezTo>
                        <a:pt x="721405" y="350159"/>
                        <a:pt x="721848" y="349083"/>
                        <a:pt x="722022" y="347917"/>
                      </a:cubicBezTo>
                      <a:cubicBezTo>
                        <a:pt x="723326" y="344409"/>
                        <a:pt x="723862" y="341379"/>
                        <a:pt x="723721" y="338718"/>
                      </a:cubicBezTo>
                      <a:cubicBezTo>
                        <a:pt x="723959" y="337241"/>
                        <a:pt x="723892" y="335759"/>
                        <a:pt x="723262" y="334338"/>
                      </a:cubicBezTo>
                      <a:cubicBezTo>
                        <a:pt x="723291" y="334071"/>
                        <a:pt x="723225" y="333829"/>
                        <a:pt x="723111" y="333602"/>
                      </a:cubicBezTo>
                      <a:cubicBezTo>
                        <a:pt x="722700" y="327088"/>
                        <a:pt x="719734" y="320887"/>
                        <a:pt x="714729" y="315979"/>
                      </a:cubicBezTo>
                      <a:lnTo>
                        <a:pt x="678087" y="280035"/>
                      </a:lnTo>
                      <a:lnTo>
                        <a:pt x="668098" y="262301"/>
                      </a:lnTo>
                      <a:cubicBezTo>
                        <a:pt x="669005" y="259420"/>
                        <a:pt x="673283" y="258942"/>
                        <a:pt x="678350" y="258990"/>
                      </a:cubicBezTo>
                      <a:close/>
                      <a:moveTo>
                        <a:pt x="72174" y="72174"/>
                      </a:moveTo>
                      <a:lnTo>
                        <a:pt x="72174" y="887737"/>
                      </a:lnTo>
                      <a:lnTo>
                        <a:pt x="1402569" y="887737"/>
                      </a:lnTo>
                      <a:lnTo>
                        <a:pt x="1402569" y="72174"/>
                      </a:lnTo>
                      <a:close/>
                      <a:moveTo>
                        <a:pt x="65620" y="0"/>
                      </a:moveTo>
                      <a:lnTo>
                        <a:pt x="1416339" y="0"/>
                      </a:lnTo>
                      <a:cubicBezTo>
                        <a:pt x="1452581" y="0"/>
                        <a:pt x="1481959" y="29379"/>
                        <a:pt x="1481959" y="65621"/>
                      </a:cubicBezTo>
                      <a:lnTo>
                        <a:pt x="1481959" y="896697"/>
                      </a:lnTo>
                      <a:cubicBezTo>
                        <a:pt x="1481959" y="932938"/>
                        <a:pt x="1452581" y="962317"/>
                        <a:pt x="1416339" y="962317"/>
                      </a:cubicBezTo>
                      <a:lnTo>
                        <a:pt x="65620" y="962317"/>
                      </a:lnTo>
                      <a:cubicBezTo>
                        <a:pt x="29379" y="962317"/>
                        <a:pt x="0" y="932938"/>
                        <a:pt x="0" y="896697"/>
                      </a:cubicBezTo>
                      <a:lnTo>
                        <a:pt x="0" y="65621"/>
                      </a:lnTo>
                      <a:cubicBezTo>
                        <a:pt x="0" y="29379"/>
                        <a:pt x="29379" y="0"/>
                        <a:pt x="65620" y="0"/>
                      </a:cubicBezTo>
                      <a:close/>
                    </a:path>
                  </a:pathLst>
                </a:custGeom>
                <a:solidFill>
                  <a:schemeClr val="accent1">
                    <a:lumMod val="75000"/>
                  </a:schemeClr>
                </a:solidFill>
                <a:ln w="9525" cap="flat" cmpd="sng" algn="ctr">
                  <a:noFill/>
                  <a:prstDash val="solid"/>
                </a:ln>
                <a:effectLst/>
              </p:spPr>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auto">
                    <a:spcBef>
                      <a:spcPts val="0"/>
                    </a:spcBef>
                    <a:spcAft>
                      <a:spcPts val="0"/>
                    </a:spcAft>
                    <a:defRPr/>
                  </a:pPr>
                  <a:endParaRPr lang="en-US" sz="1398" kern="0" spc="-50" dirty="0">
                    <a:ln>
                      <a:solidFill>
                        <a:srgbClr val="FFFFFF">
                          <a:alpha val="0"/>
                        </a:srgbClr>
                      </a:solidFill>
                    </a:ln>
                    <a:solidFill>
                      <a:srgbClr val="000000"/>
                    </a:solidFill>
                    <a:latin typeface="Segoe UI"/>
                    <a:ea typeface="Segoe UI" pitchFamily="34" charset="0"/>
                    <a:cs typeface="Segoe UI" pitchFamily="34" charset="0"/>
                  </a:endParaRPr>
                </a:p>
              </p:txBody>
            </p:sp>
            <p:sp>
              <p:nvSpPr>
                <p:cNvPr id="7" name="Rectangle 6"/>
                <p:cNvSpPr/>
                <p:nvPr/>
              </p:nvSpPr>
              <p:spPr>
                <a:xfrm>
                  <a:off x="3586349" y="4480980"/>
                  <a:ext cx="995934" cy="61478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4" tIns="45706" rIns="91414" bIns="45706" numCol="1" spcCol="0" rtlCol="0" fromWordArt="0" anchor="ctr" anchorCtr="0" forceAA="0" compatLnSpc="1">
                  <a:prstTxWarp prst="textNoShape">
                    <a:avLst/>
                  </a:prstTxWarp>
                  <a:noAutofit/>
                </a:bodyPr>
                <a:lstStyle/>
                <a:p>
                  <a:pPr algn="ctr" defTabSz="931505" fontAlgn="auto">
                    <a:spcBef>
                      <a:spcPts val="0"/>
                    </a:spcBef>
                    <a:spcAft>
                      <a:spcPts val="0"/>
                    </a:spcAft>
                  </a:pPr>
                  <a:endParaRPr lang="en-US" sz="1800">
                    <a:solidFill>
                      <a:prstClr val="white"/>
                    </a:solidFill>
                  </a:endParaRPr>
                </a:p>
              </p:txBody>
            </p:sp>
          </p:grpSp>
        </p:grpSp>
        <p:sp>
          <p:nvSpPr>
            <p:cNvPr id="76" name="Rectangle 75"/>
            <p:cNvSpPr/>
            <p:nvPr/>
          </p:nvSpPr>
          <p:spPr>
            <a:xfrm>
              <a:off x="4606479" y="2781946"/>
              <a:ext cx="261054" cy="261054"/>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239" fontAlgn="auto">
                <a:spcBef>
                  <a:spcPts val="0"/>
                </a:spcBef>
                <a:spcAft>
                  <a:spcPts val="0"/>
                </a:spcAft>
              </a:pPr>
              <a:r>
                <a:rPr lang="en-IN" sz="1598" dirty="0">
                  <a:solidFill>
                    <a:prstClr val="white"/>
                  </a:solidFill>
                  <a:latin typeface="Segoe UI Semibold" panose="020B0702040204020203" pitchFamily="34" charset="0"/>
                  <a:cs typeface="Segoe UI Semibold" panose="020B0702040204020203" pitchFamily="34" charset="0"/>
                </a:rPr>
                <a:t>R</a:t>
              </a:r>
            </a:p>
          </p:txBody>
        </p:sp>
        <p:sp>
          <p:nvSpPr>
            <p:cNvPr id="78" name="TextBox 77"/>
            <p:cNvSpPr txBox="1"/>
            <p:nvPr/>
          </p:nvSpPr>
          <p:spPr>
            <a:xfrm>
              <a:off x="4229166" y="2496911"/>
              <a:ext cx="1015680" cy="282343"/>
            </a:xfrm>
            <a:prstGeom prst="rect">
              <a:avLst/>
            </a:prstGeom>
            <a:noFill/>
          </p:spPr>
          <p:txBody>
            <a:bodyPr wrap="square" rtlCol="0">
              <a:spAutoFit/>
            </a:bodyPr>
            <a:lstStyle/>
            <a:p>
              <a:pPr algn="ctr" defTabSz="932239" fontAlgn="auto">
                <a:spcBef>
                  <a:spcPts val="0"/>
                </a:spcBef>
                <a:spcAft>
                  <a:spcPts val="0"/>
                </a:spcAft>
              </a:pPr>
              <a:r>
                <a:rPr lang="en-US" sz="1198" spc="-80" dirty="0">
                  <a:solidFill>
                    <a:prstClr val="black">
                      <a:lumMod val="75000"/>
                      <a:lumOff val="25000"/>
                    </a:prstClr>
                  </a:solidFill>
                  <a:latin typeface="Segoe UI" panose="020B0502040204020203" pitchFamily="34" charset="0"/>
                  <a:cs typeface="Segoe UI" panose="020B0502040204020203" pitchFamily="34" charset="0"/>
                </a:rPr>
                <a:t>R Integration</a:t>
              </a:r>
            </a:p>
          </p:txBody>
        </p:sp>
      </p:grpSp>
      <p:grpSp>
        <p:nvGrpSpPr>
          <p:cNvPr id="88" name="Group 87"/>
          <p:cNvGrpSpPr>
            <a:grpSpLocks noChangeAspect="1"/>
          </p:cNvGrpSpPr>
          <p:nvPr/>
        </p:nvGrpSpPr>
        <p:grpSpPr>
          <a:xfrm>
            <a:off x="3901865" y="4362166"/>
            <a:ext cx="357147" cy="397400"/>
            <a:chOff x="8673628" y="6329424"/>
            <a:chExt cx="407298" cy="453200"/>
          </a:xfrm>
        </p:grpSpPr>
        <p:sp>
          <p:nvSpPr>
            <p:cNvPr id="94" name="Rectangle 153"/>
            <p:cNvSpPr/>
            <p:nvPr/>
          </p:nvSpPr>
          <p:spPr>
            <a:xfrm>
              <a:off x="8698044" y="6346031"/>
              <a:ext cx="310801" cy="359416"/>
            </a:xfrm>
            <a:custGeom>
              <a:avLst/>
              <a:gdLst>
                <a:gd name="connsiteX0" fmla="*/ 0 w 300129"/>
                <a:gd name="connsiteY0" fmla="*/ 0 h 384583"/>
                <a:gd name="connsiteX1" fmla="*/ 300129 w 300129"/>
                <a:gd name="connsiteY1" fmla="*/ 0 h 384583"/>
                <a:gd name="connsiteX2" fmla="*/ 300129 w 300129"/>
                <a:gd name="connsiteY2" fmla="*/ 384583 h 384583"/>
                <a:gd name="connsiteX3" fmla="*/ 0 w 300129"/>
                <a:gd name="connsiteY3" fmla="*/ 384583 h 384583"/>
                <a:gd name="connsiteX4" fmla="*/ 0 w 300129"/>
                <a:gd name="connsiteY4" fmla="*/ 0 h 384583"/>
                <a:gd name="connsiteX0" fmla="*/ 0 w 300129"/>
                <a:gd name="connsiteY0" fmla="*/ 0 h 384583"/>
                <a:gd name="connsiteX1" fmla="*/ 300129 w 300129"/>
                <a:gd name="connsiteY1" fmla="*/ 0 h 384583"/>
                <a:gd name="connsiteX2" fmla="*/ 266792 w 300129"/>
                <a:gd name="connsiteY2" fmla="*/ 339339 h 384583"/>
                <a:gd name="connsiteX3" fmla="*/ 0 w 300129"/>
                <a:gd name="connsiteY3" fmla="*/ 384583 h 384583"/>
                <a:gd name="connsiteX4" fmla="*/ 0 w 300129"/>
                <a:gd name="connsiteY4" fmla="*/ 0 h 384583"/>
                <a:gd name="connsiteX0" fmla="*/ 0 w 300129"/>
                <a:gd name="connsiteY0" fmla="*/ 0 h 384583"/>
                <a:gd name="connsiteX1" fmla="*/ 300129 w 300129"/>
                <a:gd name="connsiteY1" fmla="*/ 0 h 384583"/>
                <a:gd name="connsiteX2" fmla="*/ 266792 w 300129"/>
                <a:gd name="connsiteY2" fmla="*/ 339339 h 384583"/>
                <a:gd name="connsiteX3" fmla="*/ 0 w 300129"/>
                <a:gd name="connsiteY3" fmla="*/ 384583 h 384583"/>
                <a:gd name="connsiteX4" fmla="*/ 0 w 300129"/>
                <a:gd name="connsiteY4" fmla="*/ 0 h 384583"/>
                <a:gd name="connsiteX0" fmla="*/ 0 w 311074"/>
                <a:gd name="connsiteY0" fmla="*/ 0 h 384583"/>
                <a:gd name="connsiteX1" fmla="*/ 300129 w 311074"/>
                <a:gd name="connsiteY1" fmla="*/ 0 h 384583"/>
                <a:gd name="connsiteX2" fmla="*/ 266792 w 311074"/>
                <a:gd name="connsiteY2" fmla="*/ 339339 h 384583"/>
                <a:gd name="connsiteX3" fmla="*/ 0 w 311074"/>
                <a:gd name="connsiteY3" fmla="*/ 384583 h 384583"/>
                <a:gd name="connsiteX4" fmla="*/ 0 w 311074"/>
                <a:gd name="connsiteY4" fmla="*/ 0 h 384583"/>
                <a:gd name="connsiteX0" fmla="*/ 0 w 321872"/>
                <a:gd name="connsiteY0" fmla="*/ 0 h 384583"/>
                <a:gd name="connsiteX1" fmla="*/ 300129 w 321872"/>
                <a:gd name="connsiteY1" fmla="*/ 0 h 384583"/>
                <a:gd name="connsiteX2" fmla="*/ 266792 w 321872"/>
                <a:gd name="connsiteY2" fmla="*/ 339339 h 384583"/>
                <a:gd name="connsiteX3" fmla="*/ 0 w 321872"/>
                <a:gd name="connsiteY3" fmla="*/ 384583 h 384583"/>
                <a:gd name="connsiteX4" fmla="*/ 0 w 321872"/>
                <a:gd name="connsiteY4" fmla="*/ 0 h 384583"/>
                <a:gd name="connsiteX0" fmla="*/ 0 w 300129"/>
                <a:gd name="connsiteY0" fmla="*/ 0 h 384583"/>
                <a:gd name="connsiteX1" fmla="*/ 300129 w 300129"/>
                <a:gd name="connsiteY1" fmla="*/ 0 h 384583"/>
                <a:gd name="connsiteX2" fmla="*/ 0 w 300129"/>
                <a:gd name="connsiteY2" fmla="*/ 384583 h 384583"/>
                <a:gd name="connsiteX3" fmla="*/ 0 w 300129"/>
                <a:gd name="connsiteY3" fmla="*/ 0 h 384583"/>
                <a:gd name="connsiteX0" fmla="*/ 0 w 302713"/>
                <a:gd name="connsiteY0" fmla="*/ 0 h 384583"/>
                <a:gd name="connsiteX1" fmla="*/ 300129 w 302713"/>
                <a:gd name="connsiteY1" fmla="*/ 0 h 384583"/>
                <a:gd name="connsiteX2" fmla="*/ 0 w 302713"/>
                <a:gd name="connsiteY2" fmla="*/ 384583 h 384583"/>
                <a:gd name="connsiteX3" fmla="*/ 0 w 302713"/>
                <a:gd name="connsiteY3" fmla="*/ 0 h 384583"/>
                <a:gd name="connsiteX0" fmla="*/ 0 w 302915"/>
                <a:gd name="connsiteY0" fmla="*/ 0 h 384688"/>
                <a:gd name="connsiteX1" fmla="*/ 300129 w 302915"/>
                <a:gd name="connsiteY1" fmla="*/ 0 h 384688"/>
                <a:gd name="connsiteX2" fmla="*/ 0 w 302915"/>
                <a:gd name="connsiteY2" fmla="*/ 384583 h 384688"/>
                <a:gd name="connsiteX3" fmla="*/ 0 w 302915"/>
                <a:gd name="connsiteY3" fmla="*/ 0 h 384688"/>
                <a:gd name="connsiteX0" fmla="*/ 0 w 303865"/>
                <a:gd name="connsiteY0" fmla="*/ 0 h 384688"/>
                <a:gd name="connsiteX1" fmla="*/ 300129 w 303865"/>
                <a:gd name="connsiteY1" fmla="*/ 0 h 384688"/>
                <a:gd name="connsiteX2" fmla="*/ 0 w 303865"/>
                <a:gd name="connsiteY2" fmla="*/ 384583 h 384688"/>
                <a:gd name="connsiteX3" fmla="*/ 0 w 303865"/>
                <a:gd name="connsiteY3" fmla="*/ 0 h 384688"/>
                <a:gd name="connsiteX0" fmla="*/ 0 w 303865"/>
                <a:gd name="connsiteY0" fmla="*/ 0 h 384700"/>
                <a:gd name="connsiteX1" fmla="*/ 300129 w 303865"/>
                <a:gd name="connsiteY1" fmla="*/ 0 h 384700"/>
                <a:gd name="connsiteX2" fmla="*/ 0 w 303865"/>
                <a:gd name="connsiteY2" fmla="*/ 384583 h 384700"/>
                <a:gd name="connsiteX3" fmla="*/ 0 w 303865"/>
                <a:gd name="connsiteY3" fmla="*/ 0 h 384700"/>
                <a:gd name="connsiteX0" fmla="*/ 0 w 304322"/>
                <a:gd name="connsiteY0" fmla="*/ 0 h 384583"/>
                <a:gd name="connsiteX1" fmla="*/ 300129 w 304322"/>
                <a:gd name="connsiteY1" fmla="*/ 0 h 384583"/>
                <a:gd name="connsiteX2" fmla="*/ 0 w 304322"/>
                <a:gd name="connsiteY2" fmla="*/ 384583 h 384583"/>
                <a:gd name="connsiteX3" fmla="*/ 0 w 304322"/>
                <a:gd name="connsiteY3" fmla="*/ 0 h 384583"/>
                <a:gd name="connsiteX0" fmla="*/ 0 w 301605"/>
                <a:gd name="connsiteY0" fmla="*/ 0 h 384583"/>
                <a:gd name="connsiteX1" fmla="*/ 300129 w 301605"/>
                <a:gd name="connsiteY1" fmla="*/ 0 h 384583"/>
                <a:gd name="connsiteX2" fmla="*/ 0 w 301605"/>
                <a:gd name="connsiteY2" fmla="*/ 384583 h 384583"/>
                <a:gd name="connsiteX3" fmla="*/ 0 w 301605"/>
                <a:gd name="connsiteY3" fmla="*/ 0 h 384583"/>
                <a:gd name="connsiteX0" fmla="*/ 0 w 301447"/>
                <a:gd name="connsiteY0" fmla="*/ 0 h 402570"/>
                <a:gd name="connsiteX1" fmla="*/ 300129 w 301447"/>
                <a:gd name="connsiteY1" fmla="*/ 0 h 402570"/>
                <a:gd name="connsiteX2" fmla="*/ 0 w 301447"/>
                <a:gd name="connsiteY2" fmla="*/ 384583 h 402570"/>
                <a:gd name="connsiteX3" fmla="*/ 0 w 301447"/>
                <a:gd name="connsiteY3" fmla="*/ 0 h 402570"/>
                <a:gd name="connsiteX0" fmla="*/ 2234 w 303665"/>
                <a:gd name="connsiteY0" fmla="*/ 0 h 410060"/>
                <a:gd name="connsiteX1" fmla="*/ 302363 w 303665"/>
                <a:gd name="connsiteY1" fmla="*/ 0 h 410060"/>
                <a:gd name="connsiteX2" fmla="*/ 0 w 303665"/>
                <a:gd name="connsiteY2" fmla="*/ 392382 h 410060"/>
                <a:gd name="connsiteX3" fmla="*/ 2234 w 303665"/>
                <a:gd name="connsiteY3" fmla="*/ 0 h 410060"/>
                <a:gd name="connsiteX0" fmla="*/ 2234 w 303680"/>
                <a:gd name="connsiteY0" fmla="*/ 0 h 403956"/>
                <a:gd name="connsiteX1" fmla="*/ 302363 w 303680"/>
                <a:gd name="connsiteY1" fmla="*/ 0 h 403956"/>
                <a:gd name="connsiteX2" fmla="*/ 0 w 303680"/>
                <a:gd name="connsiteY2" fmla="*/ 392382 h 403956"/>
                <a:gd name="connsiteX3" fmla="*/ 2234 w 303680"/>
                <a:gd name="connsiteY3" fmla="*/ 0 h 403956"/>
                <a:gd name="connsiteX0" fmla="*/ 2234 w 303782"/>
                <a:gd name="connsiteY0" fmla="*/ 0 h 392382"/>
                <a:gd name="connsiteX1" fmla="*/ 302363 w 303782"/>
                <a:gd name="connsiteY1" fmla="*/ 0 h 392382"/>
                <a:gd name="connsiteX2" fmla="*/ 0 w 303782"/>
                <a:gd name="connsiteY2" fmla="*/ 392382 h 392382"/>
                <a:gd name="connsiteX3" fmla="*/ 2234 w 303782"/>
                <a:gd name="connsiteY3" fmla="*/ 0 h 392382"/>
                <a:gd name="connsiteX0" fmla="*/ 2234 w 302363"/>
                <a:gd name="connsiteY0" fmla="*/ 0 h 392382"/>
                <a:gd name="connsiteX1" fmla="*/ 302363 w 302363"/>
                <a:gd name="connsiteY1" fmla="*/ 0 h 392382"/>
                <a:gd name="connsiteX2" fmla="*/ 0 w 302363"/>
                <a:gd name="connsiteY2" fmla="*/ 392382 h 392382"/>
                <a:gd name="connsiteX3" fmla="*/ 2234 w 302363"/>
                <a:gd name="connsiteY3" fmla="*/ 0 h 392382"/>
              </a:gdLst>
              <a:ahLst/>
              <a:cxnLst>
                <a:cxn ang="0">
                  <a:pos x="connsiteX0" y="connsiteY0"/>
                </a:cxn>
                <a:cxn ang="0">
                  <a:pos x="connsiteX1" y="connsiteY1"/>
                </a:cxn>
                <a:cxn ang="0">
                  <a:pos x="connsiteX2" y="connsiteY2"/>
                </a:cxn>
                <a:cxn ang="0">
                  <a:pos x="connsiteX3" y="connsiteY3"/>
                </a:cxn>
              </a:cxnLst>
              <a:rect l="l" t="t" r="r" b="b"/>
              <a:pathLst>
                <a:path w="302363" h="392382">
                  <a:moveTo>
                    <a:pt x="2234" y="0"/>
                  </a:moveTo>
                  <a:lnTo>
                    <a:pt x="302363" y="0"/>
                  </a:lnTo>
                  <a:cubicBezTo>
                    <a:pt x="255395" y="120404"/>
                    <a:pt x="167159" y="364972"/>
                    <a:pt x="0" y="392382"/>
                  </a:cubicBezTo>
                  <a:cubicBezTo>
                    <a:pt x="745" y="261588"/>
                    <a:pt x="1489" y="130794"/>
                    <a:pt x="2234" y="0"/>
                  </a:cubicBezTo>
                  <a:close/>
                </a:path>
              </a:pathLst>
            </a:custGeom>
            <a:ln>
              <a:noFill/>
            </a:ln>
          </p:spPr>
          <p:style>
            <a:lnRef idx="2">
              <a:schemeClr val="accent1"/>
            </a:lnRef>
            <a:fillRef idx="1">
              <a:schemeClr val="lt1"/>
            </a:fillRef>
            <a:effectRef idx="0">
              <a:schemeClr val="accent1"/>
            </a:effectRef>
            <a:fontRef idx="minor">
              <a:schemeClr val="dk1"/>
            </a:fontRef>
          </p:style>
          <p:txBody>
            <a:bodyPr lIns="18646" tIns="18646" rIns="18646" bIns="18646" rtlCol="0" anchor="t"/>
            <a:lstStyle/>
            <a:p>
              <a:pPr algn="ctr" defTabSz="932239" fontAlgn="auto">
                <a:spcBef>
                  <a:spcPts val="0"/>
                </a:spcBef>
                <a:spcAft>
                  <a:spcPts val="0"/>
                </a:spcAft>
              </a:pPr>
              <a:endParaRPr lang="en-IN" sz="612" dirty="0">
                <a:solidFill>
                  <a:srgbClr val="FF8C00"/>
                </a:solidFill>
                <a:latin typeface="Segoe UI Semibold" panose="020B0702040204020203" pitchFamily="34" charset="0"/>
                <a:cs typeface="Segoe UI Semibold" panose="020B0702040204020203" pitchFamily="34" charset="0"/>
              </a:endParaRPr>
            </a:p>
          </p:txBody>
        </p:sp>
        <p:sp>
          <p:nvSpPr>
            <p:cNvPr id="105" name="Freeform 104"/>
            <p:cNvSpPr/>
            <p:nvPr>
              <p:custDataLst>
                <p:tags r:id="rId13"/>
              </p:custDataLst>
            </p:nvPr>
          </p:nvSpPr>
          <p:spPr bwMode="auto">
            <a:xfrm rot="10800000">
              <a:off x="8673628" y="6329424"/>
              <a:ext cx="343787" cy="392623"/>
            </a:xfrm>
            <a:custGeom>
              <a:avLst/>
              <a:gdLst>
                <a:gd name="connsiteX0" fmla="*/ 342979 w 343786"/>
                <a:gd name="connsiteY0" fmla="*/ 392623 h 392623"/>
                <a:gd name="connsiteX1" fmla="*/ 29955 w 343786"/>
                <a:gd name="connsiteY1" fmla="*/ 392623 h 392623"/>
                <a:gd name="connsiteX2" fmla="*/ 105 w 343786"/>
                <a:gd name="connsiteY2" fmla="*/ 362773 h 392623"/>
                <a:gd name="connsiteX3" fmla="*/ 0 w 343786"/>
                <a:gd name="connsiteY3" fmla="*/ 328722 h 392623"/>
                <a:gd name="connsiteX4" fmla="*/ 23964 w 343786"/>
                <a:gd name="connsiteY4" fmla="*/ 328722 h 392623"/>
                <a:gd name="connsiteX5" fmla="*/ 23898 w 343786"/>
                <a:gd name="connsiteY5" fmla="*/ 345024 h 392623"/>
                <a:gd name="connsiteX6" fmla="*/ 44067 w 343786"/>
                <a:gd name="connsiteY6" fmla="*/ 369227 h 392623"/>
                <a:gd name="connsiteX7" fmla="*/ 319173 w 343786"/>
                <a:gd name="connsiteY7" fmla="*/ 367614 h 392623"/>
                <a:gd name="connsiteX8" fmla="*/ 319173 w 343786"/>
                <a:gd name="connsiteY8" fmla="*/ 51363 h 392623"/>
                <a:gd name="connsiteX9" fmla="*/ 294970 w 343786"/>
                <a:gd name="connsiteY9" fmla="*/ 23933 h 392623"/>
                <a:gd name="connsiteX10" fmla="*/ 276999 w 343786"/>
                <a:gd name="connsiteY10" fmla="*/ 23849 h 392623"/>
                <a:gd name="connsiteX11" fmla="*/ 277053 w 343786"/>
                <a:gd name="connsiteY11" fmla="*/ 0 h 392623"/>
                <a:gd name="connsiteX12" fmla="*/ 309741 w 343786"/>
                <a:gd name="connsiteY12" fmla="*/ 53 h 392623"/>
                <a:gd name="connsiteX13" fmla="*/ 343786 w 343786"/>
                <a:gd name="connsiteY13" fmla="*/ 38455 h 392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43786" h="392623">
                  <a:moveTo>
                    <a:pt x="342979" y="392623"/>
                  </a:moveTo>
                  <a:lnTo>
                    <a:pt x="29955" y="392623"/>
                  </a:lnTo>
                  <a:cubicBezTo>
                    <a:pt x="11131" y="391548"/>
                    <a:pt x="2794" y="377564"/>
                    <a:pt x="105" y="362773"/>
                  </a:cubicBezTo>
                  <a:lnTo>
                    <a:pt x="0" y="328722"/>
                  </a:lnTo>
                  <a:lnTo>
                    <a:pt x="23964" y="328722"/>
                  </a:lnTo>
                  <a:lnTo>
                    <a:pt x="23898" y="345024"/>
                  </a:lnTo>
                  <a:cubicBezTo>
                    <a:pt x="26587" y="354706"/>
                    <a:pt x="26856" y="365193"/>
                    <a:pt x="44067" y="369227"/>
                  </a:cubicBezTo>
                  <a:lnTo>
                    <a:pt x="319173" y="367614"/>
                  </a:lnTo>
                  <a:lnTo>
                    <a:pt x="319173" y="51363"/>
                  </a:lnTo>
                  <a:cubicBezTo>
                    <a:pt x="319442" y="40606"/>
                    <a:pt x="315678" y="23395"/>
                    <a:pt x="294970" y="23933"/>
                  </a:cubicBezTo>
                  <a:lnTo>
                    <a:pt x="276999" y="23849"/>
                  </a:lnTo>
                  <a:lnTo>
                    <a:pt x="277053" y="0"/>
                  </a:lnTo>
                  <a:lnTo>
                    <a:pt x="309741" y="53"/>
                  </a:lnTo>
                  <a:cubicBezTo>
                    <a:pt x="338246" y="3549"/>
                    <a:pt x="342979" y="23395"/>
                    <a:pt x="343786" y="38455"/>
                  </a:cubicBezTo>
                  <a:close/>
                </a:path>
              </a:pathLst>
            </a:custGeom>
            <a:solidFill>
              <a:schemeClr val="accent1">
                <a:lumMod val="50000"/>
              </a:schemeClr>
            </a:solidFill>
            <a:ln>
              <a:noFill/>
            </a:ln>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3234" tIns="46616" rIns="93234" bIns="46616" numCol="1" spcCol="0" rtlCol="0" fromWordArt="0" anchor="t" anchorCtr="0" forceAA="0" compatLnSpc="1">
              <a:prstTxWarp prst="textNoShape">
                <a:avLst/>
              </a:prstTxWarp>
              <a:noAutofit/>
            </a:bodyPr>
            <a:lstStyle/>
            <a:p>
              <a:pPr algn="ctr" defTabSz="932239" fontAlgn="auto">
                <a:spcBef>
                  <a:spcPts val="0"/>
                </a:spcBef>
                <a:spcAft>
                  <a:spcPts val="0"/>
                </a:spcAft>
              </a:pPr>
              <a:endParaRPr lang="en-US" sz="714">
                <a:solidFill>
                  <a:prstClr val="white"/>
                </a:solidFill>
              </a:endParaRPr>
            </a:p>
          </p:txBody>
        </p:sp>
        <p:sp>
          <p:nvSpPr>
            <p:cNvPr id="106" name="Rectangle 153"/>
            <p:cNvSpPr>
              <a:spLocks noChangeAspect="1"/>
            </p:cNvSpPr>
            <p:nvPr/>
          </p:nvSpPr>
          <p:spPr>
            <a:xfrm>
              <a:off x="8748338" y="6401358"/>
              <a:ext cx="327014" cy="362750"/>
            </a:xfrm>
            <a:custGeom>
              <a:avLst/>
              <a:gdLst>
                <a:gd name="connsiteX0" fmla="*/ 0 w 300129"/>
                <a:gd name="connsiteY0" fmla="*/ 0 h 384583"/>
                <a:gd name="connsiteX1" fmla="*/ 300129 w 300129"/>
                <a:gd name="connsiteY1" fmla="*/ 0 h 384583"/>
                <a:gd name="connsiteX2" fmla="*/ 300129 w 300129"/>
                <a:gd name="connsiteY2" fmla="*/ 384583 h 384583"/>
                <a:gd name="connsiteX3" fmla="*/ 0 w 300129"/>
                <a:gd name="connsiteY3" fmla="*/ 384583 h 384583"/>
                <a:gd name="connsiteX4" fmla="*/ 0 w 300129"/>
                <a:gd name="connsiteY4" fmla="*/ 0 h 384583"/>
                <a:gd name="connsiteX0" fmla="*/ 0 w 300129"/>
                <a:gd name="connsiteY0" fmla="*/ 0 h 384583"/>
                <a:gd name="connsiteX1" fmla="*/ 300129 w 300129"/>
                <a:gd name="connsiteY1" fmla="*/ 0 h 384583"/>
                <a:gd name="connsiteX2" fmla="*/ 266792 w 300129"/>
                <a:gd name="connsiteY2" fmla="*/ 339339 h 384583"/>
                <a:gd name="connsiteX3" fmla="*/ 0 w 300129"/>
                <a:gd name="connsiteY3" fmla="*/ 384583 h 384583"/>
                <a:gd name="connsiteX4" fmla="*/ 0 w 300129"/>
                <a:gd name="connsiteY4" fmla="*/ 0 h 384583"/>
                <a:gd name="connsiteX0" fmla="*/ 0 w 300129"/>
                <a:gd name="connsiteY0" fmla="*/ 0 h 384583"/>
                <a:gd name="connsiteX1" fmla="*/ 300129 w 300129"/>
                <a:gd name="connsiteY1" fmla="*/ 0 h 384583"/>
                <a:gd name="connsiteX2" fmla="*/ 266792 w 300129"/>
                <a:gd name="connsiteY2" fmla="*/ 339339 h 384583"/>
                <a:gd name="connsiteX3" fmla="*/ 0 w 300129"/>
                <a:gd name="connsiteY3" fmla="*/ 384583 h 384583"/>
                <a:gd name="connsiteX4" fmla="*/ 0 w 300129"/>
                <a:gd name="connsiteY4" fmla="*/ 0 h 384583"/>
                <a:gd name="connsiteX0" fmla="*/ 0 w 311074"/>
                <a:gd name="connsiteY0" fmla="*/ 0 h 384583"/>
                <a:gd name="connsiteX1" fmla="*/ 300129 w 311074"/>
                <a:gd name="connsiteY1" fmla="*/ 0 h 384583"/>
                <a:gd name="connsiteX2" fmla="*/ 266792 w 311074"/>
                <a:gd name="connsiteY2" fmla="*/ 339339 h 384583"/>
                <a:gd name="connsiteX3" fmla="*/ 0 w 311074"/>
                <a:gd name="connsiteY3" fmla="*/ 384583 h 384583"/>
                <a:gd name="connsiteX4" fmla="*/ 0 w 311074"/>
                <a:gd name="connsiteY4" fmla="*/ 0 h 384583"/>
                <a:gd name="connsiteX0" fmla="*/ 0 w 321872"/>
                <a:gd name="connsiteY0" fmla="*/ 0 h 384583"/>
                <a:gd name="connsiteX1" fmla="*/ 300129 w 321872"/>
                <a:gd name="connsiteY1" fmla="*/ 0 h 384583"/>
                <a:gd name="connsiteX2" fmla="*/ 266792 w 321872"/>
                <a:gd name="connsiteY2" fmla="*/ 339339 h 384583"/>
                <a:gd name="connsiteX3" fmla="*/ 0 w 321872"/>
                <a:gd name="connsiteY3" fmla="*/ 384583 h 384583"/>
                <a:gd name="connsiteX4" fmla="*/ 0 w 321872"/>
                <a:gd name="connsiteY4" fmla="*/ 0 h 3845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872" h="384583">
                  <a:moveTo>
                    <a:pt x="0" y="0"/>
                  </a:moveTo>
                  <a:lnTo>
                    <a:pt x="300129" y="0"/>
                  </a:lnTo>
                  <a:cubicBezTo>
                    <a:pt x="319973" y="53582"/>
                    <a:pt x="349341" y="276233"/>
                    <a:pt x="266792" y="339339"/>
                  </a:cubicBezTo>
                  <a:cubicBezTo>
                    <a:pt x="204055" y="397282"/>
                    <a:pt x="88931" y="369502"/>
                    <a:pt x="0" y="384583"/>
                  </a:cubicBezTo>
                  <a:lnTo>
                    <a:pt x="0" y="0"/>
                  </a:lnTo>
                  <a:close/>
                </a:path>
              </a:pathLst>
            </a:custGeom>
            <a:ln>
              <a:noFill/>
            </a:ln>
          </p:spPr>
          <p:style>
            <a:lnRef idx="2">
              <a:schemeClr val="accent1"/>
            </a:lnRef>
            <a:fillRef idx="1">
              <a:schemeClr val="lt1"/>
            </a:fillRef>
            <a:effectRef idx="0">
              <a:schemeClr val="accent1"/>
            </a:effectRef>
            <a:fontRef idx="minor">
              <a:schemeClr val="dk1"/>
            </a:fontRef>
          </p:style>
          <p:txBody>
            <a:bodyPr lIns="18646" tIns="18646" rIns="18646" bIns="18646" rtlCol="0" anchor="t"/>
            <a:lstStyle/>
            <a:p>
              <a:pPr algn="ctr" defTabSz="932239" fontAlgn="auto">
                <a:spcBef>
                  <a:spcPts val="0"/>
                </a:spcBef>
                <a:spcAft>
                  <a:spcPts val="0"/>
                </a:spcAft>
              </a:pPr>
              <a:r>
                <a:rPr lang="en-IN" sz="612" dirty="0">
                  <a:solidFill>
                    <a:srgbClr val="003963"/>
                  </a:solidFill>
                  <a:latin typeface="Segoe UI Semibold" panose="020B0702040204020203" pitchFamily="34" charset="0"/>
                  <a:cs typeface="Segoe UI Semibold" panose="020B0702040204020203" pitchFamily="34" charset="0"/>
                </a:rPr>
                <a:t>010010</a:t>
              </a:r>
            </a:p>
            <a:p>
              <a:pPr algn="ctr" defTabSz="932239" fontAlgn="auto">
                <a:spcBef>
                  <a:spcPts val="0"/>
                </a:spcBef>
                <a:spcAft>
                  <a:spcPts val="0"/>
                </a:spcAft>
              </a:pPr>
              <a:r>
                <a:rPr lang="en-IN" sz="612" dirty="0">
                  <a:solidFill>
                    <a:srgbClr val="003963"/>
                  </a:solidFill>
                  <a:latin typeface="Segoe UI Semibold" panose="020B0702040204020203" pitchFamily="34" charset="0"/>
                  <a:cs typeface="Segoe UI Semibold" panose="020B0702040204020203" pitchFamily="34" charset="0"/>
                </a:rPr>
                <a:t>100100</a:t>
              </a:r>
            </a:p>
            <a:p>
              <a:pPr algn="ctr" defTabSz="932239" fontAlgn="auto">
                <a:spcBef>
                  <a:spcPts val="0"/>
                </a:spcBef>
                <a:spcAft>
                  <a:spcPts val="0"/>
                </a:spcAft>
              </a:pPr>
              <a:r>
                <a:rPr lang="en-IN" sz="612" dirty="0">
                  <a:solidFill>
                    <a:srgbClr val="003963"/>
                  </a:solidFill>
                  <a:latin typeface="Segoe UI Semibold" panose="020B0702040204020203" pitchFamily="34" charset="0"/>
                  <a:cs typeface="Segoe UI Semibold" panose="020B0702040204020203" pitchFamily="34" charset="0"/>
                </a:rPr>
                <a:t>010101</a:t>
              </a:r>
            </a:p>
          </p:txBody>
        </p:sp>
        <p:sp>
          <p:nvSpPr>
            <p:cNvPr id="107" name="Freeform 106"/>
            <p:cNvSpPr/>
            <p:nvPr>
              <p:custDataLst>
                <p:tags r:id="rId14"/>
              </p:custDataLst>
            </p:nvPr>
          </p:nvSpPr>
          <p:spPr bwMode="auto">
            <a:xfrm rot="10800000">
              <a:off x="8736438" y="6389731"/>
              <a:ext cx="344488" cy="392893"/>
            </a:xfrm>
            <a:custGeom>
              <a:avLst/>
              <a:gdLst>
                <a:gd name="connsiteX0" fmla="*/ 304539 w 847199"/>
                <a:gd name="connsiteY0" fmla="*/ 57538 h 966241"/>
                <a:gd name="connsiteX1" fmla="*/ 302555 w 847199"/>
                <a:gd name="connsiteY1" fmla="*/ 230813 h 966241"/>
                <a:gd name="connsiteX2" fmla="*/ 239727 w 847199"/>
                <a:gd name="connsiteY2" fmla="*/ 276447 h 966241"/>
                <a:gd name="connsiteX3" fmla="*/ 62813 w 847199"/>
                <a:gd name="connsiteY3" fmla="*/ 276116 h 966241"/>
                <a:gd name="connsiteX4" fmla="*/ 60499 w 847199"/>
                <a:gd name="connsiteY4" fmla="*/ 849181 h 966241"/>
                <a:gd name="connsiteX5" fmla="*/ 110100 w 847199"/>
                <a:gd name="connsiteY5" fmla="*/ 908703 h 966241"/>
                <a:gd name="connsiteX6" fmla="*/ 786669 w 847199"/>
                <a:gd name="connsiteY6" fmla="*/ 904735 h 966241"/>
                <a:gd name="connsiteX7" fmla="*/ 786669 w 847199"/>
                <a:gd name="connsiteY7" fmla="*/ 126980 h 966241"/>
                <a:gd name="connsiteX8" fmla="*/ 727147 w 847199"/>
                <a:gd name="connsiteY8" fmla="*/ 59522 h 966241"/>
                <a:gd name="connsiteX9" fmla="*/ 279755 w 847199"/>
                <a:gd name="connsiteY9" fmla="*/ 0 h 966241"/>
                <a:gd name="connsiteX10" fmla="*/ 763472 w 847199"/>
                <a:gd name="connsiteY10" fmla="*/ 794 h 966241"/>
                <a:gd name="connsiteX11" fmla="*/ 847199 w 847199"/>
                <a:gd name="connsiteY11" fmla="*/ 95235 h 966241"/>
                <a:gd name="connsiteX12" fmla="*/ 845215 w 847199"/>
                <a:gd name="connsiteY12" fmla="*/ 966241 h 966241"/>
                <a:gd name="connsiteX13" fmla="*/ 75395 w 847199"/>
                <a:gd name="connsiteY13" fmla="*/ 966241 h 966241"/>
                <a:gd name="connsiteX14" fmla="*/ 1984 w 847199"/>
                <a:gd name="connsiteY14" fmla="*/ 892830 h 966241"/>
                <a:gd name="connsiteX15" fmla="*/ 0 w 847199"/>
                <a:gd name="connsiteY15" fmla="*/ 248008 h 966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47199" h="966241">
                  <a:moveTo>
                    <a:pt x="304539" y="57538"/>
                  </a:moveTo>
                  <a:cubicBezTo>
                    <a:pt x="303878" y="115738"/>
                    <a:pt x="305862" y="171291"/>
                    <a:pt x="302555" y="230813"/>
                  </a:cubicBezTo>
                  <a:cubicBezTo>
                    <a:pt x="295942" y="265865"/>
                    <a:pt x="283376" y="273140"/>
                    <a:pt x="239727" y="276447"/>
                  </a:cubicBezTo>
                  <a:lnTo>
                    <a:pt x="62813" y="276116"/>
                  </a:lnTo>
                  <a:cubicBezTo>
                    <a:pt x="62373" y="466807"/>
                    <a:pt x="60940" y="658490"/>
                    <a:pt x="60499" y="849181"/>
                  </a:cubicBezTo>
                  <a:cubicBezTo>
                    <a:pt x="67112" y="872990"/>
                    <a:pt x="67773" y="898783"/>
                    <a:pt x="110100" y="908703"/>
                  </a:cubicBezTo>
                  <a:lnTo>
                    <a:pt x="786669" y="904735"/>
                  </a:lnTo>
                  <a:lnTo>
                    <a:pt x="786669" y="126980"/>
                  </a:lnTo>
                  <a:cubicBezTo>
                    <a:pt x="787330" y="100526"/>
                    <a:pt x="778072" y="58199"/>
                    <a:pt x="727147" y="59522"/>
                  </a:cubicBezTo>
                  <a:close/>
                  <a:moveTo>
                    <a:pt x="279755" y="0"/>
                  </a:moveTo>
                  <a:lnTo>
                    <a:pt x="763472" y="794"/>
                  </a:lnTo>
                  <a:cubicBezTo>
                    <a:pt x="833575" y="9391"/>
                    <a:pt x="845215" y="58199"/>
                    <a:pt x="847199" y="95235"/>
                  </a:cubicBezTo>
                  <a:lnTo>
                    <a:pt x="845215" y="966241"/>
                  </a:lnTo>
                  <a:lnTo>
                    <a:pt x="75395" y="966241"/>
                  </a:lnTo>
                  <a:cubicBezTo>
                    <a:pt x="29100" y="963596"/>
                    <a:pt x="8598" y="929205"/>
                    <a:pt x="1984" y="892830"/>
                  </a:cubicBezTo>
                  <a:lnTo>
                    <a:pt x="0" y="248008"/>
                  </a:lnTo>
                  <a:close/>
                </a:path>
              </a:pathLst>
            </a:custGeom>
            <a:solidFill>
              <a:schemeClr val="accent1">
                <a:lumMod val="50000"/>
              </a:schemeClr>
            </a:solidFill>
            <a:ln>
              <a:noFill/>
            </a:ln>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3234" tIns="46616" rIns="93234" bIns="46616" numCol="1" spcCol="0" rtlCol="0" fromWordArt="0" anchor="t" anchorCtr="0" forceAA="0" compatLnSpc="1">
              <a:prstTxWarp prst="textNoShape">
                <a:avLst/>
              </a:prstTxWarp>
              <a:noAutofit/>
            </a:bodyPr>
            <a:lstStyle/>
            <a:p>
              <a:pPr algn="ctr" defTabSz="932239" fontAlgn="auto">
                <a:spcBef>
                  <a:spcPts val="0"/>
                </a:spcBef>
                <a:spcAft>
                  <a:spcPts val="0"/>
                </a:spcAft>
              </a:pPr>
              <a:endParaRPr lang="en-US" sz="714">
                <a:solidFill>
                  <a:prstClr val="white"/>
                </a:solidFill>
              </a:endParaRPr>
            </a:p>
          </p:txBody>
        </p:sp>
      </p:grpSp>
      <p:grpSp>
        <p:nvGrpSpPr>
          <p:cNvPr id="15" name="Group 14"/>
          <p:cNvGrpSpPr/>
          <p:nvPr/>
        </p:nvGrpSpPr>
        <p:grpSpPr>
          <a:xfrm>
            <a:off x="7751618" y="2085173"/>
            <a:ext cx="4057089" cy="2747150"/>
            <a:chOff x="7754636" y="2084599"/>
            <a:chExt cx="4057089" cy="2747150"/>
          </a:xfrm>
        </p:grpSpPr>
        <p:sp>
          <p:nvSpPr>
            <p:cNvPr id="75" name="Freeform 74"/>
            <p:cNvSpPr>
              <a:spLocks/>
            </p:cNvSpPr>
            <p:nvPr/>
          </p:nvSpPr>
          <p:spPr bwMode="auto">
            <a:xfrm>
              <a:off x="7754636" y="2084599"/>
              <a:ext cx="4057089" cy="2710092"/>
            </a:xfrm>
            <a:custGeom>
              <a:avLst/>
              <a:gdLst>
                <a:gd name="T0" fmla="*/ 3780 w 3790"/>
                <a:gd name="T1" fmla="*/ 1582 h 2332"/>
                <a:gd name="T2" fmla="*/ 3710 w 3790"/>
                <a:gd name="T3" fmla="*/ 1358 h 2332"/>
                <a:gd name="T4" fmla="*/ 3580 w 3790"/>
                <a:gd name="T5" fmla="*/ 1158 h 2332"/>
                <a:gd name="T6" fmla="*/ 3400 w 3790"/>
                <a:gd name="T7" fmla="*/ 1004 h 2332"/>
                <a:gd name="T8" fmla="*/ 3286 w 3790"/>
                <a:gd name="T9" fmla="*/ 944 h 2332"/>
                <a:gd name="T10" fmla="*/ 3280 w 3790"/>
                <a:gd name="T11" fmla="*/ 908 h 2332"/>
                <a:gd name="T12" fmla="*/ 3260 w 3790"/>
                <a:gd name="T13" fmla="*/ 796 h 2332"/>
                <a:gd name="T14" fmla="*/ 3220 w 3790"/>
                <a:gd name="T15" fmla="*/ 690 h 2332"/>
                <a:gd name="T16" fmla="*/ 3162 w 3790"/>
                <a:gd name="T17" fmla="*/ 596 h 2332"/>
                <a:gd name="T18" fmla="*/ 3088 w 3790"/>
                <a:gd name="T19" fmla="*/ 516 h 2332"/>
                <a:gd name="T20" fmla="*/ 2998 w 3790"/>
                <a:gd name="T21" fmla="*/ 450 h 2332"/>
                <a:gd name="T22" fmla="*/ 2898 w 3790"/>
                <a:gd name="T23" fmla="*/ 402 h 2332"/>
                <a:gd name="T24" fmla="*/ 2788 w 3790"/>
                <a:gd name="T25" fmla="*/ 374 h 2332"/>
                <a:gd name="T26" fmla="*/ 2700 w 3790"/>
                <a:gd name="T27" fmla="*/ 368 h 2332"/>
                <a:gd name="T28" fmla="*/ 2522 w 3790"/>
                <a:gd name="T29" fmla="*/ 396 h 2332"/>
                <a:gd name="T30" fmla="*/ 2366 w 3790"/>
                <a:gd name="T31" fmla="*/ 472 h 2332"/>
                <a:gd name="T32" fmla="*/ 2256 w 3790"/>
                <a:gd name="T33" fmla="*/ 324 h 2332"/>
                <a:gd name="T34" fmla="*/ 2070 w 3790"/>
                <a:gd name="T35" fmla="*/ 164 h 2332"/>
                <a:gd name="T36" fmla="*/ 1848 w 3790"/>
                <a:gd name="T37" fmla="*/ 54 h 2332"/>
                <a:gd name="T38" fmla="*/ 1596 w 3790"/>
                <a:gd name="T39" fmla="*/ 2 h 2332"/>
                <a:gd name="T40" fmla="*/ 1430 w 3790"/>
                <a:gd name="T41" fmla="*/ 6 h 2332"/>
                <a:gd name="T42" fmla="*/ 1240 w 3790"/>
                <a:gd name="T43" fmla="*/ 44 h 2332"/>
                <a:gd name="T44" fmla="*/ 1064 w 3790"/>
                <a:gd name="T45" fmla="*/ 118 h 2332"/>
                <a:gd name="T46" fmla="*/ 908 w 3790"/>
                <a:gd name="T47" fmla="*/ 224 h 2332"/>
                <a:gd name="T48" fmla="*/ 776 w 3790"/>
                <a:gd name="T49" fmla="*/ 356 h 2332"/>
                <a:gd name="T50" fmla="*/ 672 w 3790"/>
                <a:gd name="T51" fmla="*/ 512 h 2332"/>
                <a:gd name="T52" fmla="*/ 598 w 3790"/>
                <a:gd name="T53" fmla="*/ 688 h 2332"/>
                <a:gd name="T54" fmla="*/ 558 w 3790"/>
                <a:gd name="T55" fmla="*/ 878 h 2332"/>
                <a:gd name="T56" fmla="*/ 554 w 3790"/>
                <a:gd name="T57" fmla="*/ 1012 h 2332"/>
                <a:gd name="T58" fmla="*/ 560 w 3790"/>
                <a:gd name="T59" fmla="*/ 1056 h 2332"/>
                <a:gd name="T60" fmla="*/ 388 w 3790"/>
                <a:gd name="T61" fmla="*/ 1120 h 2332"/>
                <a:gd name="T62" fmla="*/ 198 w 3790"/>
                <a:gd name="T63" fmla="*/ 1252 h 2332"/>
                <a:gd name="T64" fmla="*/ 92 w 3790"/>
                <a:gd name="T65" fmla="*/ 1384 h 2332"/>
                <a:gd name="T66" fmla="*/ 42 w 3790"/>
                <a:gd name="T67" fmla="*/ 1484 h 2332"/>
                <a:gd name="T68" fmla="*/ 10 w 3790"/>
                <a:gd name="T69" fmla="*/ 1594 h 2332"/>
                <a:gd name="T70" fmla="*/ 0 w 3790"/>
                <a:gd name="T71" fmla="*/ 1712 h 2332"/>
                <a:gd name="T72" fmla="*/ 8 w 3790"/>
                <a:gd name="T73" fmla="*/ 1816 h 2332"/>
                <a:gd name="T74" fmla="*/ 44 w 3790"/>
                <a:gd name="T75" fmla="*/ 1942 h 2332"/>
                <a:gd name="T76" fmla="*/ 106 w 3790"/>
                <a:gd name="T77" fmla="*/ 2052 h 2332"/>
                <a:gd name="T78" fmla="*/ 192 w 3790"/>
                <a:gd name="T79" fmla="*/ 2146 h 2332"/>
                <a:gd name="T80" fmla="*/ 298 w 3790"/>
                <a:gd name="T81" fmla="*/ 2222 h 2332"/>
                <a:gd name="T82" fmla="*/ 420 w 3790"/>
                <a:gd name="T83" fmla="*/ 2278 h 2332"/>
                <a:gd name="T84" fmla="*/ 558 w 3790"/>
                <a:gd name="T85" fmla="*/ 2316 h 2332"/>
                <a:gd name="T86" fmla="*/ 706 w 3790"/>
                <a:gd name="T87" fmla="*/ 2332 h 2332"/>
                <a:gd name="T88" fmla="*/ 3106 w 3790"/>
                <a:gd name="T89" fmla="*/ 2322 h 2332"/>
                <a:gd name="T90" fmla="*/ 3360 w 3790"/>
                <a:gd name="T91" fmla="*/ 2260 h 2332"/>
                <a:gd name="T92" fmla="*/ 3486 w 3790"/>
                <a:gd name="T93" fmla="*/ 2204 h 2332"/>
                <a:gd name="T94" fmla="*/ 3594 w 3790"/>
                <a:gd name="T95" fmla="*/ 2132 h 2332"/>
                <a:gd name="T96" fmla="*/ 3682 w 3790"/>
                <a:gd name="T97" fmla="*/ 2044 h 2332"/>
                <a:gd name="T98" fmla="*/ 3744 w 3790"/>
                <a:gd name="T99" fmla="*/ 1936 h 2332"/>
                <a:gd name="T100" fmla="*/ 3782 w 3790"/>
                <a:gd name="T101" fmla="*/ 1810 h 2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790" h="2332">
                  <a:moveTo>
                    <a:pt x="3790" y="1700"/>
                  </a:moveTo>
                  <a:lnTo>
                    <a:pt x="3790" y="1700"/>
                  </a:lnTo>
                  <a:lnTo>
                    <a:pt x="3788" y="1642"/>
                  </a:lnTo>
                  <a:lnTo>
                    <a:pt x="3780" y="1582"/>
                  </a:lnTo>
                  <a:lnTo>
                    <a:pt x="3770" y="1524"/>
                  </a:lnTo>
                  <a:lnTo>
                    <a:pt x="3754" y="1468"/>
                  </a:lnTo>
                  <a:lnTo>
                    <a:pt x="3734" y="1412"/>
                  </a:lnTo>
                  <a:lnTo>
                    <a:pt x="3710" y="1358"/>
                  </a:lnTo>
                  <a:lnTo>
                    <a:pt x="3684" y="1304"/>
                  </a:lnTo>
                  <a:lnTo>
                    <a:pt x="3652" y="1254"/>
                  </a:lnTo>
                  <a:lnTo>
                    <a:pt x="3618" y="1206"/>
                  </a:lnTo>
                  <a:lnTo>
                    <a:pt x="3580" y="1158"/>
                  </a:lnTo>
                  <a:lnTo>
                    <a:pt x="3540" y="1116"/>
                  </a:lnTo>
                  <a:lnTo>
                    <a:pt x="3496" y="1076"/>
                  </a:lnTo>
                  <a:lnTo>
                    <a:pt x="3448" y="1038"/>
                  </a:lnTo>
                  <a:lnTo>
                    <a:pt x="3400" y="1004"/>
                  </a:lnTo>
                  <a:lnTo>
                    <a:pt x="3348" y="974"/>
                  </a:lnTo>
                  <a:lnTo>
                    <a:pt x="3294" y="948"/>
                  </a:lnTo>
                  <a:lnTo>
                    <a:pt x="3294" y="948"/>
                  </a:lnTo>
                  <a:lnTo>
                    <a:pt x="3286" y="944"/>
                  </a:lnTo>
                  <a:lnTo>
                    <a:pt x="3280" y="938"/>
                  </a:lnTo>
                  <a:lnTo>
                    <a:pt x="3280" y="938"/>
                  </a:lnTo>
                  <a:lnTo>
                    <a:pt x="3280" y="938"/>
                  </a:lnTo>
                  <a:lnTo>
                    <a:pt x="3280" y="908"/>
                  </a:lnTo>
                  <a:lnTo>
                    <a:pt x="3278" y="880"/>
                  </a:lnTo>
                  <a:lnTo>
                    <a:pt x="3272" y="852"/>
                  </a:lnTo>
                  <a:lnTo>
                    <a:pt x="3268" y="822"/>
                  </a:lnTo>
                  <a:lnTo>
                    <a:pt x="3260" y="796"/>
                  </a:lnTo>
                  <a:lnTo>
                    <a:pt x="3252" y="768"/>
                  </a:lnTo>
                  <a:lnTo>
                    <a:pt x="3244" y="742"/>
                  </a:lnTo>
                  <a:lnTo>
                    <a:pt x="3232" y="716"/>
                  </a:lnTo>
                  <a:lnTo>
                    <a:pt x="3220" y="690"/>
                  </a:lnTo>
                  <a:lnTo>
                    <a:pt x="3208" y="666"/>
                  </a:lnTo>
                  <a:lnTo>
                    <a:pt x="3194" y="642"/>
                  </a:lnTo>
                  <a:lnTo>
                    <a:pt x="3178" y="618"/>
                  </a:lnTo>
                  <a:lnTo>
                    <a:pt x="3162" y="596"/>
                  </a:lnTo>
                  <a:lnTo>
                    <a:pt x="3144" y="574"/>
                  </a:lnTo>
                  <a:lnTo>
                    <a:pt x="3126" y="554"/>
                  </a:lnTo>
                  <a:lnTo>
                    <a:pt x="3108" y="534"/>
                  </a:lnTo>
                  <a:lnTo>
                    <a:pt x="3088" y="516"/>
                  </a:lnTo>
                  <a:lnTo>
                    <a:pt x="3066" y="498"/>
                  </a:lnTo>
                  <a:lnTo>
                    <a:pt x="3044" y="480"/>
                  </a:lnTo>
                  <a:lnTo>
                    <a:pt x="3022" y="464"/>
                  </a:lnTo>
                  <a:lnTo>
                    <a:pt x="2998" y="450"/>
                  </a:lnTo>
                  <a:lnTo>
                    <a:pt x="2974" y="436"/>
                  </a:lnTo>
                  <a:lnTo>
                    <a:pt x="2950" y="424"/>
                  </a:lnTo>
                  <a:lnTo>
                    <a:pt x="2924" y="412"/>
                  </a:lnTo>
                  <a:lnTo>
                    <a:pt x="2898" y="402"/>
                  </a:lnTo>
                  <a:lnTo>
                    <a:pt x="2870" y="394"/>
                  </a:lnTo>
                  <a:lnTo>
                    <a:pt x="2844" y="386"/>
                  </a:lnTo>
                  <a:lnTo>
                    <a:pt x="2816" y="380"/>
                  </a:lnTo>
                  <a:lnTo>
                    <a:pt x="2788" y="374"/>
                  </a:lnTo>
                  <a:lnTo>
                    <a:pt x="2758" y="370"/>
                  </a:lnTo>
                  <a:lnTo>
                    <a:pt x="2730" y="368"/>
                  </a:lnTo>
                  <a:lnTo>
                    <a:pt x="2700" y="368"/>
                  </a:lnTo>
                  <a:lnTo>
                    <a:pt x="2700" y="368"/>
                  </a:lnTo>
                  <a:lnTo>
                    <a:pt x="2654" y="370"/>
                  </a:lnTo>
                  <a:lnTo>
                    <a:pt x="2608" y="374"/>
                  </a:lnTo>
                  <a:lnTo>
                    <a:pt x="2564" y="384"/>
                  </a:lnTo>
                  <a:lnTo>
                    <a:pt x="2522" y="396"/>
                  </a:lnTo>
                  <a:lnTo>
                    <a:pt x="2482" y="410"/>
                  </a:lnTo>
                  <a:lnTo>
                    <a:pt x="2442" y="428"/>
                  </a:lnTo>
                  <a:lnTo>
                    <a:pt x="2404" y="450"/>
                  </a:lnTo>
                  <a:lnTo>
                    <a:pt x="2366" y="472"/>
                  </a:lnTo>
                  <a:lnTo>
                    <a:pt x="2366" y="472"/>
                  </a:lnTo>
                  <a:lnTo>
                    <a:pt x="2334" y="420"/>
                  </a:lnTo>
                  <a:lnTo>
                    <a:pt x="2296" y="372"/>
                  </a:lnTo>
                  <a:lnTo>
                    <a:pt x="2256" y="324"/>
                  </a:lnTo>
                  <a:lnTo>
                    <a:pt x="2214" y="280"/>
                  </a:lnTo>
                  <a:lnTo>
                    <a:pt x="2168" y="238"/>
                  </a:lnTo>
                  <a:lnTo>
                    <a:pt x="2120" y="198"/>
                  </a:lnTo>
                  <a:lnTo>
                    <a:pt x="2070" y="164"/>
                  </a:lnTo>
                  <a:lnTo>
                    <a:pt x="2018" y="130"/>
                  </a:lnTo>
                  <a:lnTo>
                    <a:pt x="1962" y="102"/>
                  </a:lnTo>
                  <a:lnTo>
                    <a:pt x="1906" y="76"/>
                  </a:lnTo>
                  <a:lnTo>
                    <a:pt x="1848" y="54"/>
                  </a:lnTo>
                  <a:lnTo>
                    <a:pt x="1786" y="34"/>
                  </a:lnTo>
                  <a:lnTo>
                    <a:pt x="1724" y="20"/>
                  </a:lnTo>
                  <a:lnTo>
                    <a:pt x="1662" y="10"/>
                  </a:lnTo>
                  <a:lnTo>
                    <a:pt x="1596" y="2"/>
                  </a:lnTo>
                  <a:lnTo>
                    <a:pt x="1530" y="0"/>
                  </a:lnTo>
                  <a:lnTo>
                    <a:pt x="1530" y="0"/>
                  </a:lnTo>
                  <a:lnTo>
                    <a:pt x="1480" y="2"/>
                  </a:lnTo>
                  <a:lnTo>
                    <a:pt x="1430" y="6"/>
                  </a:lnTo>
                  <a:lnTo>
                    <a:pt x="1382" y="12"/>
                  </a:lnTo>
                  <a:lnTo>
                    <a:pt x="1334" y="20"/>
                  </a:lnTo>
                  <a:lnTo>
                    <a:pt x="1286" y="32"/>
                  </a:lnTo>
                  <a:lnTo>
                    <a:pt x="1240" y="44"/>
                  </a:lnTo>
                  <a:lnTo>
                    <a:pt x="1194" y="60"/>
                  </a:lnTo>
                  <a:lnTo>
                    <a:pt x="1150" y="78"/>
                  </a:lnTo>
                  <a:lnTo>
                    <a:pt x="1106" y="96"/>
                  </a:lnTo>
                  <a:lnTo>
                    <a:pt x="1064" y="118"/>
                  </a:lnTo>
                  <a:lnTo>
                    <a:pt x="1024" y="142"/>
                  </a:lnTo>
                  <a:lnTo>
                    <a:pt x="984" y="168"/>
                  </a:lnTo>
                  <a:lnTo>
                    <a:pt x="946" y="194"/>
                  </a:lnTo>
                  <a:lnTo>
                    <a:pt x="908" y="224"/>
                  </a:lnTo>
                  <a:lnTo>
                    <a:pt x="874" y="254"/>
                  </a:lnTo>
                  <a:lnTo>
                    <a:pt x="840" y="286"/>
                  </a:lnTo>
                  <a:lnTo>
                    <a:pt x="808" y="320"/>
                  </a:lnTo>
                  <a:lnTo>
                    <a:pt x="776" y="356"/>
                  </a:lnTo>
                  <a:lnTo>
                    <a:pt x="748" y="394"/>
                  </a:lnTo>
                  <a:lnTo>
                    <a:pt x="720" y="432"/>
                  </a:lnTo>
                  <a:lnTo>
                    <a:pt x="694" y="470"/>
                  </a:lnTo>
                  <a:lnTo>
                    <a:pt x="672" y="512"/>
                  </a:lnTo>
                  <a:lnTo>
                    <a:pt x="650" y="554"/>
                  </a:lnTo>
                  <a:lnTo>
                    <a:pt x="630" y="598"/>
                  </a:lnTo>
                  <a:lnTo>
                    <a:pt x="612" y="642"/>
                  </a:lnTo>
                  <a:lnTo>
                    <a:pt x="598" y="688"/>
                  </a:lnTo>
                  <a:lnTo>
                    <a:pt x="584" y="734"/>
                  </a:lnTo>
                  <a:lnTo>
                    <a:pt x="574" y="780"/>
                  </a:lnTo>
                  <a:lnTo>
                    <a:pt x="564" y="828"/>
                  </a:lnTo>
                  <a:lnTo>
                    <a:pt x="558" y="878"/>
                  </a:lnTo>
                  <a:lnTo>
                    <a:pt x="554" y="928"/>
                  </a:lnTo>
                  <a:lnTo>
                    <a:pt x="554" y="978"/>
                  </a:lnTo>
                  <a:lnTo>
                    <a:pt x="554" y="978"/>
                  </a:lnTo>
                  <a:lnTo>
                    <a:pt x="554" y="1012"/>
                  </a:lnTo>
                  <a:lnTo>
                    <a:pt x="556" y="1046"/>
                  </a:lnTo>
                  <a:lnTo>
                    <a:pt x="556" y="1046"/>
                  </a:lnTo>
                  <a:lnTo>
                    <a:pt x="556" y="1054"/>
                  </a:lnTo>
                  <a:lnTo>
                    <a:pt x="560" y="1056"/>
                  </a:lnTo>
                  <a:lnTo>
                    <a:pt x="560" y="1056"/>
                  </a:lnTo>
                  <a:lnTo>
                    <a:pt x="502" y="1074"/>
                  </a:lnTo>
                  <a:lnTo>
                    <a:pt x="444" y="1094"/>
                  </a:lnTo>
                  <a:lnTo>
                    <a:pt x="388" y="1120"/>
                  </a:lnTo>
                  <a:lnTo>
                    <a:pt x="336" y="1148"/>
                  </a:lnTo>
                  <a:lnTo>
                    <a:pt x="288" y="1180"/>
                  </a:lnTo>
                  <a:lnTo>
                    <a:pt x="242" y="1214"/>
                  </a:lnTo>
                  <a:lnTo>
                    <a:pt x="198" y="1252"/>
                  </a:lnTo>
                  <a:lnTo>
                    <a:pt x="158" y="1292"/>
                  </a:lnTo>
                  <a:lnTo>
                    <a:pt x="124" y="1336"/>
                  </a:lnTo>
                  <a:lnTo>
                    <a:pt x="106" y="1360"/>
                  </a:lnTo>
                  <a:lnTo>
                    <a:pt x="92" y="1384"/>
                  </a:lnTo>
                  <a:lnTo>
                    <a:pt x="78" y="1408"/>
                  </a:lnTo>
                  <a:lnTo>
                    <a:pt x="64" y="1432"/>
                  </a:lnTo>
                  <a:lnTo>
                    <a:pt x="52" y="1458"/>
                  </a:lnTo>
                  <a:lnTo>
                    <a:pt x="42" y="1484"/>
                  </a:lnTo>
                  <a:lnTo>
                    <a:pt x="32" y="1510"/>
                  </a:lnTo>
                  <a:lnTo>
                    <a:pt x="24" y="1538"/>
                  </a:lnTo>
                  <a:lnTo>
                    <a:pt x="16" y="1566"/>
                  </a:lnTo>
                  <a:lnTo>
                    <a:pt x="10" y="1594"/>
                  </a:lnTo>
                  <a:lnTo>
                    <a:pt x="6" y="1622"/>
                  </a:lnTo>
                  <a:lnTo>
                    <a:pt x="2" y="1652"/>
                  </a:lnTo>
                  <a:lnTo>
                    <a:pt x="0" y="1682"/>
                  </a:lnTo>
                  <a:lnTo>
                    <a:pt x="0" y="1712"/>
                  </a:lnTo>
                  <a:lnTo>
                    <a:pt x="0" y="1712"/>
                  </a:lnTo>
                  <a:lnTo>
                    <a:pt x="0" y="1748"/>
                  </a:lnTo>
                  <a:lnTo>
                    <a:pt x="2" y="1782"/>
                  </a:lnTo>
                  <a:lnTo>
                    <a:pt x="8" y="1816"/>
                  </a:lnTo>
                  <a:lnTo>
                    <a:pt x="14" y="1848"/>
                  </a:lnTo>
                  <a:lnTo>
                    <a:pt x="22" y="1880"/>
                  </a:lnTo>
                  <a:lnTo>
                    <a:pt x="32" y="1912"/>
                  </a:lnTo>
                  <a:lnTo>
                    <a:pt x="44" y="1942"/>
                  </a:lnTo>
                  <a:lnTo>
                    <a:pt x="58" y="1970"/>
                  </a:lnTo>
                  <a:lnTo>
                    <a:pt x="72" y="1998"/>
                  </a:lnTo>
                  <a:lnTo>
                    <a:pt x="88" y="2026"/>
                  </a:lnTo>
                  <a:lnTo>
                    <a:pt x="106" y="2052"/>
                  </a:lnTo>
                  <a:lnTo>
                    <a:pt x="126" y="2076"/>
                  </a:lnTo>
                  <a:lnTo>
                    <a:pt x="146" y="2100"/>
                  </a:lnTo>
                  <a:lnTo>
                    <a:pt x="170" y="2124"/>
                  </a:lnTo>
                  <a:lnTo>
                    <a:pt x="192" y="2146"/>
                  </a:lnTo>
                  <a:lnTo>
                    <a:pt x="218" y="2166"/>
                  </a:lnTo>
                  <a:lnTo>
                    <a:pt x="244" y="2186"/>
                  </a:lnTo>
                  <a:lnTo>
                    <a:pt x="270" y="2204"/>
                  </a:lnTo>
                  <a:lnTo>
                    <a:pt x="298" y="2222"/>
                  </a:lnTo>
                  <a:lnTo>
                    <a:pt x="328" y="2238"/>
                  </a:lnTo>
                  <a:lnTo>
                    <a:pt x="358" y="2252"/>
                  </a:lnTo>
                  <a:lnTo>
                    <a:pt x="388" y="2266"/>
                  </a:lnTo>
                  <a:lnTo>
                    <a:pt x="420" y="2278"/>
                  </a:lnTo>
                  <a:lnTo>
                    <a:pt x="454" y="2290"/>
                  </a:lnTo>
                  <a:lnTo>
                    <a:pt x="488" y="2300"/>
                  </a:lnTo>
                  <a:lnTo>
                    <a:pt x="522" y="2308"/>
                  </a:lnTo>
                  <a:lnTo>
                    <a:pt x="558" y="2316"/>
                  </a:lnTo>
                  <a:lnTo>
                    <a:pt x="594" y="2322"/>
                  </a:lnTo>
                  <a:lnTo>
                    <a:pt x="630" y="2326"/>
                  </a:lnTo>
                  <a:lnTo>
                    <a:pt x="668" y="2330"/>
                  </a:lnTo>
                  <a:lnTo>
                    <a:pt x="706" y="2332"/>
                  </a:lnTo>
                  <a:lnTo>
                    <a:pt x="744" y="2332"/>
                  </a:lnTo>
                  <a:lnTo>
                    <a:pt x="3026" y="2332"/>
                  </a:lnTo>
                  <a:lnTo>
                    <a:pt x="3026" y="2332"/>
                  </a:lnTo>
                  <a:lnTo>
                    <a:pt x="3106" y="2322"/>
                  </a:lnTo>
                  <a:lnTo>
                    <a:pt x="3182" y="2308"/>
                  </a:lnTo>
                  <a:lnTo>
                    <a:pt x="3256" y="2292"/>
                  </a:lnTo>
                  <a:lnTo>
                    <a:pt x="3326" y="2272"/>
                  </a:lnTo>
                  <a:lnTo>
                    <a:pt x="3360" y="2260"/>
                  </a:lnTo>
                  <a:lnTo>
                    <a:pt x="3394" y="2248"/>
                  </a:lnTo>
                  <a:lnTo>
                    <a:pt x="3426" y="2234"/>
                  </a:lnTo>
                  <a:lnTo>
                    <a:pt x="3456" y="2220"/>
                  </a:lnTo>
                  <a:lnTo>
                    <a:pt x="3486" y="2204"/>
                  </a:lnTo>
                  <a:lnTo>
                    <a:pt x="3516" y="2188"/>
                  </a:lnTo>
                  <a:lnTo>
                    <a:pt x="3544" y="2170"/>
                  </a:lnTo>
                  <a:lnTo>
                    <a:pt x="3570" y="2152"/>
                  </a:lnTo>
                  <a:lnTo>
                    <a:pt x="3594" y="2132"/>
                  </a:lnTo>
                  <a:lnTo>
                    <a:pt x="3618" y="2112"/>
                  </a:lnTo>
                  <a:lnTo>
                    <a:pt x="3640" y="2090"/>
                  </a:lnTo>
                  <a:lnTo>
                    <a:pt x="3662" y="2068"/>
                  </a:lnTo>
                  <a:lnTo>
                    <a:pt x="3682" y="2044"/>
                  </a:lnTo>
                  <a:lnTo>
                    <a:pt x="3700" y="2018"/>
                  </a:lnTo>
                  <a:lnTo>
                    <a:pt x="3716" y="1992"/>
                  </a:lnTo>
                  <a:lnTo>
                    <a:pt x="3732" y="1964"/>
                  </a:lnTo>
                  <a:lnTo>
                    <a:pt x="3744" y="1936"/>
                  </a:lnTo>
                  <a:lnTo>
                    <a:pt x="3756" y="1906"/>
                  </a:lnTo>
                  <a:lnTo>
                    <a:pt x="3766" y="1876"/>
                  </a:lnTo>
                  <a:lnTo>
                    <a:pt x="3774" y="1844"/>
                  </a:lnTo>
                  <a:lnTo>
                    <a:pt x="3782" y="1810"/>
                  </a:lnTo>
                  <a:lnTo>
                    <a:pt x="3786" y="1774"/>
                  </a:lnTo>
                  <a:lnTo>
                    <a:pt x="3790" y="1738"/>
                  </a:lnTo>
                  <a:lnTo>
                    <a:pt x="3790" y="1700"/>
                  </a:lnTo>
                  <a:close/>
                </a:path>
              </a:pathLst>
            </a:custGeom>
            <a:solidFill>
              <a:schemeClr val="accent1">
                <a:lumMod val="40000"/>
                <a:lumOff val="60000"/>
              </a:schemeClr>
            </a:solidFill>
            <a:ln>
              <a:noFill/>
            </a:ln>
          </p:spPr>
          <p:txBody>
            <a:bodyPr vert="horz" wrap="square" lIns="91427" tIns="45713" rIns="91427" bIns="4571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199" dirty="0">
                <a:solidFill>
                  <a:srgbClr val="505050"/>
                </a:solidFill>
              </a:endParaRPr>
            </a:p>
          </p:txBody>
        </p:sp>
        <p:grpSp>
          <p:nvGrpSpPr>
            <p:cNvPr id="17" name="Group 16"/>
            <p:cNvGrpSpPr/>
            <p:nvPr/>
          </p:nvGrpSpPr>
          <p:grpSpPr>
            <a:xfrm>
              <a:off x="8891283" y="2831263"/>
              <a:ext cx="1783795" cy="2000486"/>
              <a:chOff x="8886235" y="2857859"/>
              <a:chExt cx="1783795" cy="2000486"/>
            </a:xfrm>
          </p:grpSpPr>
          <p:grpSp>
            <p:nvGrpSpPr>
              <p:cNvPr id="14" name="Group 13"/>
              <p:cNvGrpSpPr/>
              <p:nvPr/>
            </p:nvGrpSpPr>
            <p:grpSpPr>
              <a:xfrm>
                <a:off x="8886235" y="2857859"/>
                <a:ext cx="1783795" cy="1090096"/>
                <a:chOff x="8708557" y="3280718"/>
                <a:chExt cx="1210683" cy="786163"/>
              </a:xfrm>
            </p:grpSpPr>
            <p:sp>
              <p:nvSpPr>
                <p:cNvPr id="89" name="Freeform 88"/>
                <p:cNvSpPr>
                  <a:spLocks/>
                </p:cNvSpPr>
                <p:nvPr/>
              </p:nvSpPr>
              <p:spPr bwMode="auto">
                <a:xfrm>
                  <a:off x="8708557" y="3280718"/>
                  <a:ext cx="1210683" cy="786163"/>
                </a:xfrm>
                <a:custGeom>
                  <a:avLst/>
                  <a:gdLst>
                    <a:gd name="connsiteX0" fmla="*/ 678350 w 1481959"/>
                    <a:gd name="connsiteY0" fmla="*/ 258990 h 962317"/>
                    <a:gd name="connsiteX1" fmla="*/ 688805 w 1481959"/>
                    <a:gd name="connsiteY1" fmla="*/ 259224 h 962317"/>
                    <a:gd name="connsiteX2" fmla="*/ 971484 w 1481959"/>
                    <a:gd name="connsiteY2" fmla="*/ 259224 h 962317"/>
                    <a:gd name="connsiteX3" fmla="*/ 1006067 w 1481959"/>
                    <a:gd name="connsiteY3" fmla="*/ 292305 h 962317"/>
                    <a:gd name="connsiteX4" fmla="*/ 1006067 w 1481959"/>
                    <a:gd name="connsiteY4" fmla="*/ 576488 h 962317"/>
                    <a:gd name="connsiteX5" fmla="*/ 1004269 w 1481959"/>
                    <a:gd name="connsiteY5" fmla="*/ 595185 h 962317"/>
                    <a:gd name="connsiteX6" fmla="*/ 996845 w 1481959"/>
                    <a:gd name="connsiteY6" fmla="*/ 596703 h 962317"/>
                    <a:gd name="connsiteX7" fmla="*/ 946477 w 1481959"/>
                    <a:gd name="connsiteY7" fmla="*/ 546841 h 962317"/>
                    <a:gd name="connsiteX8" fmla="*/ 903068 w 1481959"/>
                    <a:gd name="connsiteY8" fmla="*/ 547059 h 962317"/>
                    <a:gd name="connsiteX9" fmla="*/ 711725 w 1481959"/>
                    <a:gd name="connsiteY9" fmla="*/ 740344 h 962317"/>
                    <a:gd name="connsiteX10" fmla="*/ 661739 w 1481959"/>
                    <a:gd name="connsiteY10" fmla="*/ 719332 h 962317"/>
                    <a:gd name="connsiteX11" fmla="*/ 535436 w 1481959"/>
                    <a:gd name="connsiteY11" fmla="*/ 593028 h 962317"/>
                    <a:gd name="connsiteX12" fmla="*/ 520710 w 1481959"/>
                    <a:gd name="connsiteY12" fmla="*/ 557602 h 962317"/>
                    <a:gd name="connsiteX13" fmla="*/ 597984 w 1481959"/>
                    <a:gd name="connsiteY13" fmla="*/ 478826 h 962317"/>
                    <a:gd name="connsiteX14" fmla="*/ 709855 w 1481959"/>
                    <a:gd name="connsiteY14" fmla="*/ 368988 h 962317"/>
                    <a:gd name="connsiteX15" fmla="*/ 720565 w 1481959"/>
                    <a:gd name="connsiteY15" fmla="*/ 351055 h 962317"/>
                    <a:gd name="connsiteX16" fmla="*/ 722022 w 1481959"/>
                    <a:gd name="connsiteY16" fmla="*/ 347917 h 962317"/>
                    <a:gd name="connsiteX17" fmla="*/ 723721 w 1481959"/>
                    <a:gd name="connsiteY17" fmla="*/ 338718 h 962317"/>
                    <a:gd name="connsiteX18" fmla="*/ 723262 w 1481959"/>
                    <a:gd name="connsiteY18" fmla="*/ 334338 h 962317"/>
                    <a:gd name="connsiteX19" fmla="*/ 723111 w 1481959"/>
                    <a:gd name="connsiteY19" fmla="*/ 333602 h 962317"/>
                    <a:gd name="connsiteX20" fmla="*/ 714729 w 1481959"/>
                    <a:gd name="connsiteY20" fmla="*/ 315979 h 962317"/>
                    <a:gd name="connsiteX21" fmla="*/ 678087 w 1481959"/>
                    <a:gd name="connsiteY21" fmla="*/ 280035 h 962317"/>
                    <a:gd name="connsiteX22" fmla="*/ 668098 w 1481959"/>
                    <a:gd name="connsiteY22" fmla="*/ 262301 h 962317"/>
                    <a:gd name="connsiteX23" fmla="*/ 678350 w 1481959"/>
                    <a:gd name="connsiteY23" fmla="*/ 258990 h 962317"/>
                    <a:gd name="connsiteX24" fmla="*/ 72174 w 1481959"/>
                    <a:gd name="connsiteY24" fmla="*/ 72174 h 962317"/>
                    <a:gd name="connsiteX25" fmla="*/ 72174 w 1481959"/>
                    <a:gd name="connsiteY25" fmla="*/ 887737 h 962317"/>
                    <a:gd name="connsiteX26" fmla="*/ 1402569 w 1481959"/>
                    <a:gd name="connsiteY26" fmla="*/ 887737 h 962317"/>
                    <a:gd name="connsiteX27" fmla="*/ 1402569 w 1481959"/>
                    <a:gd name="connsiteY27" fmla="*/ 72174 h 962317"/>
                    <a:gd name="connsiteX28" fmla="*/ 65620 w 1481959"/>
                    <a:gd name="connsiteY28" fmla="*/ 0 h 962317"/>
                    <a:gd name="connsiteX29" fmla="*/ 1416339 w 1481959"/>
                    <a:gd name="connsiteY29" fmla="*/ 0 h 962317"/>
                    <a:gd name="connsiteX30" fmla="*/ 1481959 w 1481959"/>
                    <a:gd name="connsiteY30" fmla="*/ 65621 h 962317"/>
                    <a:gd name="connsiteX31" fmla="*/ 1481959 w 1481959"/>
                    <a:gd name="connsiteY31" fmla="*/ 896697 h 962317"/>
                    <a:gd name="connsiteX32" fmla="*/ 1416339 w 1481959"/>
                    <a:gd name="connsiteY32" fmla="*/ 962317 h 962317"/>
                    <a:gd name="connsiteX33" fmla="*/ 65620 w 1481959"/>
                    <a:gd name="connsiteY33" fmla="*/ 962317 h 962317"/>
                    <a:gd name="connsiteX34" fmla="*/ 0 w 1481959"/>
                    <a:gd name="connsiteY34" fmla="*/ 896697 h 962317"/>
                    <a:gd name="connsiteX35" fmla="*/ 0 w 1481959"/>
                    <a:gd name="connsiteY35" fmla="*/ 65621 h 962317"/>
                    <a:gd name="connsiteX36" fmla="*/ 65620 w 1481959"/>
                    <a:gd name="connsiteY36" fmla="*/ 0 h 962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481959" h="962317">
                      <a:moveTo>
                        <a:pt x="678350" y="258990"/>
                      </a:moveTo>
                      <a:cubicBezTo>
                        <a:pt x="681742" y="259020"/>
                        <a:pt x="685484" y="259288"/>
                        <a:pt x="688805" y="259224"/>
                      </a:cubicBezTo>
                      <a:lnTo>
                        <a:pt x="971484" y="259224"/>
                      </a:lnTo>
                      <a:cubicBezTo>
                        <a:pt x="1000302" y="256718"/>
                        <a:pt x="1008071" y="270753"/>
                        <a:pt x="1006067" y="292305"/>
                      </a:cubicBezTo>
                      <a:lnTo>
                        <a:pt x="1006067" y="576488"/>
                      </a:lnTo>
                      <a:lnTo>
                        <a:pt x="1004269" y="595185"/>
                      </a:lnTo>
                      <a:cubicBezTo>
                        <a:pt x="1002451" y="598026"/>
                        <a:pt x="999695" y="598003"/>
                        <a:pt x="996845" y="596703"/>
                      </a:cubicBezTo>
                      <a:lnTo>
                        <a:pt x="946477" y="546841"/>
                      </a:lnTo>
                      <a:cubicBezTo>
                        <a:pt x="934430" y="534914"/>
                        <a:pt x="914995" y="535011"/>
                        <a:pt x="903068" y="547059"/>
                      </a:cubicBezTo>
                      <a:lnTo>
                        <a:pt x="711725" y="740344"/>
                      </a:lnTo>
                      <a:cubicBezTo>
                        <a:pt x="699360" y="748226"/>
                        <a:pt x="689313" y="744295"/>
                        <a:pt x="661739" y="719332"/>
                      </a:cubicBezTo>
                      <a:lnTo>
                        <a:pt x="535436" y="593028"/>
                      </a:lnTo>
                      <a:cubicBezTo>
                        <a:pt x="524870" y="579553"/>
                        <a:pt x="516830" y="569445"/>
                        <a:pt x="520710" y="557602"/>
                      </a:cubicBezTo>
                      <a:lnTo>
                        <a:pt x="597984" y="478826"/>
                      </a:lnTo>
                      <a:lnTo>
                        <a:pt x="709855" y="368988"/>
                      </a:lnTo>
                      <a:cubicBezTo>
                        <a:pt x="715078" y="361976"/>
                        <a:pt x="718582" y="356117"/>
                        <a:pt x="720565" y="351055"/>
                      </a:cubicBezTo>
                      <a:cubicBezTo>
                        <a:pt x="721405" y="350159"/>
                        <a:pt x="721848" y="349083"/>
                        <a:pt x="722022" y="347917"/>
                      </a:cubicBezTo>
                      <a:cubicBezTo>
                        <a:pt x="723326" y="344409"/>
                        <a:pt x="723862" y="341379"/>
                        <a:pt x="723721" y="338718"/>
                      </a:cubicBezTo>
                      <a:cubicBezTo>
                        <a:pt x="723959" y="337241"/>
                        <a:pt x="723892" y="335759"/>
                        <a:pt x="723262" y="334338"/>
                      </a:cubicBezTo>
                      <a:cubicBezTo>
                        <a:pt x="723291" y="334071"/>
                        <a:pt x="723225" y="333829"/>
                        <a:pt x="723111" y="333602"/>
                      </a:cubicBezTo>
                      <a:cubicBezTo>
                        <a:pt x="722700" y="327088"/>
                        <a:pt x="719734" y="320887"/>
                        <a:pt x="714729" y="315979"/>
                      </a:cubicBezTo>
                      <a:lnTo>
                        <a:pt x="678087" y="280035"/>
                      </a:lnTo>
                      <a:lnTo>
                        <a:pt x="668098" y="262301"/>
                      </a:lnTo>
                      <a:cubicBezTo>
                        <a:pt x="669005" y="259420"/>
                        <a:pt x="673283" y="258942"/>
                        <a:pt x="678350" y="258990"/>
                      </a:cubicBezTo>
                      <a:close/>
                      <a:moveTo>
                        <a:pt x="72174" y="72174"/>
                      </a:moveTo>
                      <a:lnTo>
                        <a:pt x="72174" y="887737"/>
                      </a:lnTo>
                      <a:lnTo>
                        <a:pt x="1402569" y="887737"/>
                      </a:lnTo>
                      <a:lnTo>
                        <a:pt x="1402569" y="72174"/>
                      </a:lnTo>
                      <a:close/>
                      <a:moveTo>
                        <a:pt x="65620" y="0"/>
                      </a:moveTo>
                      <a:lnTo>
                        <a:pt x="1416339" y="0"/>
                      </a:lnTo>
                      <a:cubicBezTo>
                        <a:pt x="1452581" y="0"/>
                        <a:pt x="1481959" y="29379"/>
                        <a:pt x="1481959" y="65621"/>
                      </a:cubicBezTo>
                      <a:lnTo>
                        <a:pt x="1481959" y="896697"/>
                      </a:lnTo>
                      <a:cubicBezTo>
                        <a:pt x="1481959" y="932938"/>
                        <a:pt x="1452581" y="962317"/>
                        <a:pt x="1416339" y="962317"/>
                      </a:cubicBezTo>
                      <a:lnTo>
                        <a:pt x="65620" y="962317"/>
                      </a:lnTo>
                      <a:cubicBezTo>
                        <a:pt x="29379" y="962317"/>
                        <a:pt x="0" y="932938"/>
                        <a:pt x="0" y="896697"/>
                      </a:cubicBezTo>
                      <a:lnTo>
                        <a:pt x="0" y="65621"/>
                      </a:lnTo>
                      <a:cubicBezTo>
                        <a:pt x="0" y="29379"/>
                        <a:pt x="29379" y="0"/>
                        <a:pt x="65620" y="0"/>
                      </a:cubicBezTo>
                      <a:close/>
                    </a:path>
                  </a:pathLst>
                </a:custGeom>
                <a:solidFill>
                  <a:schemeClr val="accent1">
                    <a:lumMod val="50000"/>
                  </a:schemeClr>
                </a:solidFill>
                <a:ln w="9525" cap="flat" cmpd="sng" algn="ctr">
                  <a:noFill/>
                  <a:prstDash val="solid"/>
                </a:ln>
                <a:effectLst/>
              </p:spPr>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auto">
                    <a:spcBef>
                      <a:spcPts val="0"/>
                    </a:spcBef>
                    <a:spcAft>
                      <a:spcPts val="0"/>
                    </a:spcAft>
                    <a:defRPr/>
                  </a:pPr>
                  <a:endParaRPr lang="en-US" sz="1398" kern="0" spc="-50" dirty="0">
                    <a:ln>
                      <a:solidFill>
                        <a:srgbClr val="FFFFFF">
                          <a:alpha val="0"/>
                        </a:srgbClr>
                      </a:solidFill>
                    </a:ln>
                    <a:solidFill>
                      <a:srgbClr val="000000"/>
                    </a:solidFill>
                    <a:latin typeface="Segoe UI"/>
                    <a:ea typeface="Segoe UI" pitchFamily="34" charset="0"/>
                    <a:cs typeface="Segoe UI" pitchFamily="34" charset="0"/>
                  </a:endParaRPr>
                </a:p>
              </p:txBody>
            </p:sp>
            <p:sp>
              <p:nvSpPr>
                <p:cNvPr id="11" name="Rectangle 10"/>
                <p:cNvSpPr/>
                <p:nvPr/>
              </p:nvSpPr>
              <p:spPr>
                <a:xfrm>
                  <a:off x="8764906" y="3337636"/>
                  <a:ext cx="1097984" cy="678532"/>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10" name="Rectangle 9"/>
              <p:cNvSpPr/>
              <p:nvPr/>
            </p:nvSpPr>
            <p:spPr>
              <a:xfrm>
                <a:off x="8917961" y="4058126"/>
                <a:ext cx="1720343" cy="800219"/>
              </a:xfrm>
              <a:prstGeom prst="rect">
                <a:avLst/>
              </a:prstGeom>
            </p:spPr>
            <p:txBody>
              <a:bodyPr wrap="none">
                <a:spAutoFit/>
              </a:bodyPr>
              <a:lstStyle/>
              <a:p>
                <a:pPr algn="ctr" defTabSz="932239" fontAlgn="auto">
                  <a:spcBef>
                    <a:spcPts val="0"/>
                  </a:spcBef>
                  <a:spcAft>
                    <a:spcPts val="0"/>
                  </a:spcAft>
                </a:pPr>
                <a:r>
                  <a:rPr lang="en-US" sz="1600" dirty="0" smtClean="0">
                    <a:solidFill>
                      <a:srgbClr val="1F4E79"/>
                    </a:solidFill>
                    <a:latin typeface="Segoe UI Semibold" panose="020B0702040204020203" pitchFamily="34" charset="0"/>
                    <a:cs typeface="Segoe UI Semibold" panose="020B0702040204020203" pitchFamily="34" charset="0"/>
                  </a:rPr>
                  <a:t>Microsoft Azure </a:t>
                </a:r>
              </a:p>
              <a:p>
                <a:pPr algn="ctr" defTabSz="932239" fontAlgn="auto">
                  <a:spcBef>
                    <a:spcPts val="0"/>
                  </a:spcBef>
                  <a:spcAft>
                    <a:spcPts val="0"/>
                  </a:spcAft>
                </a:pPr>
                <a:r>
                  <a:rPr lang="en-US" sz="1600" dirty="0" smtClean="0">
                    <a:solidFill>
                      <a:srgbClr val="1F4E79"/>
                    </a:solidFill>
                    <a:latin typeface="Segoe UI Semibold" panose="020B0702040204020203" pitchFamily="34" charset="0"/>
                    <a:cs typeface="Segoe UI Semibold" panose="020B0702040204020203" pitchFamily="34" charset="0"/>
                  </a:rPr>
                  <a:t>Marketplace</a:t>
                </a:r>
                <a:r>
                  <a:rPr lang="en-US" sz="1400" dirty="0" smtClean="0">
                    <a:solidFill>
                      <a:srgbClr val="5B9BD5">
                        <a:lumMod val="50000"/>
                      </a:srgbClr>
                    </a:solidFill>
                    <a:latin typeface="Segoe UI Semibold" panose="020B0702040204020203" pitchFamily="34" charset="0"/>
                    <a:cs typeface="Segoe UI Semibold" panose="020B0702040204020203" pitchFamily="34" charset="0"/>
                  </a:rPr>
                  <a:t/>
                </a:r>
                <a:br>
                  <a:rPr lang="en-US" sz="1400" dirty="0" smtClean="0">
                    <a:solidFill>
                      <a:srgbClr val="5B9BD5">
                        <a:lumMod val="50000"/>
                      </a:srgbClr>
                    </a:solidFill>
                    <a:latin typeface="Segoe UI Semibold" panose="020B0702040204020203" pitchFamily="34" charset="0"/>
                    <a:cs typeface="Segoe UI Semibold" panose="020B0702040204020203" pitchFamily="34" charset="0"/>
                  </a:rPr>
                </a:br>
                <a:endParaRPr lang="en-US" sz="1400" dirty="0">
                  <a:solidFill>
                    <a:srgbClr val="5B9BD5">
                      <a:lumMod val="50000"/>
                    </a:srgbClr>
                  </a:solidFill>
                  <a:latin typeface="Segoe UI" panose="020B0502040204020203" pitchFamily="34" charset="0"/>
                  <a:ea typeface="Segoe UI Black" panose="020B0A02040204020203" pitchFamily="34" charset="0"/>
                  <a:cs typeface="Segoe UI" panose="020B0502040204020203" pitchFamily="34" charset="0"/>
                </a:endParaRPr>
              </a:p>
            </p:txBody>
          </p:sp>
          <p:sp>
            <p:nvSpPr>
              <p:cNvPr id="8" name="TextBox 7"/>
              <p:cNvSpPr txBox="1"/>
              <p:nvPr/>
            </p:nvSpPr>
            <p:spPr>
              <a:xfrm>
                <a:off x="9015430" y="2983993"/>
                <a:ext cx="1515628" cy="307777"/>
              </a:xfrm>
              <a:prstGeom prst="rect">
                <a:avLst/>
              </a:prstGeom>
              <a:noFill/>
            </p:spPr>
            <p:txBody>
              <a:bodyPr wrap="square" rtlCol="0">
                <a:spAutoFit/>
              </a:bodyPr>
              <a:lstStyle/>
              <a:p>
                <a:pPr algn="ctr"/>
                <a:r>
                  <a:rPr lang="en-US" sz="1400" dirty="0" smtClean="0">
                    <a:solidFill>
                      <a:srgbClr val="44546A">
                        <a:lumMod val="50000"/>
                      </a:srgbClr>
                    </a:solidFill>
                  </a:rPr>
                  <a:t>New R scripts</a:t>
                </a:r>
                <a:endParaRPr lang="en-US" sz="1400" dirty="0">
                  <a:solidFill>
                    <a:srgbClr val="44546A">
                      <a:lumMod val="50000"/>
                    </a:srgbClr>
                  </a:solidFill>
                </a:endParaRPr>
              </a:p>
            </p:txBody>
          </p:sp>
        </p:grpSp>
        <p:grpSp>
          <p:nvGrpSpPr>
            <p:cNvPr id="95" name="Group 94"/>
            <p:cNvGrpSpPr>
              <a:grpSpLocks noChangeAspect="1"/>
            </p:cNvGrpSpPr>
            <p:nvPr/>
          </p:nvGrpSpPr>
          <p:grpSpPr>
            <a:xfrm>
              <a:off x="9116092" y="3307696"/>
              <a:ext cx="357145" cy="397397"/>
              <a:chOff x="8718955" y="6329427"/>
              <a:chExt cx="407295" cy="453197"/>
            </a:xfrm>
            <a:solidFill>
              <a:srgbClr val="003963"/>
            </a:solidFill>
          </p:grpSpPr>
          <p:sp>
            <p:nvSpPr>
              <p:cNvPr id="96" name="Rectangle 153"/>
              <p:cNvSpPr/>
              <p:nvPr/>
            </p:nvSpPr>
            <p:spPr>
              <a:xfrm>
                <a:off x="8747465" y="6347541"/>
                <a:ext cx="310801" cy="359416"/>
              </a:xfrm>
              <a:custGeom>
                <a:avLst/>
                <a:gdLst>
                  <a:gd name="connsiteX0" fmla="*/ 0 w 300129"/>
                  <a:gd name="connsiteY0" fmla="*/ 0 h 384583"/>
                  <a:gd name="connsiteX1" fmla="*/ 300129 w 300129"/>
                  <a:gd name="connsiteY1" fmla="*/ 0 h 384583"/>
                  <a:gd name="connsiteX2" fmla="*/ 300129 w 300129"/>
                  <a:gd name="connsiteY2" fmla="*/ 384583 h 384583"/>
                  <a:gd name="connsiteX3" fmla="*/ 0 w 300129"/>
                  <a:gd name="connsiteY3" fmla="*/ 384583 h 384583"/>
                  <a:gd name="connsiteX4" fmla="*/ 0 w 300129"/>
                  <a:gd name="connsiteY4" fmla="*/ 0 h 384583"/>
                  <a:gd name="connsiteX0" fmla="*/ 0 w 300129"/>
                  <a:gd name="connsiteY0" fmla="*/ 0 h 384583"/>
                  <a:gd name="connsiteX1" fmla="*/ 300129 w 300129"/>
                  <a:gd name="connsiteY1" fmla="*/ 0 h 384583"/>
                  <a:gd name="connsiteX2" fmla="*/ 266792 w 300129"/>
                  <a:gd name="connsiteY2" fmla="*/ 339339 h 384583"/>
                  <a:gd name="connsiteX3" fmla="*/ 0 w 300129"/>
                  <a:gd name="connsiteY3" fmla="*/ 384583 h 384583"/>
                  <a:gd name="connsiteX4" fmla="*/ 0 w 300129"/>
                  <a:gd name="connsiteY4" fmla="*/ 0 h 384583"/>
                  <a:gd name="connsiteX0" fmla="*/ 0 w 300129"/>
                  <a:gd name="connsiteY0" fmla="*/ 0 h 384583"/>
                  <a:gd name="connsiteX1" fmla="*/ 300129 w 300129"/>
                  <a:gd name="connsiteY1" fmla="*/ 0 h 384583"/>
                  <a:gd name="connsiteX2" fmla="*/ 266792 w 300129"/>
                  <a:gd name="connsiteY2" fmla="*/ 339339 h 384583"/>
                  <a:gd name="connsiteX3" fmla="*/ 0 w 300129"/>
                  <a:gd name="connsiteY3" fmla="*/ 384583 h 384583"/>
                  <a:gd name="connsiteX4" fmla="*/ 0 w 300129"/>
                  <a:gd name="connsiteY4" fmla="*/ 0 h 384583"/>
                  <a:gd name="connsiteX0" fmla="*/ 0 w 311074"/>
                  <a:gd name="connsiteY0" fmla="*/ 0 h 384583"/>
                  <a:gd name="connsiteX1" fmla="*/ 300129 w 311074"/>
                  <a:gd name="connsiteY1" fmla="*/ 0 h 384583"/>
                  <a:gd name="connsiteX2" fmla="*/ 266792 w 311074"/>
                  <a:gd name="connsiteY2" fmla="*/ 339339 h 384583"/>
                  <a:gd name="connsiteX3" fmla="*/ 0 w 311074"/>
                  <a:gd name="connsiteY3" fmla="*/ 384583 h 384583"/>
                  <a:gd name="connsiteX4" fmla="*/ 0 w 311074"/>
                  <a:gd name="connsiteY4" fmla="*/ 0 h 384583"/>
                  <a:gd name="connsiteX0" fmla="*/ 0 w 321872"/>
                  <a:gd name="connsiteY0" fmla="*/ 0 h 384583"/>
                  <a:gd name="connsiteX1" fmla="*/ 300129 w 321872"/>
                  <a:gd name="connsiteY1" fmla="*/ 0 h 384583"/>
                  <a:gd name="connsiteX2" fmla="*/ 266792 w 321872"/>
                  <a:gd name="connsiteY2" fmla="*/ 339339 h 384583"/>
                  <a:gd name="connsiteX3" fmla="*/ 0 w 321872"/>
                  <a:gd name="connsiteY3" fmla="*/ 384583 h 384583"/>
                  <a:gd name="connsiteX4" fmla="*/ 0 w 321872"/>
                  <a:gd name="connsiteY4" fmla="*/ 0 h 384583"/>
                  <a:gd name="connsiteX0" fmla="*/ 0 w 300129"/>
                  <a:gd name="connsiteY0" fmla="*/ 0 h 384583"/>
                  <a:gd name="connsiteX1" fmla="*/ 300129 w 300129"/>
                  <a:gd name="connsiteY1" fmla="*/ 0 h 384583"/>
                  <a:gd name="connsiteX2" fmla="*/ 0 w 300129"/>
                  <a:gd name="connsiteY2" fmla="*/ 384583 h 384583"/>
                  <a:gd name="connsiteX3" fmla="*/ 0 w 300129"/>
                  <a:gd name="connsiteY3" fmla="*/ 0 h 384583"/>
                  <a:gd name="connsiteX0" fmla="*/ 0 w 302713"/>
                  <a:gd name="connsiteY0" fmla="*/ 0 h 384583"/>
                  <a:gd name="connsiteX1" fmla="*/ 300129 w 302713"/>
                  <a:gd name="connsiteY1" fmla="*/ 0 h 384583"/>
                  <a:gd name="connsiteX2" fmla="*/ 0 w 302713"/>
                  <a:gd name="connsiteY2" fmla="*/ 384583 h 384583"/>
                  <a:gd name="connsiteX3" fmla="*/ 0 w 302713"/>
                  <a:gd name="connsiteY3" fmla="*/ 0 h 384583"/>
                  <a:gd name="connsiteX0" fmla="*/ 0 w 302915"/>
                  <a:gd name="connsiteY0" fmla="*/ 0 h 384688"/>
                  <a:gd name="connsiteX1" fmla="*/ 300129 w 302915"/>
                  <a:gd name="connsiteY1" fmla="*/ 0 h 384688"/>
                  <a:gd name="connsiteX2" fmla="*/ 0 w 302915"/>
                  <a:gd name="connsiteY2" fmla="*/ 384583 h 384688"/>
                  <a:gd name="connsiteX3" fmla="*/ 0 w 302915"/>
                  <a:gd name="connsiteY3" fmla="*/ 0 h 384688"/>
                  <a:gd name="connsiteX0" fmla="*/ 0 w 303865"/>
                  <a:gd name="connsiteY0" fmla="*/ 0 h 384688"/>
                  <a:gd name="connsiteX1" fmla="*/ 300129 w 303865"/>
                  <a:gd name="connsiteY1" fmla="*/ 0 h 384688"/>
                  <a:gd name="connsiteX2" fmla="*/ 0 w 303865"/>
                  <a:gd name="connsiteY2" fmla="*/ 384583 h 384688"/>
                  <a:gd name="connsiteX3" fmla="*/ 0 w 303865"/>
                  <a:gd name="connsiteY3" fmla="*/ 0 h 384688"/>
                  <a:gd name="connsiteX0" fmla="*/ 0 w 303865"/>
                  <a:gd name="connsiteY0" fmla="*/ 0 h 384700"/>
                  <a:gd name="connsiteX1" fmla="*/ 300129 w 303865"/>
                  <a:gd name="connsiteY1" fmla="*/ 0 h 384700"/>
                  <a:gd name="connsiteX2" fmla="*/ 0 w 303865"/>
                  <a:gd name="connsiteY2" fmla="*/ 384583 h 384700"/>
                  <a:gd name="connsiteX3" fmla="*/ 0 w 303865"/>
                  <a:gd name="connsiteY3" fmla="*/ 0 h 384700"/>
                  <a:gd name="connsiteX0" fmla="*/ 0 w 304322"/>
                  <a:gd name="connsiteY0" fmla="*/ 0 h 384583"/>
                  <a:gd name="connsiteX1" fmla="*/ 300129 w 304322"/>
                  <a:gd name="connsiteY1" fmla="*/ 0 h 384583"/>
                  <a:gd name="connsiteX2" fmla="*/ 0 w 304322"/>
                  <a:gd name="connsiteY2" fmla="*/ 384583 h 384583"/>
                  <a:gd name="connsiteX3" fmla="*/ 0 w 304322"/>
                  <a:gd name="connsiteY3" fmla="*/ 0 h 384583"/>
                  <a:gd name="connsiteX0" fmla="*/ 0 w 301605"/>
                  <a:gd name="connsiteY0" fmla="*/ 0 h 384583"/>
                  <a:gd name="connsiteX1" fmla="*/ 300129 w 301605"/>
                  <a:gd name="connsiteY1" fmla="*/ 0 h 384583"/>
                  <a:gd name="connsiteX2" fmla="*/ 0 w 301605"/>
                  <a:gd name="connsiteY2" fmla="*/ 384583 h 384583"/>
                  <a:gd name="connsiteX3" fmla="*/ 0 w 301605"/>
                  <a:gd name="connsiteY3" fmla="*/ 0 h 384583"/>
                  <a:gd name="connsiteX0" fmla="*/ 0 w 301447"/>
                  <a:gd name="connsiteY0" fmla="*/ 0 h 402570"/>
                  <a:gd name="connsiteX1" fmla="*/ 300129 w 301447"/>
                  <a:gd name="connsiteY1" fmla="*/ 0 h 402570"/>
                  <a:gd name="connsiteX2" fmla="*/ 0 w 301447"/>
                  <a:gd name="connsiteY2" fmla="*/ 384583 h 402570"/>
                  <a:gd name="connsiteX3" fmla="*/ 0 w 301447"/>
                  <a:gd name="connsiteY3" fmla="*/ 0 h 402570"/>
                  <a:gd name="connsiteX0" fmla="*/ 2234 w 303665"/>
                  <a:gd name="connsiteY0" fmla="*/ 0 h 410060"/>
                  <a:gd name="connsiteX1" fmla="*/ 302363 w 303665"/>
                  <a:gd name="connsiteY1" fmla="*/ 0 h 410060"/>
                  <a:gd name="connsiteX2" fmla="*/ 0 w 303665"/>
                  <a:gd name="connsiteY2" fmla="*/ 392382 h 410060"/>
                  <a:gd name="connsiteX3" fmla="*/ 2234 w 303665"/>
                  <a:gd name="connsiteY3" fmla="*/ 0 h 410060"/>
                  <a:gd name="connsiteX0" fmla="*/ 2234 w 303680"/>
                  <a:gd name="connsiteY0" fmla="*/ 0 h 403956"/>
                  <a:gd name="connsiteX1" fmla="*/ 302363 w 303680"/>
                  <a:gd name="connsiteY1" fmla="*/ 0 h 403956"/>
                  <a:gd name="connsiteX2" fmla="*/ 0 w 303680"/>
                  <a:gd name="connsiteY2" fmla="*/ 392382 h 403956"/>
                  <a:gd name="connsiteX3" fmla="*/ 2234 w 303680"/>
                  <a:gd name="connsiteY3" fmla="*/ 0 h 403956"/>
                  <a:gd name="connsiteX0" fmla="*/ 2234 w 303782"/>
                  <a:gd name="connsiteY0" fmla="*/ 0 h 392382"/>
                  <a:gd name="connsiteX1" fmla="*/ 302363 w 303782"/>
                  <a:gd name="connsiteY1" fmla="*/ 0 h 392382"/>
                  <a:gd name="connsiteX2" fmla="*/ 0 w 303782"/>
                  <a:gd name="connsiteY2" fmla="*/ 392382 h 392382"/>
                  <a:gd name="connsiteX3" fmla="*/ 2234 w 303782"/>
                  <a:gd name="connsiteY3" fmla="*/ 0 h 392382"/>
                  <a:gd name="connsiteX0" fmla="*/ 2234 w 302363"/>
                  <a:gd name="connsiteY0" fmla="*/ 0 h 392382"/>
                  <a:gd name="connsiteX1" fmla="*/ 302363 w 302363"/>
                  <a:gd name="connsiteY1" fmla="*/ 0 h 392382"/>
                  <a:gd name="connsiteX2" fmla="*/ 0 w 302363"/>
                  <a:gd name="connsiteY2" fmla="*/ 392382 h 392382"/>
                  <a:gd name="connsiteX3" fmla="*/ 2234 w 302363"/>
                  <a:gd name="connsiteY3" fmla="*/ 0 h 392382"/>
                </a:gdLst>
                <a:ahLst/>
                <a:cxnLst>
                  <a:cxn ang="0">
                    <a:pos x="connsiteX0" y="connsiteY0"/>
                  </a:cxn>
                  <a:cxn ang="0">
                    <a:pos x="connsiteX1" y="connsiteY1"/>
                  </a:cxn>
                  <a:cxn ang="0">
                    <a:pos x="connsiteX2" y="connsiteY2"/>
                  </a:cxn>
                  <a:cxn ang="0">
                    <a:pos x="connsiteX3" y="connsiteY3"/>
                  </a:cxn>
                </a:cxnLst>
                <a:rect l="l" t="t" r="r" b="b"/>
                <a:pathLst>
                  <a:path w="302363" h="392382">
                    <a:moveTo>
                      <a:pt x="2234" y="0"/>
                    </a:moveTo>
                    <a:lnTo>
                      <a:pt x="302363" y="0"/>
                    </a:lnTo>
                    <a:cubicBezTo>
                      <a:pt x="255395" y="120404"/>
                      <a:pt x="167159" y="364972"/>
                      <a:pt x="0" y="392382"/>
                    </a:cubicBezTo>
                    <a:cubicBezTo>
                      <a:pt x="745" y="261588"/>
                      <a:pt x="1489" y="130794"/>
                      <a:pt x="2234" y="0"/>
                    </a:cubicBezTo>
                    <a:close/>
                  </a:path>
                </a:pathLst>
              </a:custGeom>
              <a:ln>
                <a:noFill/>
              </a:ln>
            </p:spPr>
            <p:style>
              <a:lnRef idx="2">
                <a:schemeClr val="accent2"/>
              </a:lnRef>
              <a:fillRef idx="1">
                <a:schemeClr val="lt1"/>
              </a:fillRef>
              <a:effectRef idx="0">
                <a:schemeClr val="accent2"/>
              </a:effectRef>
              <a:fontRef idx="minor">
                <a:schemeClr val="dk1"/>
              </a:fontRef>
            </p:style>
            <p:txBody>
              <a:bodyPr lIns="18646" tIns="18646" rIns="18646" bIns="18646" rtlCol="0" anchor="t"/>
              <a:lstStyle/>
              <a:p>
                <a:pPr algn="ctr" defTabSz="932239" fontAlgn="auto">
                  <a:spcBef>
                    <a:spcPts val="0"/>
                  </a:spcBef>
                  <a:spcAft>
                    <a:spcPts val="0"/>
                  </a:spcAft>
                </a:pPr>
                <a:endParaRPr lang="en-IN" sz="612" dirty="0">
                  <a:solidFill>
                    <a:srgbClr val="FF8C00"/>
                  </a:solidFill>
                  <a:latin typeface="Segoe UI Semibold" panose="020B0702040204020203" pitchFamily="34" charset="0"/>
                  <a:cs typeface="Segoe UI Semibold" panose="020B0702040204020203" pitchFamily="34" charset="0"/>
                </a:endParaRPr>
              </a:p>
            </p:txBody>
          </p:sp>
          <p:sp>
            <p:nvSpPr>
              <p:cNvPr id="97" name="Freeform 96"/>
              <p:cNvSpPr/>
              <p:nvPr>
                <p:custDataLst>
                  <p:tags r:id="rId11"/>
                </p:custDataLst>
              </p:nvPr>
            </p:nvSpPr>
            <p:spPr bwMode="auto">
              <a:xfrm rot="10800000">
                <a:off x="8718955" y="6329427"/>
                <a:ext cx="343786" cy="392623"/>
              </a:xfrm>
              <a:custGeom>
                <a:avLst/>
                <a:gdLst>
                  <a:gd name="connsiteX0" fmla="*/ 342979 w 343786"/>
                  <a:gd name="connsiteY0" fmla="*/ 392623 h 392623"/>
                  <a:gd name="connsiteX1" fmla="*/ 29955 w 343786"/>
                  <a:gd name="connsiteY1" fmla="*/ 392623 h 392623"/>
                  <a:gd name="connsiteX2" fmla="*/ 105 w 343786"/>
                  <a:gd name="connsiteY2" fmla="*/ 362773 h 392623"/>
                  <a:gd name="connsiteX3" fmla="*/ 0 w 343786"/>
                  <a:gd name="connsiteY3" fmla="*/ 328722 h 392623"/>
                  <a:gd name="connsiteX4" fmla="*/ 23964 w 343786"/>
                  <a:gd name="connsiteY4" fmla="*/ 328722 h 392623"/>
                  <a:gd name="connsiteX5" fmla="*/ 23898 w 343786"/>
                  <a:gd name="connsiteY5" fmla="*/ 345024 h 392623"/>
                  <a:gd name="connsiteX6" fmla="*/ 44067 w 343786"/>
                  <a:gd name="connsiteY6" fmla="*/ 369227 h 392623"/>
                  <a:gd name="connsiteX7" fmla="*/ 319173 w 343786"/>
                  <a:gd name="connsiteY7" fmla="*/ 367614 h 392623"/>
                  <a:gd name="connsiteX8" fmla="*/ 319173 w 343786"/>
                  <a:gd name="connsiteY8" fmla="*/ 51363 h 392623"/>
                  <a:gd name="connsiteX9" fmla="*/ 294970 w 343786"/>
                  <a:gd name="connsiteY9" fmla="*/ 23933 h 392623"/>
                  <a:gd name="connsiteX10" fmla="*/ 276999 w 343786"/>
                  <a:gd name="connsiteY10" fmla="*/ 23849 h 392623"/>
                  <a:gd name="connsiteX11" fmla="*/ 277053 w 343786"/>
                  <a:gd name="connsiteY11" fmla="*/ 0 h 392623"/>
                  <a:gd name="connsiteX12" fmla="*/ 309741 w 343786"/>
                  <a:gd name="connsiteY12" fmla="*/ 53 h 392623"/>
                  <a:gd name="connsiteX13" fmla="*/ 343786 w 343786"/>
                  <a:gd name="connsiteY13" fmla="*/ 38455 h 392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43786" h="392623">
                    <a:moveTo>
                      <a:pt x="342979" y="392623"/>
                    </a:moveTo>
                    <a:lnTo>
                      <a:pt x="29955" y="392623"/>
                    </a:lnTo>
                    <a:cubicBezTo>
                      <a:pt x="11131" y="391548"/>
                      <a:pt x="2794" y="377564"/>
                      <a:pt x="105" y="362773"/>
                    </a:cubicBezTo>
                    <a:lnTo>
                      <a:pt x="0" y="328722"/>
                    </a:lnTo>
                    <a:lnTo>
                      <a:pt x="23964" y="328722"/>
                    </a:lnTo>
                    <a:lnTo>
                      <a:pt x="23898" y="345024"/>
                    </a:lnTo>
                    <a:cubicBezTo>
                      <a:pt x="26587" y="354706"/>
                      <a:pt x="26856" y="365193"/>
                      <a:pt x="44067" y="369227"/>
                    </a:cubicBezTo>
                    <a:lnTo>
                      <a:pt x="319173" y="367614"/>
                    </a:lnTo>
                    <a:lnTo>
                      <a:pt x="319173" y="51363"/>
                    </a:lnTo>
                    <a:cubicBezTo>
                      <a:pt x="319442" y="40606"/>
                      <a:pt x="315678" y="23395"/>
                      <a:pt x="294970" y="23933"/>
                    </a:cubicBezTo>
                    <a:lnTo>
                      <a:pt x="276999" y="23849"/>
                    </a:lnTo>
                    <a:lnTo>
                      <a:pt x="277053" y="0"/>
                    </a:lnTo>
                    <a:lnTo>
                      <a:pt x="309741" y="53"/>
                    </a:lnTo>
                    <a:cubicBezTo>
                      <a:pt x="338246" y="3549"/>
                      <a:pt x="342979" y="23395"/>
                      <a:pt x="343786" y="38455"/>
                    </a:cubicBezTo>
                    <a:close/>
                  </a:path>
                </a:pathLst>
              </a:custGeom>
              <a:solidFill>
                <a:schemeClr val="accent1">
                  <a:lumMod val="50000"/>
                </a:schemeClr>
              </a:solidFill>
              <a:ln>
                <a:noFill/>
              </a:ln>
              <a:ex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3234" tIns="46616" rIns="93234" bIns="46616" numCol="1" spcCol="0" rtlCol="0" fromWordArt="0" anchor="t" anchorCtr="0" forceAA="0" compatLnSpc="1">
                <a:prstTxWarp prst="textNoShape">
                  <a:avLst/>
                </a:prstTxWarp>
                <a:noAutofit/>
              </a:bodyPr>
              <a:lstStyle/>
              <a:p>
                <a:pPr algn="ctr" defTabSz="932239" fontAlgn="auto">
                  <a:spcBef>
                    <a:spcPts val="0"/>
                  </a:spcBef>
                  <a:spcAft>
                    <a:spcPts val="0"/>
                  </a:spcAft>
                </a:pPr>
                <a:endParaRPr lang="en-US" sz="714">
                  <a:solidFill>
                    <a:prstClr val="white"/>
                  </a:solidFill>
                </a:endParaRPr>
              </a:p>
            </p:txBody>
          </p:sp>
          <p:sp>
            <p:nvSpPr>
              <p:cNvPr id="98" name="Rectangle 153"/>
              <p:cNvSpPr>
                <a:spLocks noChangeAspect="1"/>
              </p:cNvSpPr>
              <p:nvPr/>
            </p:nvSpPr>
            <p:spPr>
              <a:xfrm>
                <a:off x="8793673" y="6401357"/>
                <a:ext cx="327014" cy="362750"/>
              </a:xfrm>
              <a:custGeom>
                <a:avLst/>
                <a:gdLst>
                  <a:gd name="connsiteX0" fmla="*/ 0 w 300129"/>
                  <a:gd name="connsiteY0" fmla="*/ 0 h 384583"/>
                  <a:gd name="connsiteX1" fmla="*/ 300129 w 300129"/>
                  <a:gd name="connsiteY1" fmla="*/ 0 h 384583"/>
                  <a:gd name="connsiteX2" fmla="*/ 300129 w 300129"/>
                  <a:gd name="connsiteY2" fmla="*/ 384583 h 384583"/>
                  <a:gd name="connsiteX3" fmla="*/ 0 w 300129"/>
                  <a:gd name="connsiteY3" fmla="*/ 384583 h 384583"/>
                  <a:gd name="connsiteX4" fmla="*/ 0 w 300129"/>
                  <a:gd name="connsiteY4" fmla="*/ 0 h 384583"/>
                  <a:gd name="connsiteX0" fmla="*/ 0 w 300129"/>
                  <a:gd name="connsiteY0" fmla="*/ 0 h 384583"/>
                  <a:gd name="connsiteX1" fmla="*/ 300129 w 300129"/>
                  <a:gd name="connsiteY1" fmla="*/ 0 h 384583"/>
                  <a:gd name="connsiteX2" fmla="*/ 266792 w 300129"/>
                  <a:gd name="connsiteY2" fmla="*/ 339339 h 384583"/>
                  <a:gd name="connsiteX3" fmla="*/ 0 w 300129"/>
                  <a:gd name="connsiteY3" fmla="*/ 384583 h 384583"/>
                  <a:gd name="connsiteX4" fmla="*/ 0 w 300129"/>
                  <a:gd name="connsiteY4" fmla="*/ 0 h 384583"/>
                  <a:gd name="connsiteX0" fmla="*/ 0 w 300129"/>
                  <a:gd name="connsiteY0" fmla="*/ 0 h 384583"/>
                  <a:gd name="connsiteX1" fmla="*/ 300129 w 300129"/>
                  <a:gd name="connsiteY1" fmla="*/ 0 h 384583"/>
                  <a:gd name="connsiteX2" fmla="*/ 266792 w 300129"/>
                  <a:gd name="connsiteY2" fmla="*/ 339339 h 384583"/>
                  <a:gd name="connsiteX3" fmla="*/ 0 w 300129"/>
                  <a:gd name="connsiteY3" fmla="*/ 384583 h 384583"/>
                  <a:gd name="connsiteX4" fmla="*/ 0 w 300129"/>
                  <a:gd name="connsiteY4" fmla="*/ 0 h 384583"/>
                  <a:gd name="connsiteX0" fmla="*/ 0 w 311074"/>
                  <a:gd name="connsiteY0" fmla="*/ 0 h 384583"/>
                  <a:gd name="connsiteX1" fmla="*/ 300129 w 311074"/>
                  <a:gd name="connsiteY1" fmla="*/ 0 h 384583"/>
                  <a:gd name="connsiteX2" fmla="*/ 266792 w 311074"/>
                  <a:gd name="connsiteY2" fmla="*/ 339339 h 384583"/>
                  <a:gd name="connsiteX3" fmla="*/ 0 w 311074"/>
                  <a:gd name="connsiteY3" fmla="*/ 384583 h 384583"/>
                  <a:gd name="connsiteX4" fmla="*/ 0 w 311074"/>
                  <a:gd name="connsiteY4" fmla="*/ 0 h 384583"/>
                  <a:gd name="connsiteX0" fmla="*/ 0 w 321872"/>
                  <a:gd name="connsiteY0" fmla="*/ 0 h 384583"/>
                  <a:gd name="connsiteX1" fmla="*/ 300129 w 321872"/>
                  <a:gd name="connsiteY1" fmla="*/ 0 h 384583"/>
                  <a:gd name="connsiteX2" fmla="*/ 266792 w 321872"/>
                  <a:gd name="connsiteY2" fmla="*/ 339339 h 384583"/>
                  <a:gd name="connsiteX3" fmla="*/ 0 w 321872"/>
                  <a:gd name="connsiteY3" fmla="*/ 384583 h 384583"/>
                  <a:gd name="connsiteX4" fmla="*/ 0 w 321872"/>
                  <a:gd name="connsiteY4" fmla="*/ 0 h 3845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872" h="384583">
                    <a:moveTo>
                      <a:pt x="0" y="0"/>
                    </a:moveTo>
                    <a:lnTo>
                      <a:pt x="300129" y="0"/>
                    </a:lnTo>
                    <a:cubicBezTo>
                      <a:pt x="319973" y="53582"/>
                      <a:pt x="349341" y="276233"/>
                      <a:pt x="266792" y="339339"/>
                    </a:cubicBezTo>
                    <a:cubicBezTo>
                      <a:pt x="204055" y="397282"/>
                      <a:pt x="88931" y="369502"/>
                      <a:pt x="0" y="384583"/>
                    </a:cubicBezTo>
                    <a:lnTo>
                      <a:pt x="0" y="0"/>
                    </a:lnTo>
                    <a:close/>
                  </a:path>
                </a:pathLst>
              </a:custGeom>
              <a:ln>
                <a:noFill/>
              </a:ln>
            </p:spPr>
            <p:style>
              <a:lnRef idx="2">
                <a:schemeClr val="accent2"/>
              </a:lnRef>
              <a:fillRef idx="1">
                <a:schemeClr val="lt1"/>
              </a:fillRef>
              <a:effectRef idx="0">
                <a:schemeClr val="accent2"/>
              </a:effectRef>
              <a:fontRef idx="minor">
                <a:schemeClr val="dk1"/>
              </a:fontRef>
            </p:style>
            <p:txBody>
              <a:bodyPr lIns="18646" tIns="18646" rIns="18646" bIns="18646" rtlCol="0" anchor="t"/>
              <a:lstStyle/>
              <a:p>
                <a:pPr algn="ctr" defTabSz="932239" fontAlgn="auto">
                  <a:spcBef>
                    <a:spcPts val="0"/>
                  </a:spcBef>
                  <a:spcAft>
                    <a:spcPts val="0"/>
                  </a:spcAft>
                </a:pPr>
                <a:r>
                  <a:rPr lang="en-IN" sz="612" dirty="0">
                    <a:solidFill>
                      <a:srgbClr val="003963"/>
                    </a:solidFill>
                    <a:latin typeface="Segoe UI Semibold" panose="020B0702040204020203" pitchFamily="34" charset="0"/>
                    <a:cs typeface="Segoe UI Semibold" panose="020B0702040204020203" pitchFamily="34" charset="0"/>
                  </a:rPr>
                  <a:t>010010</a:t>
                </a:r>
              </a:p>
              <a:p>
                <a:pPr algn="ctr" defTabSz="932239" fontAlgn="auto">
                  <a:spcBef>
                    <a:spcPts val="0"/>
                  </a:spcBef>
                  <a:spcAft>
                    <a:spcPts val="0"/>
                  </a:spcAft>
                </a:pPr>
                <a:r>
                  <a:rPr lang="en-IN" sz="612" dirty="0">
                    <a:solidFill>
                      <a:srgbClr val="003963"/>
                    </a:solidFill>
                    <a:latin typeface="Segoe UI Semibold" panose="020B0702040204020203" pitchFamily="34" charset="0"/>
                    <a:cs typeface="Segoe UI Semibold" panose="020B0702040204020203" pitchFamily="34" charset="0"/>
                  </a:rPr>
                  <a:t>100100</a:t>
                </a:r>
              </a:p>
              <a:p>
                <a:pPr algn="ctr" defTabSz="932239" fontAlgn="auto">
                  <a:spcBef>
                    <a:spcPts val="0"/>
                  </a:spcBef>
                  <a:spcAft>
                    <a:spcPts val="0"/>
                  </a:spcAft>
                </a:pPr>
                <a:r>
                  <a:rPr lang="en-IN" sz="612" dirty="0">
                    <a:solidFill>
                      <a:srgbClr val="003963"/>
                    </a:solidFill>
                    <a:latin typeface="Segoe UI Semibold" panose="020B0702040204020203" pitchFamily="34" charset="0"/>
                    <a:cs typeface="Segoe UI Semibold" panose="020B0702040204020203" pitchFamily="34" charset="0"/>
                  </a:rPr>
                  <a:t>010101</a:t>
                </a:r>
              </a:p>
            </p:txBody>
          </p:sp>
          <p:sp>
            <p:nvSpPr>
              <p:cNvPr id="99" name="Freeform 98"/>
              <p:cNvSpPr/>
              <p:nvPr>
                <p:custDataLst>
                  <p:tags r:id="rId12"/>
                </p:custDataLst>
              </p:nvPr>
            </p:nvSpPr>
            <p:spPr bwMode="auto">
              <a:xfrm rot="10800000">
                <a:off x="8781762" y="6389731"/>
                <a:ext cx="344488" cy="392893"/>
              </a:xfrm>
              <a:custGeom>
                <a:avLst/>
                <a:gdLst>
                  <a:gd name="connsiteX0" fmla="*/ 304539 w 847199"/>
                  <a:gd name="connsiteY0" fmla="*/ 57538 h 966241"/>
                  <a:gd name="connsiteX1" fmla="*/ 302555 w 847199"/>
                  <a:gd name="connsiteY1" fmla="*/ 230813 h 966241"/>
                  <a:gd name="connsiteX2" fmla="*/ 239727 w 847199"/>
                  <a:gd name="connsiteY2" fmla="*/ 276447 h 966241"/>
                  <a:gd name="connsiteX3" fmla="*/ 62813 w 847199"/>
                  <a:gd name="connsiteY3" fmla="*/ 276116 h 966241"/>
                  <a:gd name="connsiteX4" fmla="*/ 60499 w 847199"/>
                  <a:gd name="connsiteY4" fmla="*/ 849181 h 966241"/>
                  <a:gd name="connsiteX5" fmla="*/ 110100 w 847199"/>
                  <a:gd name="connsiteY5" fmla="*/ 908703 h 966241"/>
                  <a:gd name="connsiteX6" fmla="*/ 786669 w 847199"/>
                  <a:gd name="connsiteY6" fmla="*/ 904735 h 966241"/>
                  <a:gd name="connsiteX7" fmla="*/ 786669 w 847199"/>
                  <a:gd name="connsiteY7" fmla="*/ 126980 h 966241"/>
                  <a:gd name="connsiteX8" fmla="*/ 727147 w 847199"/>
                  <a:gd name="connsiteY8" fmla="*/ 59522 h 966241"/>
                  <a:gd name="connsiteX9" fmla="*/ 279755 w 847199"/>
                  <a:gd name="connsiteY9" fmla="*/ 0 h 966241"/>
                  <a:gd name="connsiteX10" fmla="*/ 763472 w 847199"/>
                  <a:gd name="connsiteY10" fmla="*/ 794 h 966241"/>
                  <a:gd name="connsiteX11" fmla="*/ 847199 w 847199"/>
                  <a:gd name="connsiteY11" fmla="*/ 95235 h 966241"/>
                  <a:gd name="connsiteX12" fmla="*/ 845215 w 847199"/>
                  <a:gd name="connsiteY12" fmla="*/ 966241 h 966241"/>
                  <a:gd name="connsiteX13" fmla="*/ 75395 w 847199"/>
                  <a:gd name="connsiteY13" fmla="*/ 966241 h 966241"/>
                  <a:gd name="connsiteX14" fmla="*/ 1984 w 847199"/>
                  <a:gd name="connsiteY14" fmla="*/ 892830 h 966241"/>
                  <a:gd name="connsiteX15" fmla="*/ 0 w 847199"/>
                  <a:gd name="connsiteY15" fmla="*/ 248008 h 966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47199" h="966241">
                    <a:moveTo>
                      <a:pt x="304539" y="57538"/>
                    </a:moveTo>
                    <a:cubicBezTo>
                      <a:pt x="303878" y="115738"/>
                      <a:pt x="305862" y="171291"/>
                      <a:pt x="302555" y="230813"/>
                    </a:cubicBezTo>
                    <a:cubicBezTo>
                      <a:pt x="295942" y="265865"/>
                      <a:pt x="283376" y="273140"/>
                      <a:pt x="239727" y="276447"/>
                    </a:cubicBezTo>
                    <a:lnTo>
                      <a:pt x="62813" y="276116"/>
                    </a:lnTo>
                    <a:cubicBezTo>
                      <a:pt x="62373" y="466807"/>
                      <a:pt x="60940" y="658490"/>
                      <a:pt x="60499" y="849181"/>
                    </a:cubicBezTo>
                    <a:cubicBezTo>
                      <a:pt x="67112" y="872990"/>
                      <a:pt x="67773" y="898783"/>
                      <a:pt x="110100" y="908703"/>
                    </a:cubicBezTo>
                    <a:lnTo>
                      <a:pt x="786669" y="904735"/>
                    </a:lnTo>
                    <a:lnTo>
                      <a:pt x="786669" y="126980"/>
                    </a:lnTo>
                    <a:cubicBezTo>
                      <a:pt x="787330" y="100526"/>
                      <a:pt x="778072" y="58199"/>
                      <a:pt x="727147" y="59522"/>
                    </a:cubicBezTo>
                    <a:close/>
                    <a:moveTo>
                      <a:pt x="279755" y="0"/>
                    </a:moveTo>
                    <a:lnTo>
                      <a:pt x="763472" y="794"/>
                    </a:lnTo>
                    <a:cubicBezTo>
                      <a:pt x="833575" y="9391"/>
                      <a:pt x="845215" y="58199"/>
                      <a:pt x="847199" y="95235"/>
                    </a:cubicBezTo>
                    <a:lnTo>
                      <a:pt x="845215" y="966241"/>
                    </a:lnTo>
                    <a:lnTo>
                      <a:pt x="75395" y="966241"/>
                    </a:lnTo>
                    <a:cubicBezTo>
                      <a:pt x="29100" y="963596"/>
                      <a:pt x="8598" y="929205"/>
                      <a:pt x="1984" y="892830"/>
                    </a:cubicBezTo>
                    <a:lnTo>
                      <a:pt x="0" y="248008"/>
                    </a:lnTo>
                    <a:close/>
                  </a:path>
                </a:pathLst>
              </a:custGeom>
              <a:solidFill>
                <a:schemeClr val="accent1">
                  <a:lumMod val="50000"/>
                </a:schemeClr>
              </a:solidFill>
              <a:ln>
                <a:noFill/>
              </a:ln>
              <a:ex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3234" tIns="46616" rIns="93234" bIns="46616" numCol="1" spcCol="0" rtlCol="0" fromWordArt="0" anchor="t" anchorCtr="0" forceAA="0" compatLnSpc="1">
                <a:prstTxWarp prst="textNoShape">
                  <a:avLst/>
                </a:prstTxWarp>
                <a:noAutofit/>
              </a:bodyPr>
              <a:lstStyle/>
              <a:p>
                <a:pPr algn="ctr" defTabSz="932239" fontAlgn="auto">
                  <a:spcBef>
                    <a:spcPts val="0"/>
                  </a:spcBef>
                  <a:spcAft>
                    <a:spcPts val="0"/>
                  </a:spcAft>
                </a:pPr>
                <a:endParaRPr lang="en-US" sz="714">
                  <a:solidFill>
                    <a:prstClr val="white"/>
                  </a:solidFill>
                </a:endParaRPr>
              </a:p>
            </p:txBody>
          </p:sp>
        </p:grpSp>
        <p:grpSp>
          <p:nvGrpSpPr>
            <p:cNvPr id="108" name="Group 107"/>
            <p:cNvGrpSpPr>
              <a:grpSpLocks noChangeAspect="1"/>
            </p:cNvGrpSpPr>
            <p:nvPr/>
          </p:nvGrpSpPr>
          <p:grpSpPr>
            <a:xfrm>
              <a:off x="9616922" y="3307162"/>
              <a:ext cx="357145" cy="397397"/>
              <a:chOff x="8718955" y="6329427"/>
              <a:chExt cx="407295" cy="453197"/>
            </a:xfrm>
            <a:solidFill>
              <a:srgbClr val="003963"/>
            </a:solidFill>
          </p:grpSpPr>
          <p:sp>
            <p:nvSpPr>
              <p:cNvPr id="110" name="Rectangle 153"/>
              <p:cNvSpPr/>
              <p:nvPr/>
            </p:nvSpPr>
            <p:spPr>
              <a:xfrm>
                <a:off x="8735580" y="6346031"/>
                <a:ext cx="310801" cy="359416"/>
              </a:xfrm>
              <a:custGeom>
                <a:avLst/>
                <a:gdLst>
                  <a:gd name="connsiteX0" fmla="*/ 0 w 300129"/>
                  <a:gd name="connsiteY0" fmla="*/ 0 h 384583"/>
                  <a:gd name="connsiteX1" fmla="*/ 300129 w 300129"/>
                  <a:gd name="connsiteY1" fmla="*/ 0 h 384583"/>
                  <a:gd name="connsiteX2" fmla="*/ 300129 w 300129"/>
                  <a:gd name="connsiteY2" fmla="*/ 384583 h 384583"/>
                  <a:gd name="connsiteX3" fmla="*/ 0 w 300129"/>
                  <a:gd name="connsiteY3" fmla="*/ 384583 h 384583"/>
                  <a:gd name="connsiteX4" fmla="*/ 0 w 300129"/>
                  <a:gd name="connsiteY4" fmla="*/ 0 h 384583"/>
                  <a:gd name="connsiteX0" fmla="*/ 0 w 300129"/>
                  <a:gd name="connsiteY0" fmla="*/ 0 h 384583"/>
                  <a:gd name="connsiteX1" fmla="*/ 300129 w 300129"/>
                  <a:gd name="connsiteY1" fmla="*/ 0 h 384583"/>
                  <a:gd name="connsiteX2" fmla="*/ 266792 w 300129"/>
                  <a:gd name="connsiteY2" fmla="*/ 339339 h 384583"/>
                  <a:gd name="connsiteX3" fmla="*/ 0 w 300129"/>
                  <a:gd name="connsiteY3" fmla="*/ 384583 h 384583"/>
                  <a:gd name="connsiteX4" fmla="*/ 0 w 300129"/>
                  <a:gd name="connsiteY4" fmla="*/ 0 h 384583"/>
                  <a:gd name="connsiteX0" fmla="*/ 0 w 300129"/>
                  <a:gd name="connsiteY0" fmla="*/ 0 h 384583"/>
                  <a:gd name="connsiteX1" fmla="*/ 300129 w 300129"/>
                  <a:gd name="connsiteY1" fmla="*/ 0 h 384583"/>
                  <a:gd name="connsiteX2" fmla="*/ 266792 w 300129"/>
                  <a:gd name="connsiteY2" fmla="*/ 339339 h 384583"/>
                  <a:gd name="connsiteX3" fmla="*/ 0 w 300129"/>
                  <a:gd name="connsiteY3" fmla="*/ 384583 h 384583"/>
                  <a:gd name="connsiteX4" fmla="*/ 0 w 300129"/>
                  <a:gd name="connsiteY4" fmla="*/ 0 h 384583"/>
                  <a:gd name="connsiteX0" fmla="*/ 0 w 311074"/>
                  <a:gd name="connsiteY0" fmla="*/ 0 h 384583"/>
                  <a:gd name="connsiteX1" fmla="*/ 300129 w 311074"/>
                  <a:gd name="connsiteY1" fmla="*/ 0 h 384583"/>
                  <a:gd name="connsiteX2" fmla="*/ 266792 w 311074"/>
                  <a:gd name="connsiteY2" fmla="*/ 339339 h 384583"/>
                  <a:gd name="connsiteX3" fmla="*/ 0 w 311074"/>
                  <a:gd name="connsiteY3" fmla="*/ 384583 h 384583"/>
                  <a:gd name="connsiteX4" fmla="*/ 0 w 311074"/>
                  <a:gd name="connsiteY4" fmla="*/ 0 h 384583"/>
                  <a:gd name="connsiteX0" fmla="*/ 0 w 321872"/>
                  <a:gd name="connsiteY0" fmla="*/ 0 h 384583"/>
                  <a:gd name="connsiteX1" fmla="*/ 300129 w 321872"/>
                  <a:gd name="connsiteY1" fmla="*/ 0 h 384583"/>
                  <a:gd name="connsiteX2" fmla="*/ 266792 w 321872"/>
                  <a:gd name="connsiteY2" fmla="*/ 339339 h 384583"/>
                  <a:gd name="connsiteX3" fmla="*/ 0 w 321872"/>
                  <a:gd name="connsiteY3" fmla="*/ 384583 h 384583"/>
                  <a:gd name="connsiteX4" fmla="*/ 0 w 321872"/>
                  <a:gd name="connsiteY4" fmla="*/ 0 h 384583"/>
                  <a:gd name="connsiteX0" fmla="*/ 0 w 300129"/>
                  <a:gd name="connsiteY0" fmla="*/ 0 h 384583"/>
                  <a:gd name="connsiteX1" fmla="*/ 300129 w 300129"/>
                  <a:gd name="connsiteY1" fmla="*/ 0 h 384583"/>
                  <a:gd name="connsiteX2" fmla="*/ 0 w 300129"/>
                  <a:gd name="connsiteY2" fmla="*/ 384583 h 384583"/>
                  <a:gd name="connsiteX3" fmla="*/ 0 w 300129"/>
                  <a:gd name="connsiteY3" fmla="*/ 0 h 384583"/>
                  <a:gd name="connsiteX0" fmla="*/ 0 w 302713"/>
                  <a:gd name="connsiteY0" fmla="*/ 0 h 384583"/>
                  <a:gd name="connsiteX1" fmla="*/ 300129 w 302713"/>
                  <a:gd name="connsiteY1" fmla="*/ 0 h 384583"/>
                  <a:gd name="connsiteX2" fmla="*/ 0 w 302713"/>
                  <a:gd name="connsiteY2" fmla="*/ 384583 h 384583"/>
                  <a:gd name="connsiteX3" fmla="*/ 0 w 302713"/>
                  <a:gd name="connsiteY3" fmla="*/ 0 h 384583"/>
                  <a:gd name="connsiteX0" fmla="*/ 0 w 302915"/>
                  <a:gd name="connsiteY0" fmla="*/ 0 h 384688"/>
                  <a:gd name="connsiteX1" fmla="*/ 300129 w 302915"/>
                  <a:gd name="connsiteY1" fmla="*/ 0 h 384688"/>
                  <a:gd name="connsiteX2" fmla="*/ 0 w 302915"/>
                  <a:gd name="connsiteY2" fmla="*/ 384583 h 384688"/>
                  <a:gd name="connsiteX3" fmla="*/ 0 w 302915"/>
                  <a:gd name="connsiteY3" fmla="*/ 0 h 384688"/>
                  <a:gd name="connsiteX0" fmla="*/ 0 w 303865"/>
                  <a:gd name="connsiteY0" fmla="*/ 0 h 384688"/>
                  <a:gd name="connsiteX1" fmla="*/ 300129 w 303865"/>
                  <a:gd name="connsiteY1" fmla="*/ 0 h 384688"/>
                  <a:gd name="connsiteX2" fmla="*/ 0 w 303865"/>
                  <a:gd name="connsiteY2" fmla="*/ 384583 h 384688"/>
                  <a:gd name="connsiteX3" fmla="*/ 0 w 303865"/>
                  <a:gd name="connsiteY3" fmla="*/ 0 h 384688"/>
                  <a:gd name="connsiteX0" fmla="*/ 0 w 303865"/>
                  <a:gd name="connsiteY0" fmla="*/ 0 h 384700"/>
                  <a:gd name="connsiteX1" fmla="*/ 300129 w 303865"/>
                  <a:gd name="connsiteY1" fmla="*/ 0 h 384700"/>
                  <a:gd name="connsiteX2" fmla="*/ 0 w 303865"/>
                  <a:gd name="connsiteY2" fmla="*/ 384583 h 384700"/>
                  <a:gd name="connsiteX3" fmla="*/ 0 w 303865"/>
                  <a:gd name="connsiteY3" fmla="*/ 0 h 384700"/>
                  <a:gd name="connsiteX0" fmla="*/ 0 w 304322"/>
                  <a:gd name="connsiteY0" fmla="*/ 0 h 384583"/>
                  <a:gd name="connsiteX1" fmla="*/ 300129 w 304322"/>
                  <a:gd name="connsiteY1" fmla="*/ 0 h 384583"/>
                  <a:gd name="connsiteX2" fmla="*/ 0 w 304322"/>
                  <a:gd name="connsiteY2" fmla="*/ 384583 h 384583"/>
                  <a:gd name="connsiteX3" fmla="*/ 0 w 304322"/>
                  <a:gd name="connsiteY3" fmla="*/ 0 h 384583"/>
                  <a:gd name="connsiteX0" fmla="*/ 0 w 301605"/>
                  <a:gd name="connsiteY0" fmla="*/ 0 h 384583"/>
                  <a:gd name="connsiteX1" fmla="*/ 300129 w 301605"/>
                  <a:gd name="connsiteY1" fmla="*/ 0 h 384583"/>
                  <a:gd name="connsiteX2" fmla="*/ 0 w 301605"/>
                  <a:gd name="connsiteY2" fmla="*/ 384583 h 384583"/>
                  <a:gd name="connsiteX3" fmla="*/ 0 w 301605"/>
                  <a:gd name="connsiteY3" fmla="*/ 0 h 384583"/>
                  <a:gd name="connsiteX0" fmla="*/ 0 w 301447"/>
                  <a:gd name="connsiteY0" fmla="*/ 0 h 402570"/>
                  <a:gd name="connsiteX1" fmla="*/ 300129 w 301447"/>
                  <a:gd name="connsiteY1" fmla="*/ 0 h 402570"/>
                  <a:gd name="connsiteX2" fmla="*/ 0 w 301447"/>
                  <a:gd name="connsiteY2" fmla="*/ 384583 h 402570"/>
                  <a:gd name="connsiteX3" fmla="*/ 0 w 301447"/>
                  <a:gd name="connsiteY3" fmla="*/ 0 h 402570"/>
                  <a:gd name="connsiteX0" fmla="*/ 2234 w 303665"/>
                  <a:gd name="connsiteY0" fmla="*/ 0 h 410060"/>
                  <a:gd name="connsiteX1" fmla="*/ 302363 w 303665"/>
                  <a:gd name="connsiteY1" fmla="*/ 0 h 410060"/>
                  <a:gd name="connsiteX2" fmla="*/ 0 w 303665"/>
                  <a:gd name="connsiteY2" fmla="*/ 392382 h 410060"/>
                  <a:gd name="connsiteX3" fmla="*/ 2234 w 303665"/>
                  <a:gd name="connsiteY3" fmla="*/ 0 h 410060"/>
                  <a:gd name="connsiteX0" fmla="*/ 2234 w 303680"/>
                  <a:gd name="connsiteY0" fmla="*/ 0 h 403956"/>
                  <a:gd name="connsiteX1" fmla="*/ 302363 w 303680"/>
                  <a:gd name="connsiteY1" fmla="*/ 0 h 403956"/>
                  <a:gd name="connsiteX2" fmla="*/ 0 w 303680"/>
                  <a:gd name="connsiteY2" fmla="*/ 392382 h 403956"/>
                  <a:gd name="connsiteX3" fmla="*/ 2234 w 303680"/>
                  <a:gd name="connsiteY3" fmla="*/ 0 h 403956"/>
                  <a:gd name="connsiteX0" fmla="*/ 2234 w 303782"/>
                  <a:gd name="connsiteY0" fmla="*/ 0 h 392382"/>
                  <a:gd name="connsiteX1" fmla="*/ 302363 w 303782"/>
                  <a:gd name="connsiteY1" fmla="*/ 0 h 392382"/>
                  <a:gd name="connsiteX2" fmla="*/ 0 w 303782"/>
                  <a:gd name="connsiteY2" fmla="*/ 392382 h 392382"/>
                  <a:gd name="connsiteX3" fmla="*/ 2234 w 303782"/>
                  <a:gd name="connsiteY3" fmla="*/ 0 h 392382"/>
                  <a:gd name="connsiteX0" fmla="*/ 2234 w 302363"/>
                  <a:gd name="connsiteY0" fmla="*/ 0 h 392382"/>
                  <a:gd name="connsiteX1" fmla="*/ 302363 w 302363"/>
                  <a:gd name="connsiteY1" fmla="*/ 0 h 392382"/>
                  <a:gd name="connsiteX2" fmla="*/ 0 w 302363"/>
                  <a:gd name="connsiteY2" fmla="*/ 392382 h 392382"/>
                  <a:gd name="connsiteX3" fmla="*/ 2234 w 302363"/>
                  <a:gd name="connsiteY3" fmla="*/ 0 h 392382"/>
                </a:gdLst>
                <a:ahLst/>
                <a:cxnLst>
                  <a:cxn ang="0">
                    <a:pos x="connsiteX0" y="connsiteY0"/>
                  </a:cxn>
                  <a:cxn ang="0">
                    <a:pos x="connsiteX1" y="connsiteY1"/>
                  </a:cxn>
                  <a:cxn ang="0">
                    <a:pos x="connsiteX2" y="connsiteY2"/>
                  </a:cxn>
                  <a:cxn ang="0">
                    <a:pos x="connsiteX3" y="connsiteY3"/>
                  </a:cxn>
                </a:cxnLst>
                <a:rect l="l" t="t" r="r" b="b"/>
                <a:pathLst>
                  <a:path w="302363" h="392382">
                    <a:moveTo>
                      <a:pt x="2234" y="0"/>
                    </a:moveTo>
                    <a:lnTo>
                      <a:pt x="302363" y="0"/>
                    </a:lnTo>
                    <a:cubicBezTo>
                      <a:pt x="255395" y="120404"/>
                      <a:pt x="167159" y="364972"/>
                      <a:pt x="0" y="392382"/>
                    </a:cubicBezTo>
                    <a:cubicBezTo>
                      <a:pt x="745" y="261588"/>
                      <a:pt x="1489" y="130794"/>
                      <a:pt x="2234" y="0"/>
                    </a:cubicBezTo>
                    <a:close/>
                  </a:path>
                </a:pathLst>
              </a:custGeom>
              <a:ln>
                <a:noFill/>
              </a:ln>
            </p:spPr>
            <p:style>
              <a:lnRef idx="2">
                <a:schemeClr val="accent2"/>
              </a:lnRef>
              <a:fillRef idx="1">
                <a:schemeClr val="lt1"/>
              </a:fillRef>
              <a:effectRef idx="0">
                <a:schemeClr val="accent2"/>
              </a:effectRef>
              <a:fontRef idx="minor">
                <a:schemeClr val="dk1"/>
              </a:fontRef>
            </p:style>
            <p:txBody>
              <a:bodyPr lIns="18646" tIns="18646" rIns="18646" bIns="18646" rtlCol="0" anchor="t"/>
              <a:lstStyle/>
              <a:p>
                <a:pPr algn="ctr" defTabSz="932239" fontAlgn="auto">
                  <a:spcBef>
                    <a:spcPts val="0"/>
                  </a:spcBef>
                  <a:spcAft>
                    <a:spcPts val="0"/>
                  </a:spcAft>
                </a:pPr>
                <a:endParaRPr lang="en-IN" sz="612" dirty="0">
                  <a:solidFill>
                    <a:srgbClr val="FF8C00"/>
                  </a:solidFill>
                  <a:latin typeface="Segoe UI Semibold" panose="020B0702040204020203" pitchFamily="34" charset="0"/>
                  <a:cs typeface="Segoe UI Semibold" panose="020B0702040204020203" pitchFamily="34" charset="0"/>
                </a:endParaRPr>
              </a:p>
            </p:txBody>
          </p:sp>
          <p:sp>
            <p:nvSpPr>
              <p:cNvPr id="111" name="Freeform 110"/>
              <p:cNvSpPr/>
              <p:nvPr>
                <p:custDataLst>
                  <p:tags r:id="rId9"/>
                </p:custDataLst>
              </p:nvPr>
            </p:nvSpPr>
            <p:spPr bwMode="auto">
              <a:xfrm rot="10800000">
                <a:off x="8718955" y="6329427"/>
                <a:ext cx="343786" cy="392623"/>
              </a:xfrm>
              <a:custGeom>
                <a:avLst/>
                <a:gdLst>
                  <a:gd name="connsiteX0" fmla="*/ 342979 w 343786"/>
                  <a:gd name="connsiteY0" fmla="*/ 392623 h 392623"/>
                  <a:gd name="connsiteX1" fmla="*/ 29955 w 343786"/>
                  <a:gd name="connsiteY1" fmla="*/ 392623 h 392623"/>
                  <a:gd name="connsiteX2" fmla="*/ 105 w 343786"/>
                  <a:gd name="connsiteY2" fmla="*/ 362773 h 392623"/>
                  <a:gd name="connsiteX3" fmla="*/ 0 w 343786"/>
                  <a:gd name="connsiteY3" fmla="*/ 328722 h 392623"/>
                  <a:gd name="connsiteX4" fmla="*/ 23964 w 343786"/>
                  <a:gd name="connsiteY4" fmla="*/ 328722 h 392623"/>
                  <a:gd name="connsiteX5" fmla="*/ 23898 w 343786"/>
                  <a:gd name="connsiteY5" fmla="*/ 345024 h 392623"/>
                  <a:gd name="connsiteX6" fmla="*/ 44067 w 343786"/>
                  <a:gd name="connsiteY6" fmla="*/ 369227 h 392623"/>
                  <a:gd name="connsiteX7" fmla="*/ 319173 w 343786"/>
                  <a:gd name="connsiteY7" fmla="*/ 367614 h 392623"/>
                  <a:gd name="connsiteX8" fmla="*/ 319173 w 343786"/>
                  <a:gd name="connsiteY8" fmla="*/ 51363 h 392623"/>
                  <a:gd name="connsiteX9" fmla="*/ 294970 w 343786"/>
                  <a:gd name="connsiteY9" fmla="*/ 23933 h 392623"/>
                  <a:gd name="connsiteX10" fmla="*/ 276999 w 343786"/>
                  <a:gd name="connsiteY10" fmla="*/ 23849 h 392623"/>
                  <a:gd name="connsiteX11" fmla="*/ 277053 w 343786"/>
                  <a:gd name="connsiteY11" fmla="*/ 0 h 392623"/>
                  <a:gd name="connsiteX12" fmla="*/ 309741 w 343786"/>
                  <a:gd name="connsiteY12" fmla="*/ 53 h 392623"/>
                  <a:gd name="connsiteX13" fmla="*/ 343786 w 343786"/>
                  <a:gd name="connsiteY13" fmla="*/ 38455 h 392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43786" h="392623">
                    <a:moveTo>
                      <a:pt x="342979" y="392623"/>
                    </a:moveTo>
                    <a:lnTo>
                      <a:pt x="29955" y="392623"/>
                    </a:lnTo>
                    <a:cubicBezTo>
                      <a:pt x="11131" y="391548"/>
                      <a:pt x="2794" y="377564"/>
                      <a:pt x="105" y="362773"/>
                    </a:cubicBezTo>
                    <a:lnTo>
                      <a:pt x="0" y="328722"/>
                    </a:lnTo>
                    <a:lnTo>
                      <a:pt x="23964" y="328722"/>
                    </a:lnTo>
                    <a:lnTo>
                      <a:pt x="23898" y="345024"/>
                    </a:lnTo>
                    <a:cubicBezTo>
                      <a:pt x="26587" y="354706"/>
                      <a:pt x="26856" y="365193"/>
                      <a:pt x="44067" y="369227"/>
                    </a:cubicBezTo>
                    <a:lnTo>
                      <a:pt x="319173" y="367614"/>
                    </a:lnTo>
                    <a:lnTo>
                      <a:pt x="319173" y="51363"/>
                    </a:lnTo>
                    <a:cubicBezTo>
                      <a:pt x="319442" y="40606"/>
                      <a:pt x="315678" y="23395"/>
                      <a:pt x="294970" y="23933"/>
                    </a:cubicBezTo>
                    <a:lnTo>
                      <a:pt x="276999" y="23849"/>
                    </a:lnTo>
                    <a:lnTo>
                      <a:pt x="277053" y="0"/>
                    </a:lnTo>
                    <a:lnTo>
                      <a:pt x="309741" y="53"/>
                    </a:lnTo>
                    <a:cubicBezTo>
                      <a:pt x="338246" y="3549"/>
                      <a:pt x="342979" y="23395"/>
                      <a:pt x="343786" y="38455"/>
                    </a:cubicBezTo>
                    <a:close/>
                  </a:path>
                </a:pathLst>
              </a:custGeom>
              <a:solidFill>
                <a:schemeClr val="accent1">
                  <a:lumMod val="50000"/>
                </a:schemeClr>
              </a:solidFill>
              <a:ln>
                <a:noFill/>
              </a:ln>
              <a:ex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3234" tIns="46616" rIns="93234" bIns="46616" numCol="1" spcCol="0" rtlCol="0" fromWordArt="0" anchor="t" anchorCtr="0" forceAA="0" compatLnSpc="1">
                <a:prstTxWarp prst="textNoShape">
                  <a:avLst/>
                </a:prstTxWarp>
                <a:noAutofit/>
              </a:bodyPr>
              <a:lstStyle/>
              <a:p>
                <a:pPr algn="ctr" defTabSz="932239" fontAlgn="auto">
                  <a:spcBef>
                    <a:spcPts val="0"/>
                  </a:spcBef>
                  <a:spcAft>
                    <a:spcPts val="0"/>
                  </a:spcAft>
                </a:pPr>
                <a:endParaRPr lang="en-US" sz="714">
                  <a:solidFill>
                    <a:prstClr val="white"/>
                  </a:solidFill>
                </a:endParaRPr>
              </a:p>
            </p:txBody>
          </p:sp>
          <p:sp>
            <p:nvSpPr>
              <p:cNvPr id="112" name="Rectangle 153"/>
              <p:cNvSpPr>
                <a:spLocks noChangeAspect="1"/>
              </p:cNvSpPr>
              <p:nvPr/>
            </p:nvSpPr>
            <p:spPr>
              <a:xfrm>
                <a:off x="8793673" y="6401357"/>
                <a:ext cx="327014" cy="362750"/>
              </a:xfrm>
              <a:custGeom>
                <a:avLst/>
                <a:gdLst>
                  <a:gd name="connsiteX0" fmla="*/ 0 w 300129"/>
                  <a:gd name="connsiteY0" fmla="*/ 0 h 384583"/>
                  <a:gd name="connsiteX1" fmla="*/ 300129 w 300129"/>
                  <a:gd name="connsiteY1" fmla="*/ 0 h 384583"/>
                  <a:gd name="connsiteX2" fmla="*/ 300129 w 300129"/>
                  <a:gd name="connsiteY2" fmla="*/ 384583 h 384583"/>
                  <a:gd name="connsiteX3" fmla="*/ 0 w 300129"/>
                  <a:gd name="connsiteY3" fmla="*/ 384583 h 384583"/>
                  <a:gd name="connsiteX4" fmla="*/ 0 w 300129"/>
                  <a:gd name="connsiteY4" fmla="*/ 0 h 384583"/>
                  <a:gd name="connsiteX0" fmla="*/ 0 w 300129"/>
                  <a:gd name="connsiteY0" fmla="*/ 0 h 384583"/>
                  <a:gd name="connsiteX1" fmla="*/ 300129 w 300129"/>
                  <a:gd name="connsiteY1" fmla="*/ 0 h 384583"/>
                  <a:gd name="connsiteX2" fmla="*/ 266792 w 300129"/>
                  <a:gd name="connsiteY2" fmla="*/ 339339 h 384583"/>
                  <a:gd name="connsiteX3" fmla="*/ 0 w 300129"/>
                  <a:gd name="connsiteY3" fmla="*/ 384583 h 384583"/>
                  <a:gd name="connsiteX4" fmla="*/ 0 w 300129"/>
                  <a:gd name="connsiteY4" fmla="*/ 0 h 384583"/>
                  <a:gd name="connsiteX0" fmla="*/ 0 w 300129"/>
                  <a:gd name="connsiteY0" fmla="*/ 0 h 384583"/>
                  <a:gd name="connsiteX1" fmla="*/ 300129 w 300129"/>
                  <a:gd name="connsiteY1" fmla="*/ 0 h 384583"/>
                  <a:gd name="connsiteX2" fmla="*/ 266792 w 300129"/>
                  <a:gd name="connsiteY2" fmla="*/ 339339 h 384583"/>
                  <a:gd name="connsiteX3" fmla="*/ 0 w 300129"/>
                  <a:gd name="connsiteY3" fmla="*/ 384583 h 384583"/>
                  <a:gd name="connsiteX4" fmla="*/ 0 w 300129"/>
                  <a:gd name="connsiteY4" fmla="*/ 0 h 384583"/>
                  <a:gd name="connsiteX0" fmla="*/ 0 w 311074"/>
                  <a:gd name="connsiteY0" fmla="*/ 0 h 384583"/>
                  <a:gd name="connsiteX1" fmla="*/ 300129 w 311074"/>
                  <a:gd name="connsiteY1" fmla="*/ 0 h 384583"/>
                  <a:gd name="connsiteX2" fmla="*/ 266792 w 311074"/>
                  <a:gd name="connsiteY2" fmla="*/ 339339 h 384583"/>
                  <a:gd name="connsiteX3" fmla="*/ 0 w 311074"/>
                  <a:gd name="connsiteY3" fmla="*/ 384583 h 384583"/>
                  <a:gd name="connsiteX4" fmla="*/ 0 w 311074"/>
                  <a:gd name="connsiteY4" fmla="*/ 0 h 384583"/>
                  <a:gd name="connsiteX0" fmla="*/ 0 w 321872"/>
                  <a:gd name="connsiteY0" fmla="*/ 0 h 384583"/>
                  <a:gd name="connsiteX1" fmla="*/ 300129 w 321872"/>
                  <a:gd name="connsiteY1" fmla="*/ 0 h 384583"/>
                  <a:gd name="connsiteX2" fmla="*/ 266792 w 321872"/>
                  <a:gd name="connsiteY2" fmla="*/ 339339 h 384583"/>
                  <a:gd name="connsiteX3" fmla="*/ 0 w 321872"/>
                  <a:gd name="connsiteY3" fmla="*/ 384583 h 384583"/>
                  <a:gd name="connsiteX4" fmla="*/ 0 w 321872"/>
                  <a:gd name="connsiteY4" fmla="*/ 0 h 3845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872" h="384583">
                    <a:moveTo>
                      <a:pt x="0" y="0"/>
                    </a:moveTo>
                    <a:lnTo>
                      <a:pt x="300129" y="0"/>
                    </a:lnTo>
                    <a:cubicBezTo>
                      <a:pt x="319973" y="53582"/>
                      <a:pt x="349341" y="276233"/>
                      <a:pt x="266792" y="339339"/>
                    </a:cubicBezTo>
                    <a:cubicBezTo>
                      <a:pt x="204055" y="397282"/>
                      <a:pt x="88931" y="369502"/>
                      <a:pt x="0" y="384583"/>
                    </a:cubicBezTo>
                    <a:lnTo>
                      <a:pt x="0" y="0"/>
                    </a:lnTo>
                    <a:close/>
                  </a:path>
                </a:pathLst>
              </a:custGeom>
              <a:ln>
                <a:noFill/>
              </a:ln>
            </p:spPr>
            <p:style>
              <a:lnRef idx="2">
                <a:schemeClr val="accent2"/>
              </a:lnRef>
              <a:fillRef idx="1">
                <a:schemeClr val="lt1"/>
              </a:fillRef>
              <a:effectRef idx="0">
                <a:schemeClr val="accent2"/>
              </a:effectRef>
              <a:fontRef idx="minor">
                <a:schemeClr val="dk1"/>
              </a:fontRef>
            </p:style>
            <p:txBody>
              <a:bodyPr lIns="18646" tIns="18646" rIns="18646" bIns="18646" rtlCol="0" anchor="t"/>
              <a:lstStyle/>
              <a:p>
                <a:pPr algn="ctr" defTabSz="932239" fontAlgn="auto">
                  <a:spcBef>
                    <a:spcPts val="0"/>
                  </a:spcBef>
                  <a:spcAft>
                    <a:spcPts val="0"/>
                  </a:spcAft>
                </a:pPr>
                <a:r>
                  <a:rPr lang="en-IN" sz="612" dirty="0">
                    <a:solidFill>
                      <a:srgbClr val="003963"/>
                    </a:solidFill>
                    <a:latin typeface="Segoe UI Semibold" panose="020B0702040204020203" pitchFamily="34" charset="0"/>
                    <a:cs typeface="Segoe UI Semibold" panose="020B0702040204020203" pitchFamily="34" charset="0"/>
                  </a:rPr>
                  <a:t>010010</a:t>
                </a:r>
              </a:p>
              <a:p>
                <a:pPr algn="ctr" defTabSz="932239" fontAlgn="auto">
                  <a:spcBef>
                    <a:spcPts val="0"/>
                  </a:spcBef>
                  <a:spcAft>
                    <a:spcPts val="0"/>
                  </a:spcAft>
                </a:pPr>
                <a:r>
                  <a:rPr lang="en-IN" sz="612" dirty="0">
                    <a:solidFill>
                      <a:srgbClr val="003963"/>
                    </a:solidFill>
                    <a:latin typeface="Segoe UI Semibold" panose="020B0702040204020203" pitchFamily="34" charset="0"/>
                    <a:cs typeface="Segoe UI Semibold" panose="020B0702040204020203" pitchFamily="34" charset="0"/>
                  </a:rPr>
                  <a:t>100100</a:t>
                </a:r>
              </a:p>
              <a:p>
                <a:pPr algn="ctr" defTabSz="932239" fontAlgn="auto">
                  <a:spcBef>
                    <a:spcPts val="0"/>
                  </a:spcBef>
                  <a:spcAft>
                    <a:spcPts val="0"/>
                  </a:spcAft>
                </a:pPr>
                <a:r>
                  <a:rPr lang="en-IN" sz="612" dirty="0">
                    <a:solidFill>
                      <a:srgbClr val="003963"/>
                    </a:solidFill>
                    <a:latin typeface="Segoe UI Semibold" panose="020B0702040204020203" pitchFamily="34" charset="0"/>
                    <a:cs typeface="Segoe UI Semibold" panose="020B0702040204020203" pitchFamily="34" charset="0"/>
                  </a:rPr>
                  <a:t>010101</a:t>
                </a:r>
              </a:p>
            </p:txBody>
          </p:sp>
          <p:sp>
            <p:nvSpPr>
              <p:cNvPr id="113" name="Freeform 112"/>
              <p:cNvSpPr/>
              <p:nvPr>
                <p:custDataLst>
                  <p:tags r:id="rId10"/>
                </p:custDataLst>
              </p:nvPr>
            </p:nvSpPr>
            <p:spPr bwMode="auto">
              <a:xfrm rot="10800000">
                <a:off x="8781762" y="6389731"/>
                <a:ext cx="344488" cy="392893"/>
              </a:xfrm>
              <a:custGeom>
                <a:avLst/>
                <a:gdLst>
                  <a:gd name="connsiteX0" fmla="*/ 304539 w 847199"/>
                  <a:gd name="connsiteY0" fmla="*/ 57538 h 966241"/>
                  <a:gd name="connsiteX1" fmla="*/ 302555 w 847199"/>
                  <a:gd name="connsiteY1" fmla="*/ 230813 h 966241"/>
                  <a:gd name="connsiteX2" fmla="*/ 239727 w 847199"/>
                  <a:gd name="connsiteY2" fmla="*/ 276447 h 966241"/>
                  <a:gd name="connsiteX3" fmla="*/ 62813 w 847199"/>
                  <a:gd name="connsiteY3" fmla="*/ 276116 h 966241"/>
                  <a:gd name="connsiteX4" fmla="*/ 60499 w 847199"/>
                  <a:gd name="connsiteY4" fmla="*/ 849181 h 966241"/>
                  <a:gd name="connsiteX5" fmla="*/ 110100 w 847199"/>
                  <a:gd name="connsiteY5" fmla="*/ 908703 h 966241"/>
                  <a:gd name="connsiteX6" fmla="*/ 786669 w 847199"/>
                  <a:gd name="connsiteY6" fmla="*/ 904735 h 966241"/>
                  <a:gd name="connsiteX7" fmla="*/ 786669 w 847199"/>
                  <a:gd name="connsiteY7" fmla="*/ 126980 h 966241"/>
                  <a:gd name="connsiteX8" fmla="*/ 727147 w 847199"/>
                  <a:gd name="connsiteY8" fmla="*/ 59522 h 966241"/>
                  <a:gd name="connsiteX9" fmla="*/ 279755 w 847199"/>
                  <a:gd name="connsiteY9" fmla="*/ 0 h 966241"/>
                  <a:gd name="connsiteX10" fmla="*/ 763472 w 847199"/>
                  <a:gd name="connsiteY10" fmla="*/ 794 h 966241"/>
                  <a:gd name="connsiteX11" fmla="*/ 847199 w 847199"/>
                  <a:gd name="connsiteY11" fmla="*/ 95235 h 966241"/>
                  <a:gd name="connsiteX12" fmla="*/ 845215 w 847199"/>
                  <a:gd name="connsiteY12" fmla="*/ 966241 h 966241"/>
                  <a:gd name="connsiteX13" fmla="*/ 75395 w 847199"/>
                  <a:gd name="connsiteY13" fmla="*/ 966241 h 966241"/>
                  <a:gd name="connsiteX14" fmla="*/ 1984 w 847199"/>
                  <a:gd name="connsiteY14" fmla="*/ 892830 h 966241"/>
                  <a:gd name="connsiteX15" fmla="*/ 0 w 847199"/>
                  <a:gd name="connsiteY15" fmla="*/ 248008 h 966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47199" h="966241">
                    <a:moveTo>
                      <a:pt x="304539" y="57538"/>
                    </a:moveTo>
                    <a:cubicBezTo>
                      <a:pt x="303878" y="115738"/>
                      <a:pt x="305862" y="171291"/>
                      <a:pt x="302555" y="230813"/>
                    </a:cubicBezTo>
                    <a:cubicBezTo>
                      <a:pt x="295942" y="265865"/>
                      <a:pt x="283376" y="273140"/>
                      <a:pt x="239727" y="276447"/>
                    </a:cubicBezTo>
                    <a:lnTo>
                      <a:pt x="62813" y="276116"/>
                    </a:lnTo>
                    <a:cubicBezTo>
                      <a:pt x="62373" y="466807"/>
                      <a:pt x="60940" y="658490"/>
                      <a:pt x="60499" y="849181"/>
                    </a:cubicBezTo>
                    <a:cubicBezTo>
                      <a:pt x="67112" y="872990"/>
                      <a:pt x="67773" y="898783"/>
                      <a:pt x="110100" y="908703"/>
                    </a:cubicBezTo>
                    <a:lnTo>
                      <a:pt x="786669" y="904735"/>
                    </a:lnTo>
                    <a:lnTo>
                      <a:pt x="786669" y="126980"/>
                    </a:lnTo>
                    <a:cubicBezTo>
                      <a:pt x="787330" y="100526"/>
                      <a:pt x="778072" y="58199"/>
                      <a:pt x="727147" y="59522"/>
                    </a:cubicBezTo>
                    <a:close/>
                    <a:moveTo>
                      <a:pt x="279755" y="0"/>
                    </a:moveTo>
                    <a:lnTo>
                      <a:pt x="763472" y="794"/>
                    </a:lnTo>
                    <a:cubicBezTo>
                      <a:pt x="833575" y="9391"/>
                      <a:pt x="845215" y="58199"/>
                      <a:pt x="847199" y="95235"/>
                    </a:cubicBezTo>
                    <a:lnTo>
                      <a:pt x="845215" y="966241"/>
                    </a:lnTo>
                    <a:lnTo>
                      <a:pt x="75395" y="966241"/>
                    </a:lnTo>
                    <a:cubicBezTo>
                      <a:pt x="29100" y="963596"/>
                      <a:pt x="8598" y="929205"/>
                      <a:pt x="1984" y="892830"/>
                    </a:cubicBezTo>
                    <a:lnTo>
                      <a:pt x="0" y="248008"/>
                    </a:lnTo>
                    <a:close/>
                  </a:path>
                </a:pathLst>
              </a:custGeom>
              <a:solidFill>
                <a:schemeClr val="accent1">
                  <a:lumMod val="50000"/>
                </a:schemeClr>
              </a:solidFill>
              <a:ln>
                <a:noFill/>
              </a:ln>
              <a:ex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3234" tIns="46616" rIns="93234" bIns="46616" numCol="1" spcCol="0" rtlCol="0" fromWordArt="0" anchor="t" anchorCtr="0" forceAA="0" compatLnSpc="1">
                <a:prstTxWarp prst="textNoShape">
                  <a:avLst/>
                </a:prstTxWarp>
                <a:noAutofit/>
              </a:bodyPr>
              <a:lstStyle/>
              <a:p>
                <a:pPr algn="ctr" defTabSz="932239" fontAlgn="auto">
                  <a:spcBef>
                    <a:spcPts val="0"/>
                  </a:spcBef>
                  <a:spcAft>
                    <a:spcPts val="0"/>
                  </a:spcAft>
                </a:pPr>
                <a:endParaRPr lang="en-US" sz="714">
                  <a:solidFill>
                    <a:prstClr val="white"/>
                  </a:solidFill>
                </a:endParaRPr>
              </a:p>
            </p:txBody>
          </p:sp>
        </p:grpSp>
        <p:grpSp>
          <p:nvGrpSpPr>
            <p:cNvPr id="114" name="Group 113"/>
            <p:cNvGrpSpPr>
              <a:grpSpLocks noChangeAspect="1"/>
            </p:cNvGrpSpPr>
            <p:nvPr/>
          </p:nvGrpSpPr>
          <p:grpSpPr>
            <a:xfrm>
              <a:off x="10104087" y="3308898"/>
              <a:ext cx="357143" cy="397392"/>
              <a:chOff x="8718957" y="6329432"/>
              <a:chExt cx="407293" cy="453192"/>
            </a:xfrm>
            <a:solidFill>
              <a:srgbClr val="003963"/>
            </a:solidFill>
          </p:grpSpPr>
          <p:sp>
            <p:nvSpPr>
              <p:cNvPr id="115" name="Rectangle 153"/>
              <p:cNvSpPr/>
              <p:nvPr/>
            </p:nvSpPr>
            <p:spPr>
              <a:xfrm>
                <a:off x="8743367" y="6346031"/>
                <a:ext cx="310801" cy="359416"/>
              </a:xfrm>
              <a:custGeom>
                <a:avLst/>
                <a:gdLst>
                  <a:gd name="connsiteX0" fmla="*/ 0 w 300129"/>
                  <a:gd name="connsiteY0" fmla="*/ 0 h 384583"/>
                  <a:gd name="connsiteX1" fmla="*/ 300129 w 300129"/>
                  <a:gd name="connsiteY1" fmla="*/ 0 h 384583"/>
                  <a:gd name="connsiteX2" fmla="*/ 300129 w 300129"/>
                  <a:gd name="connsiteY2" fmla="*/ 384583 h 384583"/>
                  <a:gd name="connsiteX3" fmla="*/ 0 w 300129"/>
                  <a:gd name="connsiteY3" fmla="*/ 384583 h 384583"/>
                  <a:gd name="connsiteX4" fmla="*/ 0 w 300129"/>
                  <a:gd name="connsiteY4" fmla="*/ 0 h 384583"/>
                  <a:gd name="connsiteX0" fmla="*/ 0 w 300129"/>
                  <a:gd name="connsiteY0" fmla="*/ 0 h 384583"/>
                  <a:gd name="connsiteX1" fmla="*/ 300129 w 300129"/>
                  <a:gd name="connsiteY1" fmla="*/ 0 h 384583"/>
                  <a:gd name="connsiteX2" fmla="*/ 266792 w 300129"/>
                  <a:gd name="connsiteY2" fmla="*/ 339339 h 384583"/>
                  <a:gd name="connsiteX3" fmla="*/ 0 w 300129"/>
                  <a:gd name="connsiteY3" fmla="*/ 384583 h 384583"/>
                  <a:gd name="connsiteX4" fmla="*/ 0 w 300129"/>
                  <a:gd name="connsiteY4" fmla="*/ 0 h 384583"/>
                  <a:gd name="connsiteX0" fmla="*/ 0 w 300129"/>
                  <a:gd name="connsiteY0" fmla="*/ 0 h 384583"/>
                  <a:gd name="connsiteX1" fmla="*/ 300129 w 300129"/>
                  <a:gd name="connsiteY1" fmla="*/ 0 h 384583"/>
                  <a:gd name="connsiteX2" fmla="*/ 266792 w 300129"/>
                  <a:gd name="connsiteY2" fmla="*/ 339339 h 384583"/>
                  <a:gd name="connsiteX3" fmla="*/ 0 w 300129"/>
                  <a:gd name="connsiteY3" fmla="*/ 384583 h 384583"/>
                  <a:gd name="connsiteX4" fmla="*/ 0 w 300129"/>
                  <a:gd name="connsiteY4" fmla="*/ 0 h 384583"/>
                  <a:gd name="connsiteX0" fmla="*/ 0 w 311074"/>
                  <a:gd name="connsiteY0" fmla="*/ 0 h 384583"/>
                  <a:gd name="connsiteX1" fmla="*/ 300129 w 311074"/>
                  <a:gd name="connsiteY1" fmla="*/ 0 h 384583"/>
                  <a:gd name="connsiteX2" fmla="*/ 266792 w 311074"/>
                  <a:gd name="connsiteY2" fmla="*/ 339339 h 384583"/>
                  <a:gd name="connsiteX3" fmla="*/ 0 w 311074"/>
                  <a:gd name="connsiteY3" fmla="*/ 384583 h 384583"/>
                  <a:gd name="connsiteX4" fmla="*/ 0 w 311074"/>
                  <a:gd name="connsiteY4" fmla="*/ 0 h 384583"/>
                  <a:gd name="connsiteX0" fmla="*/ 0 w 321872"/>
                  <a:gd name="connsiteY0" fmla="*/ 0 h 384583"/>
                  <a:gd name="connsiteX1" fmla="*/ 300129 w 321872"/>
                  <a:gd name="connsiteY1" fmla="*/ 0 h 384583"/>
                  <a:gd name="connsiteX2" fmla="*/ 266792 w 321872"/>
                  <a:gd name="connsiteY2" fmla="*/ 339339 h 384583"/>
                  <a:gd name="connsiteX3" fmla="*/ 0 w 321872"/>
                  <a:gd name="connsiteY3" fmla="*/ 384583 h 384583"/>
                  <a:gd name="connsiteX4" fmla="*/ 0 w 321872"/>
                  <a:gd name="connsiteY4" fmla="*/ 0 h 384583"/>
                  <a:gd name="connsiteX0" fmla="*/ 0 w 300129"/>
                  <a:gd name="connsiteY0" fmla="*/ 0 h 384583"/>
                  <a:gd name="connsiteX1" fmla="*/ 300129 w 300129"/>
                  <a:gd name="connsiteY1" fmla="*/ 0 h 384583"/>
                  <a:gd name="connsiteX2" fmla="*/ 0 w 300129"/>
                  <a:gd name="connsiteY2" fmla="*/ 384583 h 384583"/>
                  <a:gd name="connsiteX3" fmla="*/ 0 w 300129"/>
                  <a:gd name="connsiteY3" fmla="*/ 0 h 384583"/>
                  <a:gd name="connsiteX0" fmla="*/ 0 w 302713"/>
                  <a:gd name="connsiteY0" fmla="*/ 0 h 384583"/>
                  <a:gd name="connsiteX1" fmla="*/ 300129 w 302713"/>
                  <a:gd name="connsiteY1" fmla="*/ 0 h 384583"/>
                  <a:gd name="connsiteX2" fmla="*/ 0 w 302713"/>
                  <a:gd name="connsiteY2" fmla="*/ 384583 h 384583"/>
                  <a:gd name="connsiteX3" fmla="*/ 0 w 302713"/>
                  <a:gd name="connsiteY3" fmla="*/ 0 h 384583"/>
                  <a:gd name="connsiteX0" fmla="*/ 0 w 302915"/>
                  <a:gd name="connsiteY0" fmla="*/ 0 h 384688"/>
                  <a:gd name="connsiteX1" fmla="*/ 300129 w 302915"/>
                  <a:gd name="connsiteY1" fmla="*/ 0 h 384688"/>
                  <a:gd name="connsiteX2" fmla="*/ 0 w 302915"/>
                  <a:gd name="connsiteY2" fmla="*/ 384583 h 384688"/>
                  <a:gd name="connsiteX3" fmla="*/ 0 w 302915"/>
                  <a:gd name="connsiteY3" fmla="*/ 0 h 384688"/>
                  <a:gd name="connsiteX0" fmla="*/ 0 w 303865"/>
                  <a:gd name="connsiteY0" fmla="*/ 0 h 384688"/>
                  <a:gd name="connsiteX1" fmla="*/ 300129 w 303865"/>
                  <a:gd name="connsiteY1" fmla="*/ 0 h 384688"/>
                  <a:gd name="connsiteX2" fmla="*/ 0 w 303865"/>
                  <a:gd name="connsiteY2" fmla="*/ 384583 h 384688"/>
                  <a:gd name="connsiteX3" fmla="*/ 0 w 303865"/>
                  <a:gd name="connsiteY3" fmla="*/ 0 h 384688"/>
                  <a:gd name="connsiteX0" fmla="*/ 0 w 303865"/>
                  <a:gd name="connsiteY0" fmla="*/ 0 h 384700"/>
                  <a:gd name="connsiteX1" fmla="*/ 300129 w 303865"/>
                  <a:gd name="connsiteY1" fmla="*/ 0 h 384700"/>
                  <a:gd name="connsiteX2" fmla="*/ 0 w 303865"/>
                  <a:gd name="connsiteY2" fmla="*/ 384583 h 384700"/>
                  <a:gd name="connsiteX3" fmla="*/ 0 w 303865"/>
                  <a:gd name="connsiteY3" fmla="*/ 0 h 384700"/>
                  <a:gd name="connsiteX0" fmla="*/ 0 w 304322"/>
                  <a:gd name="connsiteY0" fmla="*/ 0 h 384583"/>
                  <a:gd name="connsiteX1" fmla="*/ 300129 w 304322"/>
                  <a:gd name="connsiteY1" fmla="*/ 0 h 384583"/>
                  <a:gd name="connsiteX2" fmla="*/ 0 w 304322"/>
                  <a:gd name="connsiteY2" fmla="*/ 384583 h 384583"/>
                  <a:gd name="connsiteX3" fmla="*/ 0 w 304322"/>
                  <a:gd name="connsiteY3" fmla="*/ 0 h 384583"/>
                  <a:gd name="connsiteX0" fmla="*/ 0 w 301605"/>
                  <a:gd name="connsiteY0" fmla="*/ 0 h 384583"/>
                  <a:gd name="connsiteX1" fmla="*/ 300129 w 301605"/>
                  <a:gd name="connsiteY1" fmla="*/ 0 h 384583"/>
                  <a:gd name="connsiteX2" fmla="*/ 0 w 301605"/>
                  <a:gd name="connsiteY2" fmla="*/ 384583 h 384583"/>
                  <a:gd name="connsiteX3" fmla="*/ 0 w 301605"/>
                  <a:gd name="connsiteY3" fmla="*/ 0 h 384583"/>
                  <a:gd name="connsiteX0" fmla="*/ 0 w 301447"/>
                  <a:gd name="connsiteY0" fmla="*/ 0 h 402570"/>
                  <a:gd name="connsiteX1" fmla="*/ 300129 w 301447"/>
                  <a:gd name="connsiteY1" fmla="*/ 0 h 402570"/>
                  <a:gd name="connsiteX2" fmla="*/ 0 w 301447"/>
                  <a:gd name="connsiteY2" fmla="*/ 384583 h 402570"/>
                  <a:gd name="connsiteX3" fmla="*/ 0 w 301447"/>
                  <a:gd name="connsiteY3" fmla="*/ 0 h 402570"/>
                  <a:gd name="connsiteX0" fmla="*/ 2234 w 303665"/>
                  <a:gd name="connsiteY0" fmla="*/ 0 h 410060"/>
                  <a:gd name="connsiteX1" fmla="*/ 302363 w 303665"/>
                  <a:gd name="connsiteY1" fmla="*/ 0 h 410060"/>
                  <a:gd name="connsiteX2" fmla="*/ 0 w 303665"/>
                  <a:gd name="connsiteY2" fmla="*/ 392382 h 410060"/>
                  <a:gd name="connsiteX3" fmla="*/ 2234 w 303665"/>
                  <a:gd name="connsiteY3" fmla="*/ 0 h 410060"/>
                  <a:gd name="connsiteX0" fmla="*/ 2234 w 303680"/>
                  <a:gd name="connsiteY0" fmla="*/ 0 h 403956"/>
                  <a:gd name="connsiteX1" fmla="*/ 302363 w 303680"/>
                  <a:gd name="connsiteY1" fmla="*/ 0 h 403956"/>
                  <a:gd name="connsiteX2" fmla="*/ 0 w 303680"/>
                  <a:gd name="connsiteY2" fmla="*/ 392382 h 403956"/>
                  <a:gd name="connsiteX3" fmla="*/ 2234 w 303680"/>
                  <a:gd name="connsiteY3" fmla="*/ 0 h 403956"/>
                  <a:gd name="connsiteX0" fmla="*/ 2234 w 303782"/>
                  <a:gd name="connsiteY0" fmla="*/ 0 h 392382"/>
                  <a:gd name="connsiteX1" fmla="*/ 302363 w 303782"/>
                  <a:gd name="connsiteY1" fmla="*/ 0 h 392382"/>
                  <a:gd name="connsiteX2" fmla="*/ 0 w 303782"/>
                  <a:gd name="connsiteY2" fmla="*/ 392382 h 392382"/>
                  <a:gd name="connsiteX3" fmla="*/ 2234 w 303782"/>
                  <a:gd name="connsiteY3" fmla="*/ 0 h 392382"/>
                  <a:gd name="connsiteX0" fmla="*/ 2234 w 302363"/>
                  <a:gd name="connsiteY0" fmla="*/ 0 h 392382"/>
                  <a:gd name="connsiteX1" fmla="*/ 302363 w 302363"/>
                  <a:gd name="connsiteY1" fmla="*/ 0 h 392382"/>
                  <a:gd name="connsiteX2" fmla="*/ 0 w 302363"/>
                  <a:gd name="connsiteY2" fmla="*/ 392382 h 392382"/>
                  <a:gd name="connsiteX3" fmla="*/ 2234 w 302363"/>
                  <a:gd name="connsiteY3" fmla="*/ 0 h 392382"/>
                </a:gdLst>
                <a:ahLst/>
                <a:cxnLst>
                  <a:cxn ang="0">
                    <a:pos x="connsiteX0" y="connsiteY0"/>
                  </a:cxn>
                  <a:cxn ang="0">
                    <a:pos x="connsiteX1" y="connsiteY1"/>
                  </a:cxn>
                  <a:cxn ang="0">
                    <a:pos x="connsiteX2" y="connsiteY2"/>
                  </a:cxn>
                  <a:cxn ang="0">
                    <a:pos x="connsiteX3" y="connsiteY3"/>
                  </a:cxn>
                </a:cxnLst>
                <a:rect l="l" t="t" r="r" b="b"/>
                <a:pathLst>
                  <a:path w="302363" h="392382">
                    <a:moveTo>
                      <a:pt x="2234" y="0"/>
                    </a:moveTo>
                    <a:lnTo>
                      <a:pt x="302363" y="0"/>
                    </a:lnTo>
                    <a:cubicBezTo>
                      <a:pt x="255395" y="120404"/>
                      <a:pt x="167159" y="364972"/>
                      <a:pt x="0" y="392382"/>
                    </a:cubicBezTo>
                    <a:cubicBezTo>
                      <a:pt x="745" y="261588"/>
                      <a:pt x="1489" y="130794"/>
                      <a:pt x="2234" y="0"/>
                    </a:cubicBezTo>
                    <a:close/>
                  </a:path>
                </a:pathLst>
              </a:custGeom>
              <a:ln>
                <a:noFill/>
              </a:ln>
            </p:spPr>
            <p:style>
              <a:lnRef idx="2">
                <a:schemeClr val="accent2"/>
              </a:lnRef>
              <a:fillRef idx="1">
                <a:schemeClr val="lt1"/>
              </a:fillRef>
              <a:effectRef idx="0">
                <a:schemeClr val="accent2"/>
              </a:effectRef>
              <a:fontRef idx="minor">
                <a:schemeClr val="dk1"/>
              </a:fontRef>
            </p:style>
            <p:txBody>
              <a:bodyPr lIns="18646" tIns="18646" rIns="18646" bIns="18646" rtlCol="0" anchor="t"/>
              <a:lstStyle/>
              <a:p>
                <a:pPr algn="ctr" defTabSz="932239" fontAlgn="auto">
                  <a:spcBef>
                    <a:spcPts val="0"/>
                  </a:spcBef>
                  <a:spcAft>
                    <a:spcPts val="0"/>
                  </a:spcAft>
                </a:pPr>
                <a:endParaRPr lang="en-IN" sz="612" dirty="0">
                  <a:solidFill>
                    <a:srgbClr val="FF8C00"/>
                  </a:solidFill>
                  <a:latin typeface="Segoe UI Semibold" panose="020B0702040204020203" pitchFamily="34" charset="0"/>
                  <a:cs typeface="Segoe UI Semibold" panose="020B0702040204020203" pitchFamily="34" charset="0"/>
                </a:endParaRPr>
              </a:p>
            </p:txBody>
          </p:sp>
          <p:sp>
            <p:nvSpPr>
              <p:cNvPr id="116" name="Freeform 115"/>
              <p:cNvSpPr/>
              <p:nvPr>
                <p:custDataLst>
                  <p:tags r:id="rId7"/>
                </p:custDataLst>
              </p:nvPr>
            </p:nvSpPr>
            <p:spPr bwMode="auto">
              <a:xfrm rot="10800000">
                <a:off x="8718957" y="6329432"/>
                <a:ext cx="343786" cy="392623"/>
              </a:xfrm>
              <a:custGeom>
                <a:avLst/>
                <a:gdLst>
                  <a:gd name="connsiteX0" fmla="*/ 342979 w 343786"/>
                  <a:gd name="connsiteY0" fmla="*/ 392623 h 392623"/>
                  <a:gd name="connsiteX1" fmla="*/ 29955 w 343786"/>
                  <a:gd name="connsiteY1" fmla="*/ 392623 h 392623"/>
                  <a:gd name="connsiteX2" fmla="*/ 105 w 343786"/>
                  <a:gd name="connsiteY2" fmla="*/ 362773 h 392623"/>
                  <a:gd name="connsiteX3" fmla="*/ 0 w 343786"/>
                  <a:gd name="connsiteY3" fmla="*/ 328722 h 392623"/>
                  <a:gd name="connsiteX4" fmla="*/ 23964 w 343786"/>
                  <a:gd name="connsiteY4" fmla="*/ 328722 h 392623"/>
                  <a:gd name="connsiteX5" fmla="*/ 23898 w 343786"/>
                  <a:gd name="connsiteY5" fmla="*/ 345024 h 392623"/>
                  <a:gd name="connsiteX6" fmla="*/ 44067 w 343786"/>
                  <a:gd name="connsiteY6" fmla="*/ 369227 h 392623"/>
                  <a:gd name="connsiteX7" fmla="*/ 319173 w 343786"/>
                  <a:gd name="connsiteY7" fmla="*/ 367614 h 392623"/>
                  <a:gd name="connsiteX8" fmla="*/ 319173 w 343786"/>
                  <a:gd name="connsiteY8" fmla="*/ 51363 h 392623"/>
                  <a:gd name="connsiteX9" fmla="*/ 294970 w 343786"/>
                  <a:gd name="connsiteY9" fmla="*/ 23933 h 392623"/>
                  <a:gd name="connsiteX10" fmla="*/ 276999 w 343786"/>
                  <a:gd name="connsiteY10" fmla="*/ 23849 h 392623"/>
                  <a:gd name="connsiteX11" fmla="*/ 277053 w 343786"/>
                  <a:gd name="connsiteY11" fmla="*/ 0 h 392623"/>
                  <a:gd name="connsiteX12" fmla="*/ 309741 w 343786"/>
                  <a:gd name="connsiteY12" fmla="*/ 53 h 392623"/>
                  <a:gd name="connsiteX13" fmla="*/ 343786 w 343786"/>
                  <a:gd name="connsiteY13" fmla="*/ 38455 h 392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43786" h="392623">
                    <a:moveTo>
                      <a:pt x="342979" y="392623"/>
                    </a:moveTo>
                    <a:lnTo>
                      <a:pt x="29955" y="392623"/>
                    </a:lnTo>
                    <a:cubicBezTo>
                      <a:pt x="11131" y="391548"/>
                      <a:pt x="2794" y="377564"/>
                      <a:pt x="105" y="362773"/>
                    </a:cubicBezTo>
                    <a:lnTo>
                      <a:pt x="0" y="328722"/>
                    </a:lnTo>
                    <a:lnTo>
                      <a:pt x="23964" y="328722"/>
                    </a:lnTo>
                    <a:lnTo>
                      <a:pt x="23898" y="345024"/>
                    </a:lnTo>
                    <a:cubicBezTo>
                      <a:pt x="26587" y="354706"/>
                      <a:pt x="26856" y="365193"/>
                      <a:pt x="44067" y="369227"/>
                    </a:cubicBezTo>
                    <a:lnTo>
                      <a:pt x="319173" y="367614"/>
                    </a:lnTo>
                    <a:lnTo>
                      <a:pt x="319173" y="51363"/>
                    </a:lnTo>
                    <a:cubicBezTo>
                      <a:pt x="319442" y="40606"/>
                      <a:pt x="315678" y="23395"/>
                      <a:pt x="294970" y="23933"/>
                    </a:cubicBezTo>
                    <a:lnTo>
                      <a:pt x="276999" y="23849"/>
                    </a:lnTo>
                    <a:lnTo>
                      <a:pt x="277053" y="0"/>
                    </a:lnTo>
                    <a:lnTo>
                      <a:pt x="309741" y="53"/>
                    </a:lnTo>
                    <a:cubicBezTo>
                      <a:pt x="338246" y="3549"/>
                      <a:pt x="342979" y="23395"/>
                      <a:pt x="343786" y="38455"/>
                    </a:cubicBezTo>
                    <a:close/>
                  </a:path>
                </a:pathLst>
              </a:custGeom>
              <a:solidFill>
                <a:schemeClr val="accent1">
                  <a:lumMod val="50000"/>
                </a:schemeClr>
              </a:solidFill>
              <a:ln>
                <a:noFill/>
              </a:ln>
              <a:ex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3234" tIns="46616" rIns="93234" bIns="46616" numCol="1" spcCol="0" rtlCol="0" fromWordArt="0" anchor="t" anchorCtr="0" forceAA="0" compatLnSpc="1">
                <a:prstTxWarp prst="textNoShape">
                  <a:avLst/>
                </a:prstTxWarp>
                <a:noAutofit/>
              </a:bodyPr>
              <a:lstStyle/>
              <a:p>
                <a:pPr algn="ctr" defTabSz="932239" fontAlgn="auto">
                  <a:spcBef>
                    <a:spcPts val="0"/>
                  </a:spcBef>
                  <a:spcAft>
                    <a:spcPts val="0"/>
                  </a:spcAft>
                </a:pPr>
                <a:endParaRPr lang="en-US" sz="714">
                  <a:solidFill>
                    <a:prstClr val="white"/>
                  </a:solidFill>
                </a:endParaRPr>
              </a:p>
            </p:txBody>
          </p:sp>
          <p:sp>
            <p:nvSpPr>
              <p:cNvPr id="121" name="Rectangle 153"/>
              <p:cNvSpPr>
                <a:spLocks noChangeAspect="1"/>
              </p:cNvSpPr>
              <p:nvPr/>
            </p:nvSpPr>
            <p:spPr>
              <a:xfrm>
                <a:off x="8793673" y="6401358"/>
                <a:ext cx="327015" cy="362750"/>
              </a:xfrm>
              <a:custGeom>
                <a:avLst/>
                <a:gdLst>
                  <a:gd name="connsiteX0" fmla="*/ 0 w 300129"/>
                  <a:gd name="connsiteY0" fmla="*/ 0 h 384583"/>
                  <a:gd name="connsiteX1" fmla="*/ 300129 w 300129"/>
                  <a:gd name="connsiteY1" fmla="*/ 0 h 384583"/>
                  <a:gd name="connsiteX2" fmla="*/ 300129 w 300129"/>
                  <a:gd name="connsiteY2" fmla="*/ 384583 h 384583"/>
                  <a:gd name="connsiteX3" fmla="*/ 0 w 300129"/>
                  <a:gd name="connsiteY3" fmla="*/ 384583 h 384583"/>
                  <a:gd name="connsiteX4" fmla="*/ 0 w 300129"/>
                  <a:gd name="connsiteY4" fmla="*/ 0 h 384583"/>
                  <a:gd name="connsiteX0" fmla="*/ 0 w 300129"/>
                  <a:gd name="connsiteY0" fmla="*/ 0 h 384583"/>
                  <a:gd name="connsiteX1" fmla="*/ 300129 w 300129"/>
                  <a:gd name="connsiteY1" fmla="*/ 0 h 384583"/>
                  <a:gd name="connsiteX2" fmla="*/ 266792 w 300129"/>
                  <a:gd name="connsiteY2" fmla="*/ 339339 h 384583"/>
                  <a:gd name="connsiteX3" fmla="*/ 0 w 300129"/>
                  <a:gd name="connsiteY3" fmla="*/ 384583 h 384583"/>
                  <a:gd name="connsiteX4" fmla="*/ 0 w 300129"/>
                  <a:gd name="connsiteY4" fmla="*/ 0 h 384583"/>
                  <a:gd name="connsiteX0" fmla="*/ 0 w 300129"/>
                  <a:gd name="connsiteY0" fmla="*/ 0 h 384583"/>
                  <a:gd name="connsiteX1" fmla="*/ 300129 w 300129"/>
                  <a:gd name="connsiteY1" fmla="*/ 0 h 384583"/>
                  <a:gd name="connsiteX2" fmla="*/ 266792 w 300129"/>
                  <a:gd name="connsiteY2" fmla="*/ 339339 h 384583"/>
                  <a:gd name="connsiteX3" fmla="*/ 0 w 300129"/>
                  <a:gd name="connsiteY3" fmla="*/ 384583 h 384583"/>
                  <a:gd name="connsiteX4" fmla="*/ 0 w 300129"/>
                  <a:gd name="connsiteY4" fmla="*/ 0 h 384583"/>
                  <a:gd name="connsiteX0" fmla="*/ 0 w 311074"/>
                  <a:gd name="connsiteY0" fmla="*/ 0 h 384583"/>
                  <a:gd name="connsiteX1" fmla="*/ 300129 w 311074"/>
                  <a:gd name="connsiteY1" fmla="*/ 0 h 384583"/>
                  <a:gd name="connsiteX2" fmla="*/ 266792 w 311074"/>
                  <a:gd name="connsiteY2" fmla="*/ 339339 h 384583"/>
                  <a:gd name="connsiteX3" fmla="*/ 0 w 311074"/>
                  <a:gd name="connsiteY3" fmla="*/ 384583 h 384583"/>
                  <a:gd name="connsiteX4" fmla="*/ 0 w 311074"/>
                  <a:gd name="connsiteY4" fmla="*/ 0 h 384583"/>
                  <a:gd name="connsiteX0" fmla="*/ 0 w 321872"/>
                  <a:gd name="connsiteY0" fmla="*/ 0 h 384583"/>
                  <a:gd name="connsiteX1" fmla="*/ 300129 w 321872"/>
                  <a:gd name="connsiteY1" fmla="*/ 0 h 384583"/>
                  <a:gd name="connsiteX2" fmla="*/ 266792 w 321872"/>
                  <a:gd name="connsiteY2" fmla="*/ 339339 h 384583"/>
                  <a:gd name="connsiteX3" fmla="*/ 0 w 321872"/>
                  <a:gd name="connsiteY3" fmla="*/ 384583 h 384583"/>
                  <a:gd name="connsiteX4" fmla="*/ 0 w 321872"/>
                  <a:gd name="connsiteY4" fmla="*/ 0 h 3845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872" h="384583">
                    <a:moveTo>
                      <a:pt x="0" y="0"/>
                    </a:moveTo>
                    <a:lnTo>
                      <a:pt x="300129" y="0"/>
                    </a:lnTo>
                    <a:cubicBezTo>
                      <a:pt x="319973" y="53582"/>
                      <a:pt x="349341" y="276233"/>
                      <a:pt x="266792" y="339339"/>
                    </a:cubicBezTo>
                    <a:cubicBezTo>
                      <a:pt x="204055" y="397282"/>
                      <a:pt x="88931" y="369502"/>
                      <a:pt x="0" y="384583"/>
                    </a:cubicBezTo>
                    <a:lnTo>
                      <a:pt x="0" y="0"/>
                    </a:lnTo>
                    <a:close/>
                  </a:path>
                </a:pathLst>
              </a:custGeom>
              <a:ln>
                <a:noFill/>
              </a:ln>
            </p:spPr>
            <p:style>
              <a:lnRef idx="2">
                <a:schemeClr val="accent2"/>
              </a:lnRef>
              <a:fillRef idx="1">
                <a:schemeClr val="lt1"/>
              </a:fillRef>
              <a:effectRef idx="0">
                <a:schemeClr val="accent2"/>
              </a:effectRef>
              <a:fontRef idx="minor">
                <a:schemeClr val="dk1"/>
              </a:fontRef>
            </p:style>
            <p:txBody>
              <a:bodyPr lIns="18646" tIns="18646" rIns="18646" bIns="18646" rtlCol="0" anchor="t"/>
              <a:lstStyle/>
              <a:p>
                <a:pPr algn="ctr" defTabSz="932239" fontAlgn="auto">
                  <a:spcBef>
                    <a:spcPts val="0"/>
                  </a:spcBef>
                  <a:spcAft>
                    <a:spcPts val="0"/>
                  </a:spcAft>
                </a:pPr>
                <a:r>
                  <a:rPr lang="en-IN" sz="612" dirty="0">
                    <a:solidFill>
                      <a:srgbClr val="003963"/>
                    </a:solidFill>
                    <a:latin typeface="Segoe UI Semibold" panose="020B0702040204020203" pitchFamily="34" charset="0"/>
                    <a:cs typeface="Segoe UI Semibold" panose="020B0702040204020203" pitchFamily="34" charset="0"/>
                  </a:rPr>
                  <a:t>010010</a:t>
                </a:r>
              </a:p>
              <a:p>
                <a:pPr algn="ctr" defTabSz="932239" fontAlgn="auto">
                  <a:spcBef>
                    <a:spcPts val="0"/>
                  </a:spcBef>
                  <a:spcAft>
                    <a:spcPts val="0"/>
                  </a:spcAft>
                </a:pPr>
                <a:r>
                  <a:rPr lang="en-IN" sz="612" dirty="0">
                    <a:solidFill>
                      <a:srgbClr val="003963"/>
                    </a:solidFill>
                    <a:latin typeface="Segoe UI Semibold" panose="020B0702040204020203" pitchFamily="34" charset="0"/>
                    <a:cs typeface="Segoe UI Semibold" panose="020B0702040204020203" pitchFamily="34" charset="0"/>
                  </a:rPr>
                  <a:t>100100</a:t>
                </a:r>
              </a:p>
              <a:p>
                <a:pPr algn="ctr" defTabSz="932239" fontAlgn="auto">
                  <a:spcBef>
                    <a:spcPts val="0"/>
                  </a:spcBef>
                  <a:spcAft>
                    <a:spcPts val="0"/>
                  </a:spcAft>
                </a:pPr>
                <a:r>
                  <a:rPr lang="en-IN" sz="612" dirty="0">
                    <a:solidFill>
                      <a:srgbClr val="003963"/>
                    </a:solidFill>
                    <a:latin typeface="Segoe UI Semibold" panose="020B0702040204020203" pitchFamily="34" charset="0"/>
                    <a:cs typeface="Segoe UI Semibold" panose="020B0702040204020203" pitchFamily="34" charset="0"/>
                  </a:rPr>
                  <a:t>010101</a:t>
                </a:r>
              </a:p>
            </p:txBody>
          </p:sp>
          <p:sp>
            <p:nvSpPr>
              <p:cNvPr id="122" name="Freeform 121"/>
              <p:cNvSpPr/>
              <p:nvPr>
                <p:custDataLst>
                  <p:tags r:id="rId8"/>
                </p:custDataLst>
              </p:nvPr>
            </p:nvSpPr>
            <p:spPr bwMode="auto">
              <a:xfrm rot="10800000">
                <a:off x="8781762" y="6389731"/>
                <a:ext cx="344488" cy="392893"/>
              </a:xfrm>
              <a:custGeom>
                <a:avLst/>
                <a:gdLst>
                  <a:gd name="connsiteX0" fmla="*/ 304539 w 847199"/>
                  <a:gd name="connsiteY0" fmla="*/ 57538 h 966241"/>
                  <a:gd name="connsiteX1" fmla="*/ 302555 w 847199"/>
                  <a:gd name="connsiteY1" fmla="*/ 230813 h 966241"/>
                  <a:gd name="connsiteX2" fmla="*/ 239727 w 847199"/>
                  <a:gd name="connsiteY2" fmla="*/ 276447 h 966241"/>
                  <a:gd name="connsiteX3" fmla="*/ 62813 w 847199"/>
                  <a:gd name="connsiteY3" fmla="*/ 276116 h 966241"/>
                  <a:gd name="connsiteX4" fmla="*/ 60499 w 847199"/>
                  <a:gd name="connsiteY4" fmla="*/ 849181 h 966241"/>
                  <a:gd name="connsiteX5" fmla="*/ 110100 w 847199"/>
                  <a:gd name="connsiteY5" fmla="*/ 908703 h 966241"/>
                  <a:gd name="connsiteX6" fmla="*/ 786669 w 847199"/>
                  <a:gd name="connsiteY6" fmla="*/ 904735 h 966241"/>
                  <a:gd name="connsiteX7" fmla="*/ 786669 w 847199"/>
                  <a:gd name="connsiteY7" fmla="*/ 126980 h 966241"/>
                  <a:gd name="connsiteX8" fmla="*/ 727147 w 847199"/>
                  <a:gd name="connsiteY8" fmla="*/ 59522 h 966241"/>
                  <a:gd name="connsiteX9" fmla="*/ 279755 w 847199"/>
                  <a:gd name="connsiteY9" fmla="*/ 0 h 966241"/>
                  <a:gd name="connsiteX10" fmla="*/ 763472 w 847199"/>
                  <a:gd name="connsiteY10" fmla="*/ 794 h 966241"/>
                  <a:gd name="connsiteX11" fmla="*/ 847199 w 847199"/>
                  <a:gd name="connsiteY11" fmla="*/ 95235 h 966241"/>
                  <a:gd name="connsiteX12" fmla="*/ 845215 w 847199"/>
                  <a:gd name="connsiteY12" fmla="*/ 966241 h 966241"/>
                  <a:gd name="connsiteX13" fmla="*/ 75395 w 847199"/>
                  <a:gd name="connsiteY13" fmla="*/ 966241 h 966241"/>
                  <a:gd name="connsiteX14" fmla="*/ 1984 w 847199"/>
                  <a:gd name="connsiteY14" fmla="*/ 892830 h 966241"/>
                  <a:gd name="connsiteX15" fmla="*/ 0 w 847199"/>
                  <a:gd name="connsiteY15" fmla="*/ 248008 h 966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47199" h="966241">
                    <a:moveTo>
                      <a:pt x="304539" y="57538"/>
                    </a:moveTo>
                    <a:cubicBezTo>
                      <a:pt x="303878" y="115738"/>
                      <a:pt x="305862" y="171291"/>
                      <a:pt x="302555" y="230813"/>
                    </a:cubicBezTo>
                    <a:cubicBezTo>
                      <a:pt x="295942" y="265865"/>
                      <a:pt x="283376" y="273140"/>
                      <a:pt x="239727" y="276447"/>
                    </a:cubicBezTo>
                    <a:lnTo>
                      <a:pt x="62813" y="276116"/>
                    </a:lnTo>
                    <a:cubicBezTo>
                      <a:pt x="62373" y="466807"/>
                      <a:pt x="60940" y="658490"/>
                      <a:pt x="60499" y="849181"/>
                    </a:cubicBezTo>
                    <a:cubicBezTo>
                      <a:pt x="67112" y="872990"/>
                      <a:pt x="67773" y="898783"/>
                      <a:pt x="110100" y="908703"/>
                    </a:cubicBezTo>
                    <a:lnTo>
                      <a:pt x="786669" y="904735"/>
                    </a:lnTo>
                    <a:lnTo>
                      <a:pt x="786669" y="126980"/>
                    </a:lnTo>
                    <a:cubicBezTo>
                      <a:pt x="787330" y="100526"/>
                      <a:pt x="778072" y="58199"/>
                      <a:pt x="727147" y="59522"/>
                    </a:cubicBezTo>
                    <a:close/>
                    <a:moveTo>
                      <a:pt x="279755" y="0"/>
                    </a:moveTo>
                    <a:lnTo>
                      <a:pt x="763472" y="794"/>
                    </a:lnTo>
                    <a:cubicBezTo>
                      <a:pt x="833575" y="9391"/>
                      <a:pt x="845215" y="58199"/>
                      <a:pt x="847199" y="95235"/>
                    </a:cubicBezTo>
                    <a:lnTo>
                      <a:pt x="845215" y="966241"/>
                    </a:lnTo>
                    <a:lnTo>
                      <a:pt x="75395" y="966241"/>
                    </a:lnTo>
                    <a:cubicBezTo>
                      <a:pt x="29100" y="963596"/>
                      <a:pt x="8598" y="929205"/>
                      <a:pt x="1984" y="892830"/>
                    </a:cubicBezTo>
                    <a:lnTo>
                      <a:pt x="0" y="248008"/>
                    </a:lnTo>
                    <a:close/>
                  </a:path>
                </a:pathLst>
              </a:custGeom>
              <a:solidFill>
                <a:schemeClr val="accent1">
                  <a:lumMod val="50000"/>
                </a:schemeClr>
              </a:solidFill>
              <a:ln>
                <a:noFill/>
              </a:ln>
              <a:ex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3234" tIns="46616" rIns="93234" bIns="46616" numCol="1" spcCol="0" rtlCol="0" fromWordArt="0" anchor="t" anchorCtr="0" forceAA="0" compatLnSpc="1">
                <a:prstTxWarp prst="textNoShape">
                  <a:avLst/>
                </a:prstTxWarp>
                <a:noAutofit/>
              </a:bodyPr>
              <a:lstStyle/>
              <a:p>
                <a:pPr algn="ctr" defTabSz="932239" fontAlgn="auto">
                  <a:spcBef>
                    <a:spcPts val="0"/>
                  </a:spcBef>
                  <a:spcAft>
                    <a:spcPts val="0"/>
                  </a:spcAft>
                </a:pPr>
                <a:endParaRPr lang="en-US" sz="714">
                  <a:solidFill>
                    <a:prstClr val="white"/>
                  </a:solidFill>
                </a:endParaRPr>
              </a:p>
            </p:txBody>
          </p:sp>
        </p:grpSp>
      </p:grpSp>
      <p:grpSp>
        <p:nvGrpSpPr>
          <p:cNvPr id="134" name="Group 133"/>
          <p:cNvGrpSpPr>
            <a:grpSpLocks noChangeAspect="1"/>
          </p:cNvGrpSpPr>
          <p:nvPr/>
        </p:nvGrpSpPr>
        <p:grpSpPr>
          <a:xfrm>
            <a:off x="4357931" y="4366102"/>
            <a:ext cx="357147" cy="397400"/>
            <a:chOff x="8673628" y="6329424"/>
            <a:chExt cx="407298" cy="453200"/>
          </a:xfrm>
        </p:grpSpPr>
        <p:sp>
          <p:nvSpPr>
            <p:cNvPr id="135" name="Rectangle 153"/>
            <p:cNvSpPr/>
            <p:nvPr/>
          </p:nvSpPr>
          <p:spPr>
            <a:xfrm>
              <a:off x="8698044" y="6346031"/>
              <a:ext cx="310801" cy="359416"/>
            </a:xfrm>
            <a:custGeom>
              <a:avLst/>
              <a:gdLst>
                <a:gd name="connsiteX0" fmla="*/ 0 w 300129"/>
                <a:gd name="connsiteY0" fmla="*/ 0 h 384583"/>
                <a:gd name="connsiteX1" fmla="*/ 300129 w 300129"/>
                <a:gd name="connsiteY1" fmla="*/ 0 h 384583"/>
                <a:gd name="connsiteX2" fmla="*/ 300129 w 300129"/>
                <a:gd name="connsiteY2" fmla="*/ 384583 h 384583"/>
                <a:gd name="connsiteX3" fmla="*/ 0 w 300129"/>
                <a:gd name="connsiteY3" fmla="*/ 384583 h 384583"/>
                <a:gd name="connsiteX4" fmla="*/ 0 w 300129"/>
                <a:gd name="connsiteY4" fmla="*/ 0 h 384583"/>
                <a:gd name="connsiteX0" fmla="*/ 0 w 300129"/>
                <a:gd name="connsiteY0" fmla="*/ 0 h 384583"/>
                <a:gd name="connsiteX1" fmla="*/ 300129 w 300129"/>
                <a:gd name="connsiteY1" fmla="*/ 0 h 384583"/>
                <a:gd name="connsiteX2" fmla="*/ 266792 w 300129"/>
                <a:gd name="connsiteY2" fmla="*/ 339339 h 384583"/>
                <a:gd name="connsiteX3" fmla="*/ 0 w 300129"/>
                <a:gd name="connsiteY3" fmla="*/ 384583 h 384583"/>
                <a:gd name="connsiteX4" fmla="*/ 0 w 300129"/>
                <a:gd name="connsiteY4" fmla="*/ 0 h 384583"/>
                <a:gd name="connsiteX0" fmla="*/ 0 w 300129"/>
                <a:gd name="connsiteY0" fmla="*/ 0 h 384583"/>
                <a:gd name="connsiteX1" fmla="*/ 300129 w 300129"/>
                <a:gd name="connsiteY1" fmla="*/ 0 h 384583"/>
                <a:gd name="connsiteX2" fmla="*/ 266792 w 300129"/>
                <a:gd name="connsiteY2" fmla="*/ 339339 h 384583"/>
                <a:gd name="connsiteX3" fmla="*/ 0 w 300129"/>
                <a:gd name="connsiteY3" fmla="*/ 384583 h 384583"/>
                <a:gd name="connsiteX4" fmla="*/ 0 w 300129"/>
                <a:gd name="connsiteY4" fmla="*/ 0 h 384583"/>
                <a:gd name="connsiteX0" fmla="*/ 0 w 311074"/>
                <a:gd name="connsiteY0" fmla="*/ 0 h 384583"/>
                <a:gd name="connsiteX1" fmla="*/ 300129 w 311074"/>
                <a:gd name="connsiteY1" fmla="*/ 0 h 384583"/>
                <a:gd name="connsiteX2" fmla="*/ 266792 w 311074"/>
                <a:gd name="connsiteY2" fmla="*/ 339339 h 384583"/>
                <a:gd name="connsiteX3" fmla="*/ 0 w 311074"/>
                <a:gd name="connsiteY3" fmla="*/ 384583 h 384583"/>
                <a:gd name="connsiteX4" fmla="*/ 0 w 311074"/>
                <a:gd name="connsiteY4" fmla="*/ 0 h 384583"/>
                <a:gd name="connsiteX0" fmla="*/ 0 w 321872"/>
                <a:gd name="connsiteY0" fmla="*/ 0 h 384583"/>
                <a:gd name="connsiteX1" fmla="*/ 300129 w 321872"/>
                <a:gd name="connsiteY1" fmla="*/ 0 h 384583"/>
                <a:gd name="connsiteX2" fmla="*/ 266792 w 321872"/>
                <a:gd name="connsiteY2" fmla="*/ 339339 h 384583"/>
                <a:gd name="connsiteX3" fmla="*/ 0 w 321872"/>
                <a:gd name="connsiteY3" fmla="*/ 384583 h 384583"/>
                <a:gd name="connsiteX4" fmla="*/ 0 w 321872"/>
                <a:gd name="connsiteY4" fmla="*/ 0 h 384583"/>
                <a:gd name="connsiteX0" fmla="*/ 0 w 300129"/>
                <a:gd name="connsiteY0" fmla="*/ 0 h 384583"/>
                <a:gd name="connsiteX1" fmla="*/ 300129 w 300129"/>
                <a:gd name="connsiteY1" fmla="*/ 0 h 384583"/>
                <a:gd name="connsiteX2" fmla="*/ 0 w 300129"/>
                <a:gd name="connsiteY2" fmla="*/ 384583 h 384583"/>
                <a:gd name="connsiteX3" fmla="*/ 0 w 300129"/>
                <a:gd name="connsiteY3" fmla="*/ 0 h 384583"/>
                <a:gd name="connsiteX0" fmla="*/ 0 w 302713"/>
                <a:gd name="connsiteY0" fmla="*/ 0 h 384583"/>
                <a:gd name="connsiteX1" fmla="*/ 300129 w 302713"/>
                <a:gd name="connsiteY1" fmla="*/ 0 h 384583"/>
                <a:gd name="connsiteX2" fmla="*/ 0 w 302713"/>
                <a:gd name="connsiteY2" fmla="*/ 384583 h 384583"/>
                <a:gd name="connsiteX3" fmla="*/ 0 w 302713"/>
                <a:gd name="connsiteY3" fmla="*/ 0 h 384583"/>
                <a:gd name="connsiteX0" fmla="*/ 0 w 302915"/>
                <a:gd name="connsiteY0" fmla="*/ 0 h 384688"/>
                <a:gd name="connsiteX1" fmla="*/ 300129 w 302915"/>
                <a:gd name="connsiteY1" fmla="*/ 0 h 384688"/>
                <a:gd name="connsiteX2" fmla="*/ 0 w 302915"/>
                <a:gd name="connsiteY2" fmla="*/ 384583 h 384688"/>
                <a:gd name="connsiteX3" fmla="*/ 0 w 302915"/>
                <a:gd name="connsiteY3" fmla="*/ 0 h 384688"/>
                <a:gd name="connsiteX0" fmla="*/ 0 w 303865"/>
                <a:gd name="connsiteY0" fmla="*/ 0 h 384688"/>
                <a:gd name="connsiteX1" fmla="*/ 300129 w 303865"/>
                <a:gd name="connsiteY1" fmla="*/ 0 h 384688"/>
                <a:gd name="connsiteX2" fmla="*/ 0 w 303865"/>
                <a:gd name="connsiteY2" fmla="*/ 384583 h 384688"/>
                <a:gd name="connsiteX3" fmla="*/ 0 w 303865"/>
                <a:gd name="connsiteY3" fmla="*/ 0 h 384688"/>
                <a:gd name="connsiteX0" fmla="*/ 0 w 303865"/>
                <a:gd name="connsiteY0" fmla="*/ 0 h 384700"/>
                <a:gd name="connsiteX1" fmla="*/ 300129 w 303865"/>
                <a:gd name="connsiteY1" fmla="*/ 0 h 384700"/>
                <a:gd name="connsiteX2" fmla="*/ 0 w 303865"/>
                <a:gd name="connsiteY2" fmla="*/ 384583 h 384700"/>
                <a:gd name="connsiteX3" fmla="*/ 0 w 303865"/>
                <a:gd name="connsiteY3" fmla="*/ 0 h 384700"/>
                <a:gd name="connsiteX0" fmla="*/ 0 w 304322"/>
                <a:gd name="connsiteY0" fmla="*/ 0 h 384583"/>
                <a:gd name="connsiteX1" fmla="*/ 300129 w 304322"/>
                <a:gd name="connsiteY1" fmla="*/ 0 h 384583"/>
                <a:gd name="connsiteX2" fmla="*/ 0 w 304322"/>
                <a:gd name="connsiteY2" fmla="*/ 384583 h 384583"/>
                <a:gd name="connsiteX3" fmla="*/ 0 w 304322"/>
                <a:gd name="connsiteY3" fmla="*/ 0 h 384583"/>
                <a:gd name="connsiteX0" fmla="*/ 0 w 301605"/>
                <a:gd name="connsiteY0" fmla="*/ 0 h 384583"/>
                <a:gd name="connsiteX1" fmla="*/ 300129 w 301605"/>
                <a:gd name="connsiteY1" fmla="*/ 0 h 384583"/>
                <a:gd name="connsiteX2" fmla="*/ 0 w 301605"/>
                <a:gd name="connsiteY2" fmla="*/ 384583 h 384583"/>
                <a:gd name="connsiteX3" fmla="*/ 0 w 301605"/>
                <a:gd name="connsiteY3" fmla="*/ 0 h 384583"/>
                <a:gd name="connsiteX0" fmla="*/ 0 w 301447"/>
                <a:gd name="connsiteY0" fmla="*/ 0 h 402570"/>
                <a:gd name="connsiteX1" fmla="*/ 300129 w 301447"/>
                <a:gd name="connsiteY1" fmla="*/ 0 h 402570"/>
                <a:gd name="connsiteX2" fmla="*/ 0 w 301447"/>
                <a:gd name="connsiteY2" fmla="*/ 384583 h 402570"/>
                <a:gd name="connsiteX3" fmla="*/ 0 w 301447"/>
                <a:gd name="connsiteY3" fmla="*/ 0 h 402570"/>
                <a:gd name="connsiteX0" fmla="*/ 2234 w 303665"/>
                <a:gd name="connsiteY0" fmla="*/ 0 h 410060"/>
                <a:gd name="connsiteX1" fmla="*/ 302363 w 303665"/>
                <a:gd name="connsiteY1" fmla="*/ 0 h 410060"/>
                <a:gd name="connsiteX2" fmla="*/ 0 w 303665"/>
                <a:gd name="connsiteY2" fmla="*/ 392382 h 410060"/>
                <a:gd name="connsiteX3" fmla="*/ 2234 w 303665"/>
                <a:gd name="connsiteY3" fmla="*/ 0 h 410060"/>
                <a:gd name="connsiteX0" fmla="*/ 2234 w 303680"/>
                <a:gd name="connsiteY0" fmla="*/ 0 h 403956"/>
                <a:gd name="connsiteX1" fmla="*/ 302363 w 303680"/>
                <a:gd name="connsiteY1" fmla="*/ 0 h 403956"/>
                <a:gd name="connsiteX2" fmla="*/ 0 w 303680"/>
                <a:gd name="connsiteY2" fmla="*/ 392382 h 403956"/>
                <a:gd name="connsiteX3" fmla="*/ 2234 w 303680"/>
                <a:gd name="connsiteY3" fmla="*/ 0 h 403956"/>
                <a:gd name="connsiteX0" fmla="*/ 2234 w 303782"/>
                <a:gd name="connsiteY0" fmla="*/ 0 h 392382"/>
                <a:gd name="connsiteX1" fmla="*/ 302363 w 303782"/>
                <a:gd name="connsiteY1" fmla="*/ 0 h 392382"/>
                <a:gd name="connsiteX2" fmla="*/ 0 w 303782"/>
                <a:gd name="connsiteY2" fmla="*/ 392382 h 392382"/>
                <a:gd name="connsiteX3" fmla="*/ 2234 w 303782"/>
                <a:gd name="connsiteY3" fmla="*/ 0 h 392382"/>
                <a:gd name="connsiteX0" fmla="*/ 2234 w 302363"/>
                <a:gd name="connsiteY0" fmla="*/ 0 h 392382"/>
                <a:gd name="connsiteX1" fmla="*/ 302363 w 302363"/>
                <a:gd name="connsiteY1" fmla="*/ 0 h 392382"/>
                <a:gd name="connsiteX2" fmla="*/ 0 w 302363"/>
                <a:gd name="connsiteY2" fmla="*/ 392382 h 392382"/>
                <a:gd name="connsiteX3" fmla="*/ 2234 w 302363"/>
                <a:gd name="connsiteY3" fmla="*/ 0 h 392382"/>
              </a:gdLst>
              <a:ahLst/>
              <a:cxnLst>
                <a:cxn ang="0">
                  <a:pos x="connsiteX0" y="connsiteY0"/>
                </a:cxn>
                <a:cxn ang="0">
                  <a:pos x="connsiteX1" y="connsiteY1"/>
                </a:cxn>
                <a:cxn ang="0">
                  <a:pos x="connsiteX2" y="connsiteY2"/>
                </a:cxn>
                <a:cxn ang="0">
                  <a:pos x="connsiteX3" y="connsiteY3"/>
                </a:cxn>
              </a:cxnLst>
              <a:rect l="l" t="t" r="r" b="b"/>
              <a:pathLst>
                <a:path w="302363" h="392382">
                  <a:moveTo>
                    <a:pt x="2234" y="0"/>
                  </a:moveTo>
                  <a:lnTo>
                    <a:pt x="302363" y="0"/>
                  </a:lnTo>
                  <a:cubicBezTo>
                    <a:pt x="255395" y="120404"/>
                    <a:pt x="167159" y="364972"/>
                    <a:pt x="0" y="392382"/>
                  </a:cubicBezTo>
                  <a:cubicBezTo>
                    <a:pt x="745" y="261588"/>
                    <a:pt x="1489" y="130794"/>
                    <a:pt x="223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646" tIns="18646" rIns="18646" bIns="18646" rtlCol="0" anchor="t"/>
            <a:lstStyle/>
            <a:p>
              <a:pPr algn="ctr" defTabSz="932239" fontAlgn="auto">
                <a:spcBef>
                  <a:spcPts val="0"/>
                </a:spcBef>
                <a:spcAft>
                  <a:spcPts val="0"/>
                </a:spcAft>
              </a:pPr>
              <a:endParaRPr lang="en-IN" sz="612" dirty="0">
                <a:solidFill>
                  <a:srgbClr val="FF8C00"/>
                </a:solidFill>
                <a:latin typeface="Segoe UI Semibold" panose="020B0702040204020203" pitchFamily="34" charset="0"/>
                <a:cs typeface="Segoe UI Semibold" panose="020B0702040204020203" pitchFamily="34" charset="0"/>
              </a:endParaRPr>
            </a:p>
          </p:txBody>
        </p:sp>
        <p:sp>
          <p:nvSpPr>
            <p:cNvPr id="136" name="Freeform 135"/>
            <p:cNvSpPr/>
            <p:nvPr>
              <p:custDataLst>
                <p:tags r:id="rId5"/>
              </p:custDataLst>
            </p:nvPr>
          </p:nvSpPr>
          <p:spPr bwMode="auto">
            <a:xfrm rot="10800000">
              <a:off x="8673628" y="6329424"/>
              <a:ext cx="343787" cy="392623"/>
            </a:xfrm>
            <a:custGeom>
              <a:avLst/>
              <a:gdLst>
                <a:gd name="connsiteX0" fmla="*/ 342979 w 343786"/>
                <a:gd name="connsiteY0" fmla="*/ 392623 h 392623"/>
                <a:gd name="connsiteX1" fmla="*/ 29955 w 343786"/>
                <a:gd name="connsiteY1" fmla="*/ 392623 h 392623"/>
                <a:gd name="connsiteX2" fmla="*/ 105 w 343786"/>
                <a:gd name="connsiteY2" fmla="*/ 362773 h 392623"/>
                <a:gd name="connsiteX3" fmla="*/ 0 w 343786"/>
                <a:gd name="connsiteY3" fmla="*/ 328722 h 392623"/>
                <a:gd name="connsiteX4" fmla="*/ 23964 w 343786"/>
                <a:gd name="connsiteY4" fmla="*/ 328722 h 392623"/>
                <a:gd name="connsiteX5" fmla="*/ 23898 w 343786"/>
                <a:gd name="connsiteY5" fmla="*/ 345024 h 392623"/>
                <a:gd name="connsiteX6" fmla="*/ 44067 w 343786"/>
                <a:gd name="connsiteY6" fmla="*/ 369227 h 392623"/>
                <a:gd name="connsiteX7" fmla="*/ 319173 w 343786"/>
                <a:gd name="connsiteY7" fmla="*/ 367614 h 392623"/>
                <a:gd name="connsiteX8" fmla="*/ 319173 w 343786"/>
                <a:gd name="connsiteY8" fmla="*/ 51363 h 392623"/>
                <a:gd name="connsiteX9" fmla="*/ 294970 w 343786"/>
                <a:gd name="connsiteY9" fmla="*/ 23933 h 392623"/>
                <a:gd name="connsiteX10" fmla="*/ 276999 w 343786"/>
                <a:gd name="connsiteY10" fmla="*/ 23849 h 392623"/>
                <a:gd name="connsiteX11" fmla="*/ 277053 w 343786"/>
                <a:gd name="connsiteY11" fmla="*/ 0 h 392623"/>
                <a:gd name="connsiteX12" fmla="*/ 309741 w 343786"/>
                <a:gd name="connsiteY12" fmla="*/ 53 h 392623"/>
                <a:gd name="connsiteX13" fmla="*/ 343786 w 343786"/>
                <a:gd name="connsiteY13" fmla="*/ 38455 h 392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43786" h="392623">
                  <a:moveTo>
                    <a:pt x="342979" y="392623"/>
                  </a:moveTo>
                  <a:lnTo>
                    <a:pt x="29955" y="392623"/>
                  </a:lnTo>
                  <a:cubicBezTo>
                    <a:pt x="11131" y="391548"/>
                    <a:pt x="2794" y="377564"/>
                    <a:pt x="105" y="362773"/>
                  </a:cubicBezTo>
                  <a:lnTo>
                    <a:pt x="0" y="328722"/>
                  </a:lnTo>
                  <a:lnTo>
                    <a:pt x="23964" y="328722"/>
                  </a:lnTo>
                  <a:lnTo>
                    <a:pt x="23898" y="345024"/>
                  </a:lnTo>
                  <a:cubicBezTo>
                    <a:pt x="26587" y="354706"/>
                    <a:pt x="26856" y="365193"/>
                    <a:pt x="44067" y="369227"/>
                  </a:cubicBezTo>
                  <a:lnTo>
                    <a:pt x="319173" y="367614"/>
                  </a:lnTo>
                  <a:lnTo>
                    <a:pt x="319173" y="51363"/>
                  </a:lnTo>
                  <a:cubicBezTo>
                    <a:pt x="319442" y="40606"/>
                    <a:pt x="315678" y="23395"/>
                    <a:pt x="294970" y="23933"/>
                  </a:cubicBezTo>
                  <a:lnTo>
                    <a:pt x="276999" y="23849"/>
                  </a:lnTo>
                  <a:lnTo>
                    <a:pt x="277053" y="0"/>
                  </a:lnTo>
                  <a:lnTo>
                    <a:pt x="309741" y="53"/>
                  </a:lnTo>
                  <a:cubicBezTo>
                    <a:pt x="338246" y="3549"/>
                    <a:pt x="342979" y="23395"/>
                    <a:pt x="343786" y="38455"/>
                  </a:cubicBezTo>
                  <a:close/>
                </a:path>
              </a:pathLst>
            </a:custGeom>
            <a:solidFill>
              <a:srgbClr val="FF8C00"/>
            </a:solidFill>
            <a:ln>
              <a:noFill/>
            </a:ln>
            <a:extLst/>
          </p:spPr>
          <p:txBody>
            <a:bodyPr rot="0" spcFirstLastPara="0" vertOverflow="overflow" horzOverflow="overflow" vert="horz" wrap="square" lIns="93234" tIns="46616" rIns="93234" bIns="46616" numCol="1" spcCol="0" rtlCol="0" fromWordArt="0" anchor="t" anchorCtr="0" forceAA="0" compatLnSpc="1">
              <a:prstTxWarp prst="textNoShape">
                <a:avLst/>
              </a:prstTxWarp>
              <a:noAutofit/>
            </a:bodyPr>
            <a:lstStyle/>
            <a:p>
              <a:pPr algn="ctr" defTabSz="932239" fontAlgn="auto">
                <a:spcBef>
                  <a:spcPts val="0"/>
                </a:spcBef>
                <a:spcAft>
                  <a:spcPts val="0"/>
                </a:spcAft>
              </a:pPr>
              <a:endParaRPr lang="en-US" sz="714">
                <a:solidFill>
                  <a:prstClr val="white"/>
                </a:solidFill>
                <a:latin typeface="Calibri" panose="020F0502020204030204"/>
                <a:cs typeface="+mn-cs"/>
              </a:endParaRPr>
            </a:p>
          </p:txBody>
        </p:sp>
        <p:sp>
          <p:nvSpPr>
            <p:cNvPr id="137" name="Rectangle 153"/>
            <p:cNvSpPr>
              <a:spLocks noChangeAspect="1"/>
            </p:cNvSpPr>
            <p:nvPr/>
          </p:nvSpPr>
          <p:spPr>
            <a:xfrm>
              <a:off x="8748338" y="6401358"/>
              <a:ext cx="327014" cy="362750"/>
            </a:xfrm>
            <a:custGeom>
              <a:avLst/>
              <a:gdLst>
                <a:gd name="connsiteX0" fmla="*/ 0 w 300129"/>
                <a:gd name="connsiteY0" fmla="*/ 0 h 384583"/>
                <a:gd name="connsiteX1" fmla="*/ 300129 w 300129"/>
                <a:gd name="connsiteY1" fmla="*/ 0 h 384583"/>
                <a:gd name="connsiteX2" fmla="*/ 300129 w 300129"/>
                <a:gd name="connsiteY2" fmla="*/ 384583 h 384583"/>
                <a:gd name="connsiteX3" fmla="*/ 0 w 300129"/>
                <a:gd name="connsiteY3" fmla="*/ 384583 h 384583"/>
                <a:gd name="connsiteX4" fmla="*/ 0 w 300129"/>
                <a:gd name="connsiteY4" fmla="*/ 0 h 384583"/>
                <a:gd name="connsiteX0" fmla="*/ 0 w 300129"/>
                <a:gd name="connsiteY0" fmla="*/ 0 h 384583"/>
                <a:gd name="connsiteX1" fmla="*/ 300129 w 300129"/>
                <a:gd name="connsiteY1" fmla="*/ 0 h 384583"/>
                <a:gd name="connsiteX2" fmla="*/ 266792 w 300129"/>
                <a:gd name="connsiteY2" fmla="*/ 339339 h 384583"/>
                <a:gd name="connsiteX3" fmla="*/ 0 w 300129"/>
                <a:gd name="connsiteY3" fmla="*/ 384583 h 384583"/>
                <a:gd name="connsiteX4" fmla="*/ 0 w 300129"/>
                <a:gd name="connsiteY4" fmla="*/ 0 h 384583"/>
                <a:gd name="connsiteX0" fmla="*/ 0 w 300129"/>
                <a:gd name="connsiteY0" fmla="*/ 0 h 384583"/>
                <a:gd name="connsiteX1" fmla="*/ 300129 w 300129"/>
                <a:gd name="connsiteY1" fmla="*/ 0 h 384583"/>
                <a:gd name="connsiteX2" fmla="*/ 266792 w 300129"/>
                <a:gd name="connsiteY2" fmla="*/ 339339 h 384583"/>
                <a:gd name="connsiteX3" fmla="*/ 0 w 300129"/>
                <a:gd name="connsiteY3" fmla="*/ 384583 h 384583"/>
                <a:gd name="connsiteX4" fmla="*/ 0 w 300129"/>
                <a:gd name="connsiteY4" fmla="*/ 0 h 384583"/>
                <a:gd name="connsiteX0" fmla="*/ 0 w 311074"/>
                <a:gd name="connsiteY0" fmla="*/ 0 h 384583"/>
                <a:gd name="connsiteX1" fmla="*/ 300129 w 311074"/>
                <a:gd name="connsiteY1" fmla="*/ 0 h 384583"/>
                <a:gd name="connsiteX2" fmla="*/ 266792 w 311074"/>
                <a:gd name="connsiteY2" fmla="*/ 339339 h 384583"/>
                <a:gd name="connsiteX3" fmla="*/ 0 w 311074"/>
                <a:gd name="connsiteY3" fmla="*/ 384583 h 384583"/>
                <a:gd name="connsiteX4" fmla="*/ 0 w 311074"/>
                <a:gd name="connsiteY4" fmla="*/ 0 h 384583"/>
                <a:gd name="connsiteX0" fmla="*/ 0 w 321872"/>
                <a:gd name="connsiteY0" fmla="*/ 0 h 384583"/>
                <a:gd name="connsiteX1" fmla="*/ 300129 w 321872"/>
                <a:gd name="connsiteY1" fmla="*/ 0 h 384583"/>
                <a:gd name="connsiteX2" fmla="*/ 266792 w 321872"/>
                <a:gd name="connsiteY2" fmla="*/ 339339 h 384583"/>
                <a:gd name="connsiteX3" fmla="*/ 0 w 321872"/>
                <a:gd name="connsiteY3" fmla="*/ 384583 h 384583"/>
                <a:gd name="connsiteX4" fmla="*/ 0 w 321872"/>
                <a:gd name="connsiteY4" fmla="*/ 0 h 3845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872" h="384583">
                  <a:moveTo>
                    <a:pt x="0" y="0"/>
                  </a:moveTo>
                  <a:lnTo>
                    <a:pt x="300129" y="0"/>
                  </a:lnTo>
                  <a:cubicBezTo>
                    <a:pt x="319973" y="53582"/>
                    <a:pt x="349341" y="276233"/>
                    <a:pt x="266792" y="339339"/>
                  </a:cubicBezTo>
                  <a:cubicBezTo>
                    <a:pt x="204055" y="397282"/>
                    <a:pt x="88931" y="369502"/>
                    <a:pt x="0" y="384583"/>
                  </a:cubicBez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646" tIns="18646" rIns="18646" bIns="18646" rtlCol="0" anchor="t"/>
            <a:lstStyle/>
            <a:p>
              <a:pPr algn="ctr" defTabSz="932239" fontAlgn="auto">
                <a:spcBef>
                  <a:spcPts val="0"/>
                </a:spcBef>
                <a:spcAft>
                  <a:spcPts val="0"/>
                </a:spcAft>
              </a:pPr>
              <a:r>
                <a:rPr lang="en-IN" sz="612" dirty="0">
                  <a:solidFill>
                    <a:srgbClr val="FF8C00"/>
                  </a:solidFill>
                  <a:latin typeface="Segoe UI Semibold" panose="020B0702040204020203" pitchFamily="34" charset="0"/>
                  <a:cs typeface="Segoe UI Semibold" panose="020B0702040204020203" pitchFamily="34" charset="0"/>
                </a:rPr>
                <a:t>010010</a:t>
              </a:r>
            </a:p>
            <a:p>
              <a:pPr algn="ctr" defTabSz="932239" fontAlgn="auto">
                <a:spcBef>
                  <a:spcPts val="0"/>
                </a:spcBef>
                <a:spcAft>
                  <a:spcPts val="0"/>
                </a:spcAft>
              </a:pPr>
              <a:r>
                <a:rPr lang="en-IN" sz="612" dirty="0">
                  <a:solidFill>
                    <a:srgbClr val="FF8C00"/>
                  </a:solidFill>
                  <a:latin typeface="Segoe UI Semibold" panose="020B0702040204020203" pitchFamily="34" charset="0"/>
                  <a:cs typeface="Segoe UI Semibold" panose="020B0702040204020203" pitchFamily="34" charset="0"/>
                </a:rPr>
                <a:t>100100</a:t>
              </a:r>
            </a:p>
            <a:p>
              <a:pPr algn="ctr" defTabSz="932239" fontAlgn="auto">
                <a:spcBef>
                  <a:spcPts val="0"/>
                </a:spcBef>
                <a:spcAft>
                  <a:spcPts val="0"/>
                </a:spcAft>
              </a:pPr>
              <a:r>
                <a:rPr lang="en-IN" sz="612" dirty="0">
                  <a:solidFill>
                    <a:srgbClr val="FF8C00"/>
                  </a:solidFill>
                  <a:latin typeface="Segoe UI Semibold" panose="020B0702040204020203" pitchFamily="34" charset="0"/>
                  <a:cs typeface="Segoe UI Semibold" panose="020B0702040204020203" pitchFamily="34" charset="0"/>
                </a:rPr>
                <a:t>010101</a:t>
              </a:r>
            </a:p>
          </p:txBody>
        </p:sp>
        <p:sp>
          <p:nvSpPr>
            <p:cNvPr id="138" name="Freeform 137"/>
            <p:cNvSpPr/>
            <p:nvPr>
              <p:custDataLst>
                <p:tags r:id="rId6"/>
              </p:custDataLst>
            </p:nvPr>
          </p:nvSpPr>
          <p:spPr bwMode="auto">
            <a:xfrm rot="10800000">
              <a:off x="8736438" y="6389731"/>
              <a:ext cx="344488" cy="392893"/>
            </a:xfrm>
            <a:custGeom>
              <a:avLst/>
              <a:gdLst>
                <a:gd name="connsiteX0" fmla="*/ 304539 w 847199"/>
                <a:gd name="connsiteY0" fmla="*/ 57538 h 966241"/>
                <a:gd name="connsiteX1" fmla="*/ 302555 w 847199"/>
                <a:gd name="connsiteY1" fmla="*/ 230813 h 966241"/>
                <a:gd name="connsiteX2" fmla="*/ 239727 w 847199"/>
                <a:gd name="connsiteY2" fmla="*/ 276447 h 966241"/>
                <a:gd name="connsiteX3" fmla="*/ 62813 w 847199"/>
                <a:gd name="connsiteY3" fmla="*/ 276116 h 966241"/>
                <a:gd name="connsiteX4" fmla="*/ 60499 w 847199"/>
                <a:gd name="connsiteY4" fmla="*/ 849181 h 966241"/>
                <a:gd name="connsiteX5" fmla="*/ 110100 w 847199"/>
                <a:gd name="connsiteY5" fmla="*/ 908703 h 966241"/>
                <a:gd name="connsiteX6" fmla="*/ 786669 w 847199"/>
                <a:gd name="connsiteY6" fmla="*/ 904735 h 966241"/>
                <a:gd name="connsiteX7" fmla="*/ 786669 w 847199"/>
                <a:gd name="connsiteY7" fmla="*/ 126980 h 966241"/>
                <a:gd name="connsiteX8" fmla="*/ 727147 w 847199"/>
                <a:gd name="connsiteY8" fmla="*/ 59522 h 966241"/>
                <a:gd name="connsiteX9" fmla="*/ 279755 w 847199"/>
                <a:gd name="connsiteY9" fmla="*/ 0 h 966241"/>
                <a:gd name="connsiteX10" fmla="*/ 763472 w 847199"/>
                <a:gd name="connsiteY10" fmla="*/ 794 h 966241"/>
                <a:gd name="connsiteX11" fmla="*/ 847199 w 847199"/>
                <a:gd name="connsiteY11" fmla="*/ 95235 h 966241"/>
                <a:gd name="connsiteX12" fmla="*/ 845215 w 847199"/>
                <a:gd name="connsiteY12" fmla="*/ 966241 h 966241"/>
                <a:gd name="connsiteX13" fmla="*/ 75395 w 847199"/>
                <a:gd name="connsiteY13" fmla="*/ 966241 h 966241"/>
                <a:gd name="connsiteX14" fmla="*/ 1984 w 847199"/>
                <a:gd name="connsiteY14" fmla="*/ 892830 h 966241"/>
                <a:gd name="connsiteX15" fmla="*/ 0 w 847199"/>
                <a:gd name="connsiteY15" fmla="*/ 248008 h 966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47199" h="966241">
                  <a:moveTo>
                    <a:pt x="304539" y="57538"/>
                  </a:moveTo>
                  <a:cubicBezTo>
                    <a:pt x="303878" y="115738"/>
                    <a:pt x="305862" y="171291"/>
                    <a:pt x="302555" y="230813"/>
                  </a:cubicBezTo>
                  <a:cubicBezTo>
                    <a:pt x="295942" y="265865"/>
                    <a:pt x="283376" y="273140"/>
                    <a:pt x="239727" y="276447"/>
                  </a:cubicBezTo>
                  <a:lnTo>
                    <a:pt x="62813" y="276116"/>
                  </a:lnTo>
                  <a:cubicBezTo>
                    <a:pt x="62373" y="466807"/>
                    <a:pt x="60940" y="658490"/>
                    <a:pt x="60499" y="849181"/>
                  </a:cubicBezTo>
                  <a:cubicBezTo>
                    <a:pt x="67112" y="872990"/>
                    <a:pt x="67773" y="898783"/>
                    <a:pt x="110100" y="908703"/>
                  </a:cubicBezTo>
                  <a:lnTo>
                    <a:pt x="786669" y="904735"/>
                  </a:lnTo>
                  <a:lnTo>
                    <a:pt x="786669" y="126980"/>
                  </a:lnTo>
                  <a:cubicBezTo>
                    <a:pt x="787330" y="100526"/>
                    <a:pt x="778072" y="58199"/>
                    <a:pt x="727147" y="59522"/>
                  </a:cubicBezTo>
                  <a:close/>
                  <a:moveTo>
                    <a:pt x="279755" y="0"/>
                  </a:moveTo>
                  <a:lnTo>
                    <a:pt x="763472" y="794"/>
                  </a:lnTo>
                  <a:cubicBezTo>
                    <a:pt x="833575" y="9391"/>
                    <a:pt x="845215" y="58199"/>
                    <a:pt x="847199" y="95235"/>
                  </a:cubicBezTo>
                  <a:lnTo>
                    <a:pt x="845215" y="966241"/>
                  </a:lnTo>
                  <a:lnTo>
                    <a:pt x="75395" y="966241"/>
                  </a:lnTo>
                  <a:cubicBezTo>
                    <a:pt x="29100" y="963596"/>
                    <a:pt x="8598" y="929205"/>
                    <a:pt x="1984" y="892830"/>
                  </a:cubicBezTo>
                  <a:lnTo>
                    <a:pt x="0" y="248008"/>
                  </a:lnTo>
                  <a:close/>
                </a:path>
              </a:pathLst>
            </a:custGeom>
            <a:solidFill>
              <a:srgbClr val="FF8C00"/>
            </a:solidFill>
            <a:ln>
              <a:noFill/>
            </a:ln>
            <a:extLst/>
          </p:spPr>
          <p:txBody>
            <a:bodyPr rot="0" spcFirstLastPara="0" vertOverflow="overflow" horzOverflow="overflow" vert="horz" wrap="square" lIns="93234" tIns="46616" rIns="93234" bIns="46616" numCol="1" spcCol="0" rtlCol="0" fromWordArt="0" anchor="t" anchorCtr="0" forceAA="0" compatLnSpc="1">
              <a:prstTxWarp prst="textNoShape">
                <a:avLst/>
              </a:prstTxWarp>
              <a:noAutofit/>
            </a:bodyPr>
            <a:lstStyle/>
            <a:p>
              <a:pPr algn="ctr" defTabSz="932239" fontAlgn="auto">
                <a:spcBef>
                  <a:spcPts val="0"/>
                </a:spcBef>
                <a:spcAft>
                  <a:spcPts val="0"/>
                </a:spcAft>
              </a:pPr>
              <a:endParaRPr lang="en-US" sz="714">
                <a:solidFill>
                  <a:prstClr val="white"/>
                </a:solidFill>
                <a:latin typeface="Calibri" panose="020F0502020204030204"/>
                <a:cs typeface="+mn-cs"/>
              </a:endParaRPr>
            </a:p>
          </p:txBody>
        </p:sp>
      </p:grpSp>
      <p:grpSp>
        <p:nvGrpSpPr>
          <p:cNvPr id="133" name="Group 132"/>
          <p:cNvGrpSpPr>
            <a:grpSpLocks noChangeAspect="1"/>
          </p:cNvGrpSpPr>
          <p:nvPr/>
        </p:nvGrpSpPr>
        <p:grpSpPr>
          <a:xfrm>
            <a:off x="9116618" y="3305921"/>
            <a:ext cx="357147" cy="397400"/>
            <a:chOff x="8673628" y="6329424"/>
            <a:chExt cx="407298" cy="453200"/>
          </a:xfrm>
        </p:grpSpPr>
        <p:sp>
          <p:nvSpPr>
            <p:cNvPr id="146" name="Rectangle 153"/>
            <p:cNvSpPr/>
            <p:nvPr/>
          </p:nvSpPr>
          <p:spPr>
            <a:xfrm>
              <a:off x="8698044" y="6346031"/>
              <a:ext cx="310801" cy="359416"/>
            </a:xfrm>
            <a:custGeom>
              <a:avLst/>
              <a:gdLst>
                <a:gd name="connsiteX0" fmla="*/ 0 w 300129"/>
                <a:gd name="connsiteY0" fmla="*/ 0 h 384583"/>
                <a:gd name="connsiteX1" fmla="*/ 300129 w 300129"/>
                <a:gd name="connsiteY1" fmla="*/ 0 h 384583"/>
                <a:gd name="connsiteX2" fmla="*/ 300129 w 300129"/>
                <a:gd name="connsiteY2" fmla="*/ 384583 h 384583"/>
                <a:gd name="connsiteX3" fmla="*/ 0 w 300129"/>
                <a:gd name="connsiteY3" fmla="*/ 384583 h 384583"/>
                <a:gd name="connsiteX4" fmla="*/ 0 w 300129"/>
                <a:gd name="connsiteY4" fmla="*/ 0 h 384583"/>
                <a:gd name="connsiteX0" fmla="*/ 0 w 300129"/>
                <a:gd name="connsiteY0" fmla="*/ 0 h 384583"/>
                <a:gd name="connsiteX1" fmla="*/ 300129 w 300129"/>
                <a:gd name="connsiteY1" fmla="*/ 0 h 384583"/>
                <a:gd name="connsiteX2" fmla="*/ 266792 w 300129"/>
                <a:gd name="connsiteY2" fmla="*/ 339339 h 384583"/>
                <a:gd name="connsiteX3" fmla="*/ 0 w 300129"/>
                <a:gd name="connsiteY3" fmla="*/ 384583 h 384583"/>
                <a:gd name="connsiteX4" fmla="*/ 0 w 300129"/>
                <a:gd name="connsiteY4" fmla="*/ 0 h 384583"/>
                <a:gd name="connsiteX0" fmla="*/ 0 w 300129"/>
                <a:gd name="connsiteY0" fmla="*/ 0 h 384583"/>
                <a:gd name="connsiteX1" fmla="*/ 300129 w 300129"/>
                <a:gd name="connsiteY1" fmla="*/ 0 h 384583"/>
                <a:gd name="connsiteX2" fmla="*/ 266792 w 300129"/>
                <a:gd name="connsiteY2" fmla="*/ 339339 h 384583"/>
                <a:gd name="connsiteX3" fmla="*/ 0 w 300129"/>
                <a:gd name="connsiteY3" fmla="*/ 384583 h 384583"/>
                <a:gd name="connsiteX4" fmla="*/ 0 w 300129"/>
                <a:gd name="connsiteY4" fmla="*/ 0 h 384583"/>
                <a:gd name="connsiteX0" fmla="*/ 0 w 311074"/>
                <a:gd name="connsiteY0" fmla="*/ 0 h 384583"/>
                <a:gd name="connsiteX1" fmla="*/ 300129 w 311074"/>
                <a:gd name="connsiteY1" fmla="*/ 0 h 384583"/>
                <a:gd name="connsiteX2" fmla="*/ 266792 w 311074"/>
                <a:gd name="connsiteY2" fmla="*/ 339339 h 384583"/>
                <a:gd name="connsiteX3" fmla="*/ 0 w 311074"/>
                <a:gd name="connsiteY3" fmla="*/ 384583 h 384583"/>
                <a:gd name="connsiteX4" fmla="*/ 0 w 311074"/>
                <a:gd name="connsiteY4" fmla="*/ 0 h 384583"/>
                <a:gd name="connsiteX0" fmla="*/ 0 w 321872"/>
                <a:gd name="connsiteY0" fmla="*/ 0 h 384583"/>
                <a:gd name="connsiteX1" fmla="*/ 300129 w 321872"/>
                <a:gd name="connsiteY1" fmla="*/ 0 h 384583"/>
                <a:gd name="connsiteX2" fmla="*/ 266792 w 321872"/>
                <a:gd name="connsiteY2" fmla="*/ 339339 h 384583"/>
                <a:gd name="connsiteX3" fmla="*/ 0 w 321872"/>
                <a:gd name="connsiteY3" fmla="*/ 384583 h 384583"/>
                <a:gd name="connsiteX4" fmla="*/ 0 w 321872"/>
                <a:gd name="connsiteY4" fmla="*/ 0 h 384583"/>
                <a:gd name="connsiteX0" fmla="*/ 0 w 300129"/>
                <a:gd name="connsiteY0" fmla="*/ 0 h 384583"/>
                <a:gd name="connsiteX1" fmla="*/ 300129 w 300129"/>
                <a:gd name="connsiteY1" fmla="*/ 0 h 384583"/>
                <a:gd name="connsiteX2" fmla="*/ 0 w 300129"/>
                <a:gd name="connsiteY2" fmla="*/ 384583 h 384583"/>
                <a:gd name="connsiteX3" fmla="*/ 0 w 300129"/>
                <a:gd name="connsiteY3" fmla="*/ 0 h 384583"/>
                <a:gd name="connsiteX0" fmla="*/ 0 w 302713"/>
                <a:gd name="connsiteY0" fmla="*/ 0 h 384583"/>
                <a:gd name="connsiteX1" fmla="*/ 300129 w 302713"/>
                <a:gd name="connsiteY1" fmla="*/ 0 h 384583"/>
                <a:gd name="connsiteX2" fmla="*/ 0 w 302713"/>
                <a:gd name="connsiteY2" fmla="*/ 384583 h 384583"/>
                <a:gd name="connsiteX3" fmla="*/ 0 w 302713"/>
                <a:gd name="connsiteY3" fmla="*/ 0 h 384583"/>
                <a:gd name="connsiteX0" fmla="*/ 0 w 302915"/>
                <a:gd name="connsiteY0" fmla="*/ 0 h 384688"/>
                <a:gd name="connsiteX1" fmla="*/ 300129 w 302915"/>
                <a:gd name="connsiteY1" fmla="*/ 0 h 384688"/>
                <a:gd name="connsiteX2" fmla="*/ 0 w 302915"/>
                <a:gd name="connsiteY2" fmla="*/ 384583 h 384688"/>
                <a:gd name="connsiteX3" fmla="*/ 0 w 302915"/>
                <a:gd name="connsiteY3" fmla="*/ 0 h 384688"/>
                <a:gd name="connsiteX0" fmla="*/ 0 w 303865"/>
                <a:gd name="connsiteY0" fmla="*/ 0 h 384688"/>
                <a:gd name="connsiteX1" fmla="*/ 300129 w 303865"/>
                <a:gd name="connsiteY1" fmla="*/ 0 h 384688"/>
                <a:gd name="connsiteX2" fmla="*/ 0 w 303865"/>
                <a:gd name="connsiteY2" fmla="*/ 384583 h 384688"/>
                <a:gd name="connsiteX3" fmla="*/ 0 w 303865"/>
                <a:gd name="connsiteY3" fmla="*/ 0 h 384688"/>
                <a:gd name="connsiteX0" fmla="*/ 0 w 303865"/>
                <a:gd name="connsiteY0" fmla="*/ 0 h 384700"/>
                <a:gd name="connsiteX1" fmla="*/ 300129 w 303865"/>
                <a:gd name="connsiteY1" fmla="*/ 0 h 384700"/>
                <a:gd name="connsiteX2" fmla="*/ 0 w 303865"/>
                <a:gd name="connsiteY2" fmla="*/ 384583 h 384700"/>
                <a:gd name="connsiteX3" fmla="*/ 0 w 303865"/>
                <a:gd name="connsiteY3" fmla="*/ 0 h 384700"/>
                <a:gd name="connsiteX0" fmla="*/ 0 w 304322"/>
                <a:gd name="connsiteY0" fmla="*/ 0 h 384583"/>
                <a:gd name="connsiteX1" fmla="*/ 300129 w 304322"/>
                <a:gd name="connsiteY1" fmla="*/ 0 h 384583"/>
                <a:gd name="connsiteX2" fmla="*/ 0 w 304322"/>
                <a:gd name="connsiteY2" fmla="*/ 384583 h 384583"/>
                <a:gd name="connsiteX3" fmla="*/ 0 w 304322"/>
                <a:gd name="connsiteY3" fmla="*/ 0 h 384583"/>
                <a:gd name="connsiteX0" fmla="*/ 0 w 301605"/>
                <a:gd name="connsiteY0" fmla="*/ 0 h 384583"/>
                <a:gd name="connsiteX1" fmla="*/ 300129 w 301605"/>
                <a:gd name="connsiteY1" fmla="*/ 0 h 384583"/>
                <a:gd name="connsiteX2" fmla="*/ 0 w 301605"/>
                <a:gd name="connsiteY2" fmla="*/ 384583 h 384583"/>
                <a:gd name="connsiteX3" fmla="*/ 0 w 301605"/>
                <a:gd name="connsiteY3" fmla="*/ 0 h 384583"/>
                <a:gd name="connsiteX0" fmla="*/ 0 w 301447"/>
                <a:gd name="connsiteY0" fmla="*/ 0 h 402570"/>
                <a:gd name="connsiteX1" fmla="*/ 300129 w 301447"/>
                <a:gd name="connsiteY1" fmla="*/ 0 h 402570"/>
                <a:gd name="connsiteX2" fmla="*/ 0 w 301447"/>
                <a:gd name="connsiteY2" fmla="*/ 384583 h 402570"/>
                <a:gd name="connsiteX3" fmla="*/ 0 w 301447"/>
                <a:gd name="connsiteY3" fmla="*/ 0 h 402570"/>
                <a:gd name="connsiteX0" fmla="*/ 2234 w 303665"/>
                <a:gd name="connsiteY0" fmla="*/ 0 h 410060"/>
                <a:gd name="connsiteX1" fmla="*/ 302363 w 303665"/>
                <a:gd name="connsiteY1" fmla="*/ 0 h 410060"/>
                <a:gd name="connsiteX2" fmla="*/ 0 w 303665"/>
                <a:gd name="connsiteY2" fmla="*/ 392382 h 410060"/>
                <a:gd name="connsiteX3" fmla="*/ 2234 w 303665"/>
                <a:gd name="connsiteY3" fmla="*/ 0 h 410060"/>
                <a:gd name="connsiteX0" fmla="*/ 2234 w 303680"/>
                <a:gd name="connsiteY0" fmla="*/ 0 h 403956"/>
                <a:gd name="connsiteX1" fmla="*/ 302363 w 303680"/>
                <a:gd name="connsiteY1" fmla="*/ 0 h 403956"/>
                <a:gd name="connsiteX2" fmla="*/ 0 w 303680"/>
                <a:gd name="connsiteY2" fmla="*/ 392382 h 403956"/>
                <a:gd name="connsiteX3" fmla="*/ 2234 w 303680"/>
                <a:gd name="connsiteY3" fmla="*/ 0 h 403956"/>
                <a:gd name="connsiteX0" fmla="*/ 2234 w 303782"/>
                <a:gd name="connsiteY0" fmla="*/ 0 h 392382"/>
                <a:gd name="connsiteX1" fmla="*/ 302363 w 303782"/>
                <a:gd name="connsiteY1" fmla="*/ 0 h 392382"/>
                <a:gd name="connsiteX2" fmla="*/ 0 w 303782"/>
                <a:gd name="connsiteY2" fmla="*/ 392382 h 392382"/>
                <a:gd name="connsiteX3" fmla="*/ 2234 w 303782"/>
                <a:gd name="connsiteY3" fmla="*/ 0 h 392382"/>
                <a:gd name="connsiteX0" fmla="*/ 2234 w 302363"/>
                <a:gd name="connsiteY0" fmla="*/ 0 h 392382"/>
                <a:gd name="connsiteX1" fmla="*/ 302363 w 302363"/>
                <a:gd name="connsiteY1" fmla="*/ 0 h 392382"/>
                <a:gd name="connsiteX2" fmla="*/ 0 w 302363"/>
                <a:gd name="connsiteY2" fmla="*/ 392382 h 392382"/>
                <a:gd name="connsiteX3" fmla="*/ 2234 w 302363"/>
                <a:gd name="connsiteY3" fmla="*/ 0 h 392382"/>
              </a:gdLst>
              <a:ahLst/>
              <a:cxnLst>
                <a:cxn ang="0">
                  <a:pos x="connsiteX0" y="connsiteY0"/>
                </a:cxn>
                <a:cxn ang="0">
                  <a:pos x="connsiteX1" y="connsiteY1"/>
                </a:cxn>
                <a:cxn ang="0">
                  <a:pos x="connsiteX2" y="connsiteY2"/>
                </a:cxn>
                <a:cxn ang="0">
                  <a:pos x="connsiteX3" y="connsiteY3"/>
                </a:cxn>
              </a:cxnLst>
              <a:rect l="l" t="t" r="r" b="b"/>
              <a:pathLst>
                <a:path w="302363" h="392382">
                  <a:moveTo>
                    <a:pt x="2234" y="0"/>
                  </a:moveTo>
                  <a:lnTo>
                    <a:pt x="302363" y="0"/>
                  </a:lnTo>
                  <a:cubicBezTo>
                    <a:pt x="255395" y="120404"/>
                    <a:pt x="167159" y="364972"/>
                    <a:pt x="0" y="392382"/>
                  </a:cubicBezTo>
                  <a:cubicBezTo>
                    <a:pt x="745" y="261588"/>
                    <a:pt x="1489" y="130794"/>
                    <a:pt x="2234" y="0"/>
                  </a:cubicBezTo>
                  <a:close/>
                </a:path>
              </a:pathLst>
            </a:custGeom>
            <a:ln>
              <a:noFill/>
            </a:ln>
          </p:spPr>
          <p:style>
            <a:lnRef idx="2">
              <a:schemeClr val="accent1"/>
            </a:lnRef>
            <a:fillRef idx="1">
              <a:schemeClr val="lt1"/>
            </a:fillRef>
            <a:effectRef idx="0">
              <a:schemeClr val="accent1"/>
            </a:effectRef>
            <a:fontRef idx="minor">
              <a:schemeClr val="dk1"/>
            </a:fontRef>
          </p:style>
          <p:txBody>
            <a:bodyPr lIns="18646" tIns="18646" rIns="18646" bIns="18646" rtlCol="0" anchor="t"/>
            <a:lstStyle/>
            <a:p>
              <a:pPr algn="ctr" defTabSz="932239" fontAlgn="auto">
                <a:spcBef>
                  <a:spcPts val="0"/>
                </a:spcBef>
                <a:spcAft>
                  <a:spcPts val="0"/>
                </a:spcAft>
              </a:pPr>
              <a:endParaRPr lang="en-IN" sz="612" dirty="0">
                <a:solidFill>
                  <a:srgbClr val="FF8C00"/>
                </a:solidFill>
                <a:latin typeface="Segoe UI Semibold" panose="020B0702040204020203" pitchFamily="34" charset="0"/>
                <a:cs typeface="Segoe UI Semibold" panose="020B0702040204020203" pitchFamily="34" charset="0"/>
              </a:endParaRPr>
            </a:p>
          </p:txBody>
        </p:sp>
        <p:sp>
          <p:nvSpPr>
            <p:cNvPr id="147" name="Freeform 146"/>
            <p:cNvSpPr/>
            <p:nvPr>
              <p:custDataLst>
                <p:tags r:id="rId3"/>
              </p:custDataLst>
            </p:nvPr>
          </p:nvSpPr>
          <p:spPr bwMode="auto">
            <a:xfrm rot="10800000">
              <a:off x="8673628" y="6329424"/>
              <a:ext cx="343787" cy="392623"/>
            </a:xfrm>
            <a:custGeom>
              <a:avLst/>
              <a:gdLst>
                <a:gd name="connsiteX0" fmla="*/ 342979 w 343786"/>
                <a:gd name="connsiteY0" fmla="*/ 392623 h 392623"/>
                <a:gd name="connsiteX1" fmla="*/ 29955 w 343786"/>
                <a:gd name="connsiteY1" fmla="*/ 392623 h 392623"/>
                <a:gd name="connsiteX2" fmla="*/ 105 w 343786"/>
                <a:gd name="connsiteY2" fmla="*/ 362773 h 392623"/>
                <a:gd name="connsiteX3" fmla="*/ 0 w 343786"/>
                <a:gd name="connsiteY3" fmla="*/ 328722 h 392623"/>
                <a:gd name="connsiteX4" fmla="*/ 23964 w 343786"/>
                <a:gd name="connsiteY4" fmla="*/ 328722 h 392623"/>
                <a:gd name="connsiteX5" fmla="*/ 23898 w 343786"/>
                <a:gd name="connsiteY5" fmla="*/ 345024 h 392623"/>
                <a:gd name="connsiteX6" fmla="*/ 44067 w 343786"/>
                <a:gd name="connsiteY6" fmla="*/ 369227 h 392623"/>
                <a:gd name="connsiteX7" fmla="*/ 319173 w 343786"/>
                <a:gd name="connsiteY7" fmla="*/ 367614 h 392623"/>
                <a:gd name="connsiteX8" fmla="*/ 319173 w 343786"/>
                <a:gd name="connsiteY8" fmla="*/ 51363 h 392623"/>
                <a:gd name="connsiteX9" fmla="*/ 294970 w 343786"/>
                <a:gd name="connsiteY9" fmla="*/ 23933 h 392623"/>
                <a:gd name="connsiteX10" fmla="*/ 276999 w 343786"/>
                <a:gd name="connsiteY10" fmla="*/ 23849 h 392623"/>
                <a:gd name="connsiteX11" fmla="*/ 277053 w 343786"/>
                <a:gd name="connsiteY11" fmla="*/ 0 h 392623"/>
                <a:gd name="connsiteX12" fmla="*/ 309741 w 343786"/>
                <a:gd name="connsiteY12" fmla="*/ 53 h 392623"/>
                <a:gd name="connsiteX13" fmla="*/ 343786 w 343786"/>
                <a:gd name="connsiteY13" fmla="*/ 38455 h 392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43786" h="392623">
                  <a:moveTo>
                    <a:pt x="342979" y="392623"/>
                  </a:moveTo>
                  <a:lnTo>
                    <a:pt x="29955" y="392623"/>
                  </a:lnTo>
                  <a:cubicBezTo>
                    <a:pt x="11131" y="391548"/>
                    <a:pt x="2794" y="377564"/>
                    <a:pt x="105" y="362773"/>
                  </a:cubicBezTo>
                  <a:lnTo>
                    <a:pt x="0" y="328722"/>
                  </a:lnTo>
                  <a:lnTo>
                    <a:pt x="23964" y="328722"/>
                  </a:lnTo>
                  <a:lnTo>
                    <a:pt x="23898" y="345024"/>
                  </a:lnTo>
                  <a:cubicBezTo>
                    <a:pt x="26587" y="354706"/>
                    <a:pt x="26856" y="365193"/>
                    <a:pt x="44067" y="369227"/>
                  </a:cubicBezTo>
                  <a:lnTo>
                    <a:pt x="319173" y="367614"/>
                  </a:lnTo>
                  <a:lnTo>
                    <a:pt x="319173" y="51363"/>
                  </a:lnTo>
                  <a:cubicBezTo>
                    <a:pt x="319442" y="40606"/>
                    <a:pt x="315678" y="23395"/>
                    <a:pt x="294970" y="23933"/>
                  </a:cubicBezTo>
                  <a:lnTo>
                    <a:pt x="276999" y="23849"/>
                  </a:lnTo>
                  <a:lnTo>
                    <a:pt x="277053" y="0"/>
                  </a:lnTo>
                  <a:lnTo>
                    <a:pt x="309741" y="53"/>
                  </a:lnTo>
                  <a:cubicBezTo>
                    <a:pt x="338246" y="3549"/>
                    <a:pt x="342979" y="23395"/>
                    <a:pt x="343786" y="38455"/>
                  </a:cubicBezTo>
                  <a:close/>
                </a:path>
              </a:pathLst>
            </a:custGeom>
            <a:solidFill>
              <a:schemeClr val="accent1">
                <a:lumMod val="50000"/>
              </a:schemeClr>
            </a:solidFill>
            <a:ln>
              <a:noFill/>
            </a:ln>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3234" tIns="46616" rIns="93234" bIns="46616" numCol="1" spcCol="0" rtlCol="0" fromWordArt="0" anchor="t" anchorCtr="0" forceAA="0" compatLnSpc="1">
              <a:prstTxWarp prst="textNoShape">
                <a:avLst/>
              </a:prstTxWarp>
              <a:noAutofit/>
            </a:bodyPr>
            <a:lstStyle/>
            <a:p>
              <a:pPr algn="ctr" defTabSz="932239" fontAlgn="auto">
                <a:spcBef>
                  <a:spcPts val="0"/>
                </a:spcBef>
                <a:spcAft>
                  <a:spcPts val="0"/>
                </a:spcAft>
              </a:pPr>
              <a:endParaRPr lang="en-US" sz="714">
                <a:solidFill>
                  <a:prstClr val="white"/>
                </a:solidFill>
              </a:endParaRPr>
            </a:p>
          </p:txBody>
        </p:sp>
        <p:sp>
          <p:nvSpPr>
            <p:cNvPr id="148" name="Rectangle 153"/>
            <p:cNvSpPr>
              <a:spLocks noChangeAspect="1"/>
            </p:cNvSpPr>
            <p:nvPr/>
          </p:nvSpPr>
          <p:spPr>
            <a:xfrm>
              <a:off x="8748338" y="6401358"/>
              <a:ext cx="327014" cy="362750"/>
            </a:xfrm>
            <a:custGeom>
              <a:avLst/>
              <a:gdLst>
                <a:gd name="connsiteX0" fmla="*/ 0 w 300129"/>
                <a:gd name="connsiteY0" fmla="*/ 0 h 384583"/>
                <a:gd name="connsiteX1" fmla="*/ 300129 w 300129"/>
                <a:gd name="connsiteY1" fmla="*/ 0 h 384583"/>
                <a:gd name="connsiteX2" fmla="*/ 300129 w 300129"/>
                <a:gd name="connsiteY2" fmla="*/ 384583 h 384583"/>
                <a:gd name="connsiteX3" fmla="*/ 0 w 300129"/>
                <a:gd name="connsiteY3" fmla="*/ 384583 h 384583"/>
                <a:gd name="connsiteX4" fmla="*/ 0 w 300129"/>
                <a:gd name="connsiteY4" fmla="*/ 0 h 384583"/>
                <a:gd name="connsiteX0" fmla="*/ 0 w 300129"/>
                <a:gd name="connsiteY0" fmla="*/ 0 h 384583"/>
                <a:gd name="connsiteX1" fmla="*/ 300129 w 300129"/>
                <a:gd name="connsiteY1" fmla="*/ 0 h 384583"/>
                <a:gd name="connsiteX2" fmla="*/ 266792 w 300129"/>
                <a:gd name="connsiteY2" fmla="*/ 339339 h 384583"/>
                <a:gd name="connsiteX3" fmla="*/ 0 w 300129"/>
                <a:gd name="connsiteY3" fmla="*/ 384583 h 384583"/>
                <a:gd name="connsiteX4" fmla="*/ 0 w 300129"/>
                <a:gd name="connsiteY4" fmla="*/ 0 h 384583"/>
                <a:gd name="connsiteX0" fmla="*/ 0 w 300129"/>
                <a:gd name="connsiteY0" fmla="*/ 0 h 384583"/>
                <a:gd name="connsiteX1" fmla="*/ 300129 w 300129"/>
                <a:gd name="connsiteY1" fmla="*/ 0 h 384583"/>
                <a:gd name="connsiteX2" fmla="*/ 266792 w 300129"/>
                <a:gd name="connsiteY2" fmla="*/ 339339 h 384583"/>
                <a:gd name="connsiteX3" fmla="*/ 0 w 300129"/>
                <a:gd name="connsiteY3" fmla="*/ 384583 h 384583"/>
                <a:gd name="connsiteX4" fmla="*/ 0 w 300129"/>
                <a:gd name="connsiteY4" fmla="*/ 0 h 384583"/>
                <a:gd name="connsiteX0" fmla="*/ 0 w 311074"/>
                <a:gd name="connsiteY0" fmla="*/ 0 h 384583"/>
                <a:gd name="connsiteX1" fmla="*/ 300129 w 311074"/>
                <a:gd name="connsiteY1" fmla="*/ 0 h 384583"/>
                <a:gd name="connsiteX2" fmla="*/ 266792 w 311074"/>
                <a:gd name="connsiteY2" fmla="*/ 339339 h 384583"/>
                <a:gd name="connsiteX3" fmla="*/ 0 w 311074"/>
                <a:gd name="connsiteY3" fmla="*/ 384583 h 384583"/>
                <a:gd name="connsiteX4" fmla="*/ 0 w 311074"/>
                <a:gd name="connsiteY4" fmla="*/ 0 h 384583"/>
                <a:gd name="connsiteX0" fmla="*/ 0 w 321872"/>
                <a:gd name="connsiteY0" fmla="*/ 0 h 384583"/>
                <a:gd name="connsiteX1" fmla="*/ 300129 w 321872"/>
                <a:gd name="connsiteY1" fmla="*/ 0 h 384583"/>
                <a:gd name="connsiteX2" fmla="*/ 266792 w 321872"/>
                <a:gd name="connsiteY2" fmla="*/ 339339 h 384583"/>
                <a:gd name="connsiteX3" fmla="*/ 0 w 321872"/>
                <a:gd name="connsiteY3" fmla="*/ 384583 h 384583"/>
                <a:gd name="connsiteX4" fmla="*/ 0 w 321872"/>
                <a:gd name="connsiteY4" fmla="*/ 0 h 3845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872" h="384583">
                  <a:moveTo>
                    <a:pt x="0" y="0"/>
                  </a:moveTo>
                  <a:lnTo>
                    <a:pt x="300129" y="0"/>
                  </a:lnTo>
                  <a:cubicBezTo>
                    <a:pt x="319973" y="53582"/>
                    <a:pt x="349341" y="276233"/>
                    <a:pt x="266792" y="339339"/>
                  </a:cubicBezTo>
                  <a:cubicBezTo>
                    <a:pt x="204055" y="397282"/>
                    <a:pt x="88931" y="369502"/>
                    <a:pt x="0" y="384583"/>
                  </a:cubicBezTo>
                  <a:lnTo>
                    <a:pt x="0" y="0"/>
                  </a:lnTo>
                  <a:close/>
                </a:path>
              </a:pathLst>
            </a:custGeom>
            <a:ln>
              <a:noFill/>
            </a:ln>
          </p:spPr>
          <p:style>
            <a:lnRef idx="2">
              <a:schemeClr val="accent1"/>
            </a:lnRef>
            <a:fillRef idx="1">
              <a:schemeClr val="lt1"/>
            </a:fillRef>
            <a:effectRef idx="0">
              <a:schemeClr val="accent1"/>
            </a:effectRef>
            <a:fontRef idx="minor">
              <a:schemeClr val="dk1"/>
            </a:fontRef>
          </p:style>
          <p:txBody>
            <a:bodyPr lIns="18646" tIns="18646" rIns="18646" bIns="18646" rtlCol="0" anchor="t"/>
            <a:lstStyle/>
            <a:p>
              <a:pPr algn="ctr" defTabSz="932239" fontAlgn="auto">
                <a:spcBef>
                  <a:spcPts val="0"/>
                </a:spcBef>
                <a:spcAft>
                  <a:spcPts val="0"/>
                </a:spcAft>
              </a:pPr>
              <a:r>
                <a:rPr lang="en-IN" sz="612" dirty="0">
                  <a:solidFill>
                    <a:srgbClr val="003963"/>
                  </a:solidFill>
                  <a:latin typeface="Segoe UI Semibold" panose="020B0702040204020203" pitchFamily="34" charset="0"/>
                  <a:cs typeface="Segoe UI Semibold" panose="020B0702040204020203" pitchFamily="34" charset="0"/>
                </a:rPr>
                <a:t>010010</a:t>
              </a:r>
            </a:p>
            <a:p>
              <a:pPr algn="ctr" defTabSz="932239" fontAlgn="auto">
                <a:spcBef>
                  <a:spcPts val="0"/>
                </a:spcBef>
                <a:spcAft>
                  <a:spcPts val="0"/>
                </a:spcAft>
              </a:pPr>
              <a:r>
                <a:rPr lang="en-IN" sz="612" dirty="0">
                  <a:solidFill>
                    <a:srgbClr val="003963"/>
                  </a:solidFill>
                  <a:latin typeface="Segoe UI Semibold" panose="020B0702040204020203" pitchFamily="34" charset="0"/>
                  <a:cs typeface="Segoe UI Semibold" panose="020B0702040204020203" pitchFamily="34" charset="0"/>
                </a:rPr>
                <a:t>100100</a:t>
              </a:r>
            </a:p>
            <a:p>
              <a:pPr algn="ctr" defTabSz="932239" fontAlgn="auto">
                <a:spcBef>
                  <a:spcPts val="0"/>
                </a:spcBef>
                <a:spcAft>
                  <a:spcPts val="0"/>
                </a:spcAft>
              </a:pPr>
              <a:r>
                <a:rPr lang="en-IN" sz="612" dirty="0">
                  <a:solidFill>
                    <a:srgbClr val="003963"/>
                  </a:solidFill>
                  <a:latin typeface="Segoe UI Semibold" panose="020B0702040204020203" pitchFamily="34" charset="0"/>
                  <a:cs typeface="Segoe UI Semibold" panose="020B0702040204020203" pitchFamily="34" charset="0"/>
                </a:rPr>
                <a:t>010101</a:t>
              </a:r>
            </a:p>
          </p:txBody>
        </p:sp>
        <p:sp>
          <p:nvSpPr>
            <p:cNvPr id="149" name="Freeform 148"/>
            <p:cNvSpPr/>
            <p:nvPr>
              <p:custDataLst>
                <p:tags r:id="rId4"/>
              </p:custDataLst>
            </p:nvPr>
          </p:nvSpPr>
          <p:spPr bwMode="auto">
            <a:xfrm rot="10800000">
              <a:off x="8736438" y="6389731"/>
              <a:ext cx="344488" cy="392893"/>
            </a:xfrm>
            <a:custGeom>
              <a:avLst/>
              <a:gdLst>
                <a:gd name="connsiteX0" fmla="*/ 304539 w 847199"/>
                <a:gd name="connsiteY0" fmla="*/ 57538 h 966241"/>
                <a:gd name="connsiteX1" fmla="*/ 302555 w 847199"/>
                <a:gd name="connsiteY1" fmla="*/ 230813 h 966241"/>
                <a:gd name="connsiteX2" fmla="*/ 239727 w 847199"/>
                <a:gd name="connsiteY2" fmla="*/ 276447 h 966241"/>
                <a:gd name="connsiteX3" fmla="*/ 62813 w 847199"/>
                <a:gd name="connsiteY3" fmla="*/ 276116 h 966241"/>
                <a:gd name="connsiteX4" fmla="*/ 60499 w 847199"/>
                <a:gd name="connsiteY4" fmla="*/ 849181 h 966241"/>
                <a:gd name="connsiteX5" fmla="*/ 110100 w 847199"/>
                <a:gd name="connsiteY5" fmla="*/ 908703 h 966241"/>
                <a:gd name="connsiteX6" fmla="*/ 786669 w 847199"/>
                <a:gd name="connsiteY6" fmla="*/ 904735 h 966241"/>
                <a:gd name="connsiteX7" fmla="*/ 786669 w 847199"/>
                <a:gd name="connsiteY7" fmla="*/ 126980 h 966241"/>
                <a:gd name="connsiteX8" fmla="*/ 727147 w 847199"/>
                <a:gd name="connsiteY8" fmla="*/ 59522 h 966241"/>
                <a:gd name="connsiteX9" fmla="*/ 279755 w 847199"/>
                <a:gd name="connsiteY9" fmla="*/ 0 h 966241"/>
                <a:gd name="connsiteX10" fmla="*/ 763472 w 847199"/>
                <a:gd name="connsiteY10" fmla="*/ 794 h 966241"/>
                <a:gd name="connsiteX11" fmla="*/ 847199 w 847199"/>
                <a:gd name="connsiteY11" fmla="*/ 95235 h 966241"/>
                <a:gd name="connsiteX12" fmla="*/ 845215 w 847199"/>
                <a:gd name="connsiteY12" fmla="*/ 966241 h 966241"/>
                <a:gd name="connsiteX13" fmla="*/ 75395 w 847199"/>
                <a:gd name="connsiteY13" fmla="*/ 966241 h 966241"/>
                <a:gd name="connsiteX14" fmla="*/ 1984 w 847199"/>
                <a:gd name="connsiteY14" fmla="*/ 892830 h 966241"/>
                <a:gd name="connsiteX15" fmla="*/ 0 w 847199"/>
                <a:gd name="connsiteY15" fmla="*/ 248008 h 966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47199" h="966241">
                  <a:moveTo>
                    <a:pt x="304539" y="57538"/>
                  </a:moveTo>
                  <a:cubicBezTo>
                    <a:pt x="303878" y="115738"/>
                    <a:pt x="305862" y="171291"/>
                    <a:pt x="302555" y="230813"/>
                  </a:cubicBezTo>
                  <a:cubicBezTo>
                    <a:pt x="295942" y="265865"/>
                    <a:pt x="283376" y="273140"/>
                    <a:pt x="239727" y="276447"/>
                  </a:cubicBezTo>
                  <a:lnTo>
                    <a:pt x="62813" y="276116"/>
                  </a:lnTo>
                  <a:cubicBezTo>
                    <a:pt x="62373" y="466807"/>
                    <a:pt x="60940" y="658490"/>
                    <a:pt x="60499" y="849181"/>
                  </a:cubicBezTo>
                  <a:cubicBezTo>
                    <a:pt x="67112" y="872990"/>
                    <a:pt x="67773" y="898783"/>
                    <a:pt x="110100" y="908703"/>
                  </a:cubicBezTo>
                  <a:lnTo>
                    <a:pt x="786669" y="904735"/>
                  </a:lnTo>
                  <a:lnTo>
                    <a:pt x="786669" y="126980"/>
                  </a:lnTo>
                  <a:cubicBezTo>
                    <a:pt x="787330" y="100526"/>
                    <a:pt x="778072" y="58199"/>
                    <a:pt x="727147" y="59522"/>
                  </a:cubicBezTo>
                  <a:close/>
                  <a:moveTo>
                    <a:pt x="279755" y="0"/>
                  </a:moveTo>
                  <a:lnTo>
                    <a:pt x="763472" y="794"/>
                  </a:lnTo>
                  <a:cubicBezTo>
                    <a:pt x="833575" y="9391"/>
                    <a:pt x="845215" y="58199"/>
                    <a:pt x="847199" y="95235"/>
                  </a:cubicBezTo>
                  <a:lnTo>
                    <a:pt x="845215" y="966241"/>
                  </a:lnTo>
                  <a:lnTo>
                    <a:pt x="75395" y="966241"/>
                  </a:lnTo>
                  <a:cubicBezTo>
                    <a:pt x="29100" y="963596"/>
                    <a:pt x="8598" y="929205"/>
                    <a:pt x="1984" y="892830"/>
                  </a:cubicBezTo>
                  <a:lnTo>
                    <a:pt x="0" y="248008"/>
                  </a:lnTo>
                  <a:close/>
                </a:path>
              </a:pathLst>
            </a:custGeom>
            <a:solidFill>
              <a:schemeClr val="accent1">
                <a:lumMod val="50000"/>
              </a:schemeClr>
            </a:solidFill>
            <a:ln>
              <a:noFill/>
            </a:ln>
            <a:ex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3234" tIns="46616" rIns="93234" bIns="46616" numCol="1" spcCol="0" rtlCol="0" fromWordArt="0" anchor="t" anchorCtr="0" forceAA="0" compatLnSpc="1">
              <a:prstTxWarp prst="textNoShape">
                <a:avLst/>
              </a:prstTxWarp>
              <a:noAutofit/>
            </a:bodyPr>
            <a:lstStyle/>
            <a:p>
              <a:pPr algn="ctr" defTabSz="932239" fontAlgn="auto">
                <a:spcBef>
                  <a:spcPts val="0"/>
                </a:spcBef>
                <a:spcAft>
                  <a:spcPts val="0"/>
                </a:spcAft>
              </a:pPr>
              <a:endParaRPr lang="en-US" sz="714">
                <a:solidFill>
                  <a:prstClr val="white"/>
                </a:solidFill>
              </a:endParaRPr>
            </a:p>
          </p:txBody>
        </p:sp>
      </p:grpSp>
      <p:sp>
        <p:nvSpPr>
          <p:cNvPr id="23" name="Rectangle 22"/>
          <p:cNvSpPr/>
          <p:nvPr/>
        </p:nvSpPr>
        <p:spPr>
          <a:xfrm>
            <a:off x="638836" y="2952989"/>
            <a:ext cx="2304864" cy="568745"/>
          </a:xfrm>
          <a:prstGeom prst="rect">
            <a:avLst/>
          </a:prstGeom>
        </p:spPr>
        <p:txBody>
          <a:bodyPr wrap="square" lIns="0" tIns="0" rIns="0" bIns="0">
            <a:spAutoFit/>
          </a:bodyPr>
          <a:lstStyle/>
          <a:p>
            <a:pPr defTabSz="913244" fontAlgn="auto">
              <a:spcBef>
                <a:spcPts val="600"/>
              </a:spcBef>
              <a:spcAft>
                <a:spcPts val="0"/>
              </a:spcAft>
              <a:buClr>
                <a:srgbClr val="5B9BD5">
                  <a:lumMod val="50000"/>
                </a:srgbClr>
              </a:buClr>
              <a:buSzPct val="100000"/>
            </a:pPr>
            <a:endParaRPr lang="en-US" sz="1598" spc="-70" dirty="0" smtClean="0">
              <a:solidFill>
                <a:prstClr val="black">
                  <a:lumMod val="75000"/>
                  <a:lumOff val="25000"/>
                </a:prstClr>
              </a:solidFill>
              <a:latin typeface="Segoe UI" panose="020B0502040204020203" pitchFamily="34" charset="0"/>
              <a:ea typeface="Segoe UI" panose="020B0502040204020203" pitchFamily="34" charset="0"/>
              <a:cs typeface="Segoe UI" panose="020B0502040204020203" pitchFamily="34" charset="0"/>
            </a:endParaRPr>
          </a:p>
          <a:p>
            <a:pPr marL="182810" indent="-182810" defTabSz="913244" fontAlgn="auto">
              <a:spcBef>
                <a:spcPts val="600"/>
              </a:spcBef>
              <a:spcAft>
                <a:spcPts val="0"/>
              </a:spcAft>
              <a:buClr>
                <a:srgbClr val="5B9BD5">
                  <a:lumMod val="50000"/>
                </a:srgbClr>
              </a:buClr>
              <a:buSzPct val="100000"/>
              <a:buFont typeface="Arial" panose="020B0604020202020204" pitchFamily="34" charset="0"/>
              <a:buChar char="•"/>
            </a:pPr>
            <a:r>
              <a:rPr lang="en-US" sz="1598" spc="-10" dirty="0">
                <a:solidFill>
                  <a:srgbClr val="FF0000"/>
                </a:solidFill>
                <a:latin typeface="Segoe UI Semibold" panose="020B0702040204020203" pitchFamily="34" charset="0"/>
                <a:ea typeface="Segoe UI" panose="020B0502040204020203" pitchFamily="34" charset="0"/>
                <a:cs typeface="Segoe UI Semibold" panose="020B0702040204020203" pitchFamily="34" charset="0"/>
              </a:rPr>
              <a:t>Credit </a:t>
            </a:r>
            <a:r>
              <a:rPr lang="en-US" sz="1598" spc="-10" dirty="0" smtClean="0">
                <a:solidFill>
                  <a:srgbClr val="FF0000"/>
                </a:solidFill>
                <a:latin typeface="Segoe UI Semibold" panose="020B0702040204020203" pitchFamily="34" charset="0"/>
                <a:ea typeface="Segoe UI" panose="020B0502040204020203" pitchFamily="34" charset="0"/>
                <a:cs typeface="Segoe UI Semibold" panose="020B0702040204020203" pitchFamily="34" charset="0"/>
              </a:rPr>
              <a:t>risk protection</a:t>
            </a:r>
            <a:endParaRPr lang="en-US" sz="1598" spc="-10" dirty="0">
              <a:solidFill>
                <a:srgbClr val="FF0000"/>
              </a:solidFill>
              <a:latin typeface="Segoe UI Semibold" panose="020B0702040204020203" pitchFamily="34" charset="0"/>
              <a:ea typeface="Segoe UI" panose="020B0502040204020203" pitchFamily="34" charset="0"/>
              <a:cs typeface="Segoe UI Semibold" panose="020B0702040204020203" pitchFamily="34" charset="0"/>
            </a:endParaRPr>
          </a:p>
        </p:txBody>
      </p:sp>
      <p:sp>
        <p:nvSpPr>
          <p:cNvPr id="20" name="Title 19"/>
          <p:cNvSpPr>
            <a:spLocks noGrp="1"/>
          </p:cNvSpPr>
          <p:nvPr>
            <p:ph type="title"/>
          </p:nvPr>
        </p:nvSpPr>
        <p:spPr/>
        <p:txBody>
          <a:bodyPr/>
          <a:lstStyle/>
          <a:p>
            <a:r>
              <a:rPr lang="fr-FR" dirty="0" smtClean="0">
                <a:solidFill>
                  <a:srgbClr val="44546A"/>
                </a:solidFill>
              </a:rPr>
              <a:t>Intégration de scripts R</a:t>
            </a:r>
            <a:endParaRPr lang="fr-FR" dirty="0"/>
          </a:p>
        </p:txBody>
      </p:sp>
      <p:sp>
        <p:nvSpPr>
          <p:cNvPr id="27" name="Text Placeholder 26"/>
          <p:cNvSpPr>
            <a:spLocks noGrp="1"/>
          </p:cNvSpPr>
          <p:nvPr>
            <p:ph type="body" sz="quarter" idx="14"/>
          </p:nvPr>
        </p:nvSpPr>
        <p:spPr/>
        <p:txBody>
          <a:bodyPr/>
          <a:lstStyle/>
          <a:p>
            <a:r>
              <a:rPr lang="fr-FR" dirty="0" smtClean="0"/>
              <a:t>Analyse de données en base</a:t>
            </a:r>
            <a:endParaRPr lang="fr-FR" dirty="0"/>
          </a:p>
        </p:txBody>
      </p:sp>
      <p:sp>
        <p:nvSpPr>
          <p:cNvPr id="28" name="Text Placeholder 27"/>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spTree>
    <p:extLst>
      <p:ext uri="{BB962C8B-B14F-4D97-AF65-F5344CB8AC3E}">
        <p14:creationId xmlns:p14="http://schemas.microsoft.com/office/powerpoint/2010/main" val="221827736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nodeType="afterEffect">
                                  <p:stCondLst>
                                    <p:cond delay="0"/>
                                  </p:stCondLst>
                                  <p:childTnLst>
                                    <p:set>
                                      <p:cBhvr>
                                        <p:cTn id="9" dur="1" fill="hold">
                                          <p:stCondLst>
                                            <p:cond delay="0"/>
                                          </p:stCondLst>
                                        </p:cTn>
                                        <p:tgtEl>
                                          <p:spTgt spid="133"/>
                                        </p:tgtEl>
                                        <p:attrNameLst>
                                          <p:attrName>style.visibility</p:attrName>
                                        </p:attrNameLst>
                                      </p:cBhvr>
                                      <p:to>
                                        <p:strVal val="visible"/>
                                      </p:to>
                                    </p:set>
                                  </p:childTnLst>
                                </p:cTn>
                              </p:par>
                            </p:childTnLst>
                          </p:cTn>
                        </p:par>
                        <p:par>
                          <p:cTn id="10" fill="hold">
                            <p:stCondLst>
                              <p:cond delay="0"/>
                            </p:stCondLst>
                            <p:childTnLst>
                              <p:par>
                                <p:cTn id="11" presetID="32" presetClass="emph" presetSubtype="0" fill="hold" nodeType="afterEffect">
                                  <p:stCondLst>
                                    <p:cond delay="500"/>
                                  </p:stCondLst>
                                  <p:childTnLst>
                                    <p:animRot by="120000">
                                      <p:cBhvr>
                                        <p:cTn id="12" dur="50" fill="hold">
                                          <p:stCondLst>
                                            <p:cond delay="0"/>
                                          </p:stCondLst>
                                        </p:cTn>
                                        <p:tgtEl>
                                          <p:spTgt spid="133"/>
                                        </p:tgtEl>
                                        <p:attrNameLst>
                                          <p:attrName>r</p:attrName>
                                        </p:attrNameLst>
                                      </p:cBhvr>
                                    </p:animRot>
                                    <p:animRot by="-240000">
                                      <p:cBhvr>
                                        <p:cTn id="13" dur="100" fill="hold">
                                          <p:stCondLst>
                                            <p:cond delay="100"/>
                                          </p:stCondLst>
                                        </p:cTn>
                                        <p:tgtEl>
                                          <p:spTgt spid="133"/>
                                        </p:tgtEl>
                                        <p:attrNameLst>
                                          <p:attrName>r</p:attrName>
                                        </p:attrNameLst>
                                      </p:cBhvr>
                                    </p:animRot>
                                    <p:animRot by="240000">
                                      <p:cBhvr>
                                        <p:cTn id="14" dur="100" fill="hold">
                                          <p:stCondLst>
                                            <p:cond delay="200"/>
                                          </p:stCondLst>
                                        </p:cTn>
                                        <p:tgtEl>
                                          <p:spTgt spid="133"/>
                                        </p:tgtEl>
                                        <p:attrNameLst>
                                          <p:attrName>r</p:attrName>
                                        </p:attrNameLst>
                                      </p:cBhvr>
                                    </p:animRot>
                                    <p:animRot by="-240000">
                                      <p:cBhvr>
                                        <p:cTn id="15" dur="100" fill="hold">
                                          <p:stCondLst>
                                            <p:cond delay="300"/>
                                          </p:stCondLst>
                                        </p:cTn>
                                        <p:tgtEl>
                                          <p:spTgt spid="133"/>
                                        </p:tgtEl>
                                        <p:attrNameLst>
                                          <p:attrName>r</p:attrName>
                                        </p:attrNameLst>
                                      </p:cBhvr>
                                    </p:animRot>
                                    <p:animRot by="120000">
                                      <p:cBhvr>
                                        <p:cTn id="16" dur="100" fill="hold">
                                          <p:stCondLst>
                                            <p:cond delay="400"/>
                                          </p:stCondLst>
                                        </p:cTn>
                                        <p:tgtEl>
                                          <p:spTgt spid="133"/>
                                        </p:tgtEl>
                                        <p:attrNameLst>
                                          <p:attrName>r</p:attrName>
                                        </p:attrNameLst>
                                      </p:cBhvr>
                                    </p:animRot>
                                  </p:childTnLst>
                                </p:cTn>
                              </p:par>
                            </p:childTnLst>
                          </p:cTn>
                        </p:par>
                      </p:childTnLst>
                    </p:cTn>
                  </p:par>
                  <p:par>
                    <p:cTn id="17" fill="hold">
                      <p:stCondLst>
                        <p:cond delay="indefinite"/>
                      </p:stCondLst>
                      <p:childTnLst>
                        <p:par>
                          <p:cTn id="18" fill="hold">
                            <p:stCondLst>
                              <p:cond delay="0"/>
                            </p:stCondLst>
                            <p:childTnLst>
                              <p:par>
                                <p:cTn id="19" presetID="22" presetClass="entr" presetSubtype="2" fill="hold" grpId="0" nodeType="clickEffect">
                                  <p:stCondLst>
                                    <p:cond delay="0"/>
                                  </p:stCondLst>
                                  <p:childTnLst>
                                    <p:set>
                                      <p:cBhvr>
                                        <p:cTn id="20" dur="1" fill="hold">
                                          <p:stCondLst>
                                            <p:cond delay="0"/>
                                          </p:stCondLst>
                                        </p:cTn>
                                        <p:tgtEl>
                                          <p:spTgt spid="13"/>
                                        </p:tgtEl>
                                        <p:attrNameLst>
                                          <p:attrName>style.visibility</p:attrName>
                                        </p:attrNameLst>
                                      </p:cBhvr>
                                      <p:to>
                                        <p:strVal val="visible"/>
                                      </p:to>
                                    </p:set>
                                    <p:animEffect transition="in" filter="wipe(right)">
                                      <p:cBhvr>
                                        <p:cTn id="21" dur="1250"/>
                                        <p:tgtEl>
                                          <p:spTgt spid="13"/>
                                        </p:tgtEl>
                                      </p:cBhvr>
                                    </p:animEffect>
                                  </p:childTnLst>
                                </p:cTn>
                              </p:par>
                            </p:childTnLst>
                          </p:cTn>
                        </p:par>
                        <p:par>
                          <p:cTn id="22" fill="hold">
                            <p:stCondLst>
                              <p:cond delay="1250"/>
                            </p:stCondLst>
                            <p:childTnLst>
                              <p:par>
                                <p:cTn id="23" presetID="1" presetClass="entr" presetSubtype="0" fill="hold" nodeType="afterEffect">
                                  <p:stCondLst>
                                    <p:cond delay="250"/>
                                  </p:stCondLst>
                                  <p:childTnLst>
                                    <p:set>
                                      <p:cBhvr>
                                        <p:cTn id="24" dur="1" fill="hold">
                                          <p:stCondLst>
                                            <p:cond delay="0"/>
                                          </p:stCondLst>
                                        </p:cTn>
                                        <p:tgtEl>
                                          <p:spTgt spid="88"/>
                                        </p:tgtEl>
                                        <p:attrNameLst>
                                          <p:attrName>style.visibility</p:attrName>
                                        </p:attrNameLst>
                                      </p:cBhvr>
                                      <p:to>
                                        <p:strVal val="visible"/>
                                      </p:to>
                                    </p:set>
                                  </p:childTnLst>
                                </p:cTn>
                              </p:par>
                            </p:childTnLst>
                          </p:cTn>
                        </p:par>
                        <p:par>
                          <p:cTn id="25" fill="hold">
                            <p:stCondLst>
                              <p:cond delay="1500"/>
                            </p:stCondLst>
                            <p:childTnLst>
                              <p:par>
                                <p:cTn id="26" presetID="32" presetClass="emph" presetSubtype="0" fill="hold" nodeType="afterEffect">
                                  <p:stCondLst>
                                    <p:cond delay="0"/>
                                  </p:stCondLst>
                                  <p:childTnLst>
                                    <p:animRot by="120000">
                                      <p:cBhvr>
                                        <p:cTn id="27" dur="50" fill="hold">
                                          <p:stCondLst>
                                            <p:cond delay="0"/>
                                          </p:stCondLst>
                                        </p:cTn>
                                        <p:tgtEl>
                                          <p:spTgt spid="88"/>
                                        </p:tgtEl>
                                        <p:attrNameLst>
                                          <p:attrName>r</p:attrName>
                                        </p:attrNameLst>
                                      </p:cBhvr>
                                    </p:animRot>
                                    <p:animRot by="-240000">
                                      <p:cBhvr>
                                        <p:cTn id="28" dur="100" fill="hold">
                                          <p:stCondLst>
                                            <p:cond delay="100"/>
                                          </p:stCondLst>
                                        </p:cTn>
                                        <p:tgtEl>
                                          <p:spTgt spid="88"/>
                                        </p:tgtEl>
                                        <p:attrNameLst>
                                          <p:attrName>r</p:attrName>
                                        </p:attrNameLst>
                                      </p:cBhvr>
                                    </p:animRot>
                                    <p:animRot by="240000">
                                      <p:cBhvr>
                                        <p:cTn id="29" dur="100" fill="hold">
                                          <p:stCondLst>
                                            <p:cond delay="200"/>
                                          </p:stCondLst>
                                        </p:cTn>
                                        <p:tgtEl>
                                          <p:spTgt spid="88"/>
                                        </p:tgtEl>
                                        <p:attrNameLst>
                                          <p:attrName>r</p:attrName>
                                        </p:attrNameLst>
                                      </p:cBhvr>
                                    </p:animRot>
                                    <p:animRot by="-240000">
                                      <p:cBhvr>
                                        <p:cTn id="30" dur="100" fill="hold">
                                          <p:stCondLst>
                                            <p:cond delay="300"/>
                                          </p:stCondLst>
                                        </p:cTn>
                                        <p:tgtEl>
                                          <p:spTgt spid="88"/>
                                        </p:tgtEl>
                                        <p:attrNameLst>
                                          <p:attrName>r</p:attrName>
                                        </p:attrNameLst>
                                      </p:cBhvr>
                                    </p:animRot>
                                    <p:animRot by="120000">
                                      <p:cBhvr>
                                        <p:cTn id="31" dur="100" fill="hold">
                                          <p:stCondLst>
                                            <p:cond delay="400"/>
                                          </p:stCondLst>
                                        </p:cTn>
                                        <p:tgtEl>
                                          <p:spTgt spid="88"/>
                                        </p:tgtEl>
                                        <p:attrNameLst>
                                          <p:attrName>r</p:attrName>
                                        </p:attrNameLst>
                                      </p:cBhvr>
                                    </p:animRot>
                                  </p:childTnLst>
                                </p:cTn>
                              </p:par>
                            </p:childTnLst>
                          </p:cTn>
                        </p:par>
                        <p:par>
                          <p:cTn id="32" fill="hold">
                            <p:stCondLst>
                              <p:cond delay="2000"/>
                            </p:stCondLst>
                            <p:childTnLst>
                              <p:par>
                                <p:cTn id="33" presetID="22" presetClass="entr" presetSubtype="8" fill="hold" grpId="0" nodeType="afterEffect">
                                  <p:stCondLst>
                                    <p:cond delay="0"/>
                                  </p:stCondLst>
                                  <p:childTnLst>
                                    <p:set>
                                      <p:cBhvr>
                                        <p:cTn id="34" dur="1" fill="hold">
                                          <p:stCondLst>
                                            <p:cond delay="0"/>
                                          </p:stCondLst>
                                        </p:cTn>
                                        <p:tgtEl>
                                          <p:spTgt spid="23"/>
                                        </p:tgtEl>
                                        <p:attrNameLst>
                                          <p:attrName>style.visibility</p:attrName>
                                        </p:attrNameLst>
                                      </p:cBhvr>
                                      <p:to>
                                        <p:strVal val="visible"/>
                                      </p:to>
                                    </p:set>
                                    <p:animEffect transition="in" filter="wipe(left)">
                                      <p:cBhvr>
                                        <p:cTn id="35"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23"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274639" y="1533694"/>
            <a:ext cx="11888787" cy="741757"/>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a:lnSpc>
                <a:spcPct val="90000"/>
              </a:lnSpc>
              <a:buFont typeface="Wingdings 3" panose="05040102010807070707" pitchFamily="18" charset="2"/>
              <a:buChar char="Æ"/>
            </a:pPr>
            <a:endParaRPr lang="en-US" sz="2000" b="1" dirty="0" err="1" smtClean="0">
              <a:solidFill>
                <a:srgbClr val="FFFFFF"/>
              </a:solidFill>
              <a:latin typeface="Segoe UI Light"/>
              <a:ea typeface="Segoe UI" pitchFamily="34" charset="0"/>
              <a:cs typeface="Segoe UI" pitchFamily="34" charset="0"/>
            </a:endParaRPr>
          </a:p>
        </p:txBody>
      </p:sp>
      <p:sp>
        <p:nvSpPr>
          <p:cNvPr id="2" name="Title 1"/>
          <p:cNvSpPr>
            <a:spLocks noGrp="1"/>
          </p:cNvSpPr>
          <p:nvPr>
            <p:ph type="title"/>
          </p:nvPr>
        </p:nvSpPr>
        <p:spPr/>
        <p:txBody>
          <a:bodyPr/>
          <a:lstStyle/>
          <a:p>
            <a:r>
              <a:rPr lang="en-US" dirty="0" err="1" smtClean="0"/>
              <a:t>Mais</a:t>
            </a:r>
            <a:r>
              <a:rPr lang="en-US" dirty="0" smtClean="0"/>
              <a:t> encore…</a:t>
            </a:r>
            <a:endParaRPr lang="en-US" dirty="0"/>
          </a:p>
        </p:txBody>
      </p:sp>
      <p:sp>
        <p:nvSpPr>
          <p:cNvPr id="5" name="Text Placeholder 4"/>
          <p:cNvSpPr>
            <a:spLocks noGrp="1"/>
          </p:cNvSpPr>
          <p:nvPr>
            <p:ph type="body" sz="quarter" idx="14"/>
          </p:nvPr>
        </p:nvSpPr>
        <p:spPr/>
        <p:txBody>
          <a:bodyPr/>
          <a:lstStyle/>
          <a:p>
            <a:endParaRPr lang="fr-FR"/>
          </a:p>
        </p:txBody>
      </p:sp>
      <p:sp>
        <p:nvSpPr>
          <p:cNvPr id="6" name="Text Placeholder 5"/>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sp>
        <p:nvSpPr>
          <p:cNvPr id="4" name="Rectangle 3"/>
          <p:cNvSpPr/>
          <p:nvPr/>
        </p:nvSpPr>
        <p:spPr>
          <a:xfrm>
            <a:off x="313183" y="1596143"/>
            <a:ext cx="3816822" cy="461665"/>
          </a:xfrm>
          <a:prstGeom prst="rect">
            <a:avLst/>
          </a:prstGeom>
        </p:spPr>
        <p:txBody>
          <a:bodyPr wrap="square">
            <a:spAutoFit/>
          </a:bodyPr>
          <a:lstStyle/>
          <a:p>
            <a:r>
              <a:rPr lang="en-US" sz="2400" dirty="0" err="1" smtClean="0">
                <a:solidFill>
                  <a:srgbClr val="FFFFFF"/>
                </a:solidFill>
                <a:latin typeface="Segoe UI Light"/>
                <a:cs typeface="+mn-cs"/>
              </a:rPr>
              <a:t>Accès</a:t>
            </a:r>
            <a:r>
              <a:rPr lang="en-US" sz="2400" dirty="0" smtClean="0">
                <a:solidFill>
                  <a:srgbClr val="FFFFFF"/>
                </a:solidFill>
                <a:latin typeface="Segoe UI Light"/>
                <a:cs typeface="+mn-cs"/>
              </a:rPr>
              <a:t> à TOUTES les </a:t>
            </a:r>
            <a:r>
              <a:rPr lang="en-US" sz="2400" dirty="0" err="1" smtClean="0">
                <a:solidFill>
                  <a:srgbClr val="FFFFFF"/>
                </a:solidFill>
                <a:latin typeface="Segoe UI Light"/>
                <a:cs typeface="+mn-cs"/>
              </a:rPr>
              <a:t>donnés</a:t>
            </a:r>
            <a:endParaRPr lang="en-US" sz="2400" dirty="0">
              <a:solidFill>
                <a:srgbClr val="FFFFFF"/>
              </a:solidFill>
              <a:latin typeface="Segoe UI Light"/>
              <a:cs typeface="+mn-cs"/>
            </a:endParaRPr>
          </a:p>
        </p:txBody>
      </p:sp>
      <p:sp>
        <p:nvSpPr>
          <p:cNvPr id="14" name="Rectangle 13"/>
          <p:cNvSpPr/>
          <p:nvPr/>
        </p:nvSpPr>
        <p:spPr>
          <a:xfrm>
            <a:off x="537339" y="2594640"/>
            <a:ext cx="3024007" cy="3296287"/>
          </a:xfrm>
          <a:prstGeom prst="rect">
            <a:avLst/>
          </a:prstGeom>
        </p:spPr>
        <p:txBody>
          <a:bodyPr wrap="square">
            <a:spAutoFit/>
          </a:bodyPr>
          <a:lstStyle/>
          <a:p>
            <a:pPr defTabSz="932742" fontAlgn="auto">
              <a:lnSpc>
                <a:spcPct val="90000"/>
              </a:lnSpc>
              <a:spcBef>
                <a:spcPts val="600"/>
              </a:spcBef>
              <a:spcAft>
                <a:spcPts val="2400"/>
              </a:spcAft>
            </a:pPr>
            <a:r>
              <a:rPr lang="en-US" sz="2000" dirty="0">
                <a:solidFill>
                  <a:srgbClr val="FF8C00"/>
                </a:solidFill>
                <a:latin typeface="Segoe UI Light" panose="020B0502040204020203" pitchFamily="34" charset="0"/>
                <a:cs typeface="Segoe UI Light" panose="020B0502040204020203" pitchFamily="34" charset="0"/>
              </a:rPr>
              <a:t>PolyBase </a:t>
            </a:r>
          </a:p>
          <a:p>
            <a:pPr defTabSz="932742" fontAlgn="auto">
              <a:lnSpc>
                <a:spcPct val="90000"/>
              </a:lnSpc>
              <a:spcBef>
                <a:spcPts val="600"/>
              </a:spcBef>
              <a:spcAft>
                <a:spcPts val="2400"/>
              </a:spcAft>
            </a:pPr>
            <a:r>
              <a:rPr lang="en-US" sz="2000" dirty="0">
                <a:solidFill>
                  <a:srgbClr val="FF8C00"/>
                </a:solidFill>
                <a:latin typeface="Segoe UI Light" panose="020B0502040204020203" pitchFamily="34" charset="0"/>
                <a:cs typeface="Segoe UI Light" panose="020B0502040204020203" pitchFamily="34" charset="0"/>
              </a:rPr>
              <a:t>Power Query for </a:t>
            </a:r>
            <a:r>
              <a:rPr lang="en-US" sz="2000" dirty="0" smtClean="0">
                <a:solidFill>
                  <a:srgbClr val="FF8C00"/>
                </a:solidFill>
                <a:latin typeface="Segoe UI Light" panose="020B0502040204020203" pitchFamily="34" charset="0"/>
                <a:cs typeface="Segoe UI Light" panose="020B0502040204020203" pitchFamily="34" charset="0"/>
              </a:rPr>
              <a:t>analytics and </a:t>
            </a:r>
            <a:r>
              <a:rPr lang="en-US" sz="2000" dirty="0">
                <a:solidFill>
                  <a:srgbClr val="FF8C00"/>
                </a:solidFill>
                <a:latin typeface="Segoe UI Light" panose="020B0502040204020203" pitchFamily="34" charset="0"/>
                <a:cs typeface="Segoe UI Light" panose="020B0502040204020203" pitchFamily="34" charset="0"/>
              </a:rPr>
              <a:t>reporting </a:t>
            </a:r>
          </a:p>
          <a:p>
            <a:pPr defTabSz="932742" fontAlgn="auto">
              <a:lnSpc>
                <a:spcPct val="90000"/>
              </a:lnSpc>
              <a:spcBef>
                <a:spcPts val="600"/>
              </a:spcBef>
              <a:spcAft>
                <a:spcPts val="1200"/>
              </a:spcAft>
            </a:pPr>
            <a:r>
              <a:rPr lang="en-US" sz="2000" dirty="0">
                <a:solidFill>
                  <a:srgbClr val="FF8C00"/>
                </a:solidFill>
                <a:latin typeface="Segoe UI Light" panose="020B0502040204020203" pitchFamily="34" charset="0"/>
                <a:cs typeface="Segoe UI Light" panose="020B0502040204020203" pitchFamily="34" charset="0"/>
              </a:rPr>
              <a:t>Enhanced </a:t>
            </a:r>
            <a:r>
              <a:rPr lang="en-US" sz="2000" dirty="0" smtClean="0">
                <a:solidFill>
                  <a:srgbClr val="FF8C00"/>
                </a:solidFill>
                <a:latin typeface="Segoe UI Light" panose="020B0502040204020203" pitchFamily="34" charset="0"/>
                <a:cs typeface="Segoe UI Light" panose="020B0502040204020203" pitchFamily="34" charset="0"/>
              </a:rPr>
              <a:t>SSIS</a:t>
            </a:r>
          </a:p>
          <a:p>
            <a:pPr marL="173038" lvl="1" indent="-173038" defTabSz="932472">
              <a:lnSpc>
                <a:spcPct val="90000"/>
              </a:lnSpc>
              <a:spcAft>
                <a:spcPts val="600"/>
              </a:spcAft>
              <a:buClr>
                <a:srgbClr val="FF8C00"/>
              </a:buClr>
              <a:buFont typeface="Arial" panose="020B0604020202020204" pitchFamily="34" charset="0"/>
              <a:buChar char="•"/>
            </a:pPr>
            <a:r>
              <a:rPr lang="en-US" sz="1400" spc="-102" dirty="0">
                <a:ln w="3175">
                  <a:noFill/>
                </a:ln>
                <a:solidFill>
                  <a:srgbClr val="505050"/>
                </a:solidFill>
                <a:ea typeface="ＭＳ Ｐゴシック" charset="0"/>
                <a:cs typeface="Segoe UI" panose="020B0502040204020203" pitchFamily="34" charset="0"/>
              </a:rPr>
              <a:t>Designer support for previous </a:t>
            </a:r>
            <a:r>
              <a:rPr lang="en-US" sz="1400" spc="-102" dirty="0" smtClean="0">
                <a:ln w="3175">
                  <a:noFill/>
                </a:ln>
                <a:solidFill>
                  <a:srgbClr val="505050"/>
                </a:solidFill>
                <a:ea typeface="ＭＳ Ｐゴシック" charset="0"/>
                <a:cs typeface="Segoe UI" panose="020B0502040204020203" pitchFamily="34" charset="0"/>
              </a:rPr>
              <a:t/>
            </a:r>
            <a:br>
              <a:rPr lang="en-US" sz="1400" spc="-102" dirty="0" smtClean="0">
                <a:ln w="3175">
                  <a:noFill/>
                </a:ln>
                <a:solidFill>
                  <a:srgbClr val="505050"/>
                </a:solidFill>
                <a:ea typeface="ＭＳ Ｐゴシック" charset="0"/>
                <a:cs typeface="Segoe UI" panose="020B0502040204020203" pitchFamily="34" charset="0"/>
              </a:rPr>
            </a:br>
            <a:r>
              <a:rPr lang="en-US" sz="1400" spc="-102" dirty="0" smtClean="0">
                <a:ln w="3175">
                  <a:noFill/>
                </a:ln>
                <a:solidFill>
                  <a:srgbClr val="505050"/>
                </a:solidFill>
                <a:ea typeface="ＭＳ Ｐゴシック" charset="0"/>
                <a:cs typeface="Segoe UI" panose="020B0502040204020203" pitchFamily="34" charset="0"/>
              </a:rPr>
              <a:t>SSIS </a:t>
            </a:r>
            <a:r>
              <a:rPr lang="en-US" sz="1400" spc="-102" dirty="0">
                <a:ln w="3175">
                  <a:noFill/>
                </a:ln>
                <a:solidFill>
                  <a:srgbClr val="505050"/>
                </a:solidFill>
                <a:ea typeface="ＭＳ Ｐゴシック" charset="0"/>
                <a:cs typeface="Segoe UI" panose="020B0502040204020203" pitchFamily="34" charset="0"/>
              </a:rPr>
              <a:t>versions</a:t>
            </a:r>
          </a:p>
          <a:p>
            <a:pPr marL="173038" lvl="1" indent="-173038" defTabSz="932472">
              <a:lnSpc>
                <a:spcPct val="90000"/>
              </a:lnSpc>
              <a:spcAft>
                <a:spcPts val="600"/>
              </a:spcAft>
              <a:buClr>
                <a:srgbClr val="FF8C00"/>
              </a:buClr>
              <a:buFont typeface="Arial" panose="020B0604020202020204" pitchFamily="34" charset="0"/>
              <a:buChar char="•"/>
            </a:pPr>
            <a:r>
              <a:rPr lang="en-US" sz="1400" spc="-102" dirty="0" smtClean="0">
                <a:ln w="3175">
                  <a:noFill/>
                </a:ln>
                <a:solidFill>
                  <a:srgbClr val="505050"/>
                </a:solidFill>
                <a:ea typeface="ＭＳ Ｐゴシック" charset="0"/>
                <a:cs typeface="Segoe UI" panose="020B0502040204020203" pitchFamily="34" charset="0"/>
              </a:rPr>
              <a:t>Support </a:t>
            </a:r>
            <a:r>
              <a:rPr lang="en-US" sz="1400" spc="-102" dirty="0">
                <a:ln w="3175">
                  <a:noFill/>
                </a:ln>
                <a:solidFill>
                  <a:srgbClr val="505050"/>
                </a:solidFill>
                <a:ea typeface="ＭＳ Ｐゴシック" charset="0"/>
                <a:cs typeface="Segoe UI" panose="020B0502040204020203" pitchFamily="34" charset="0"/>
              </a:rPr>
              <a:t>for Power Query</a:t>
            </a:r>
            <a:endParaRPr lang="en-US" sz="1400" dirty="0">
              <a:solidFill>
                <a:srgbClr val="505050"/>
              </a:solidFill>
            </a:endParaRPr>
          </a:p>
          <a:p>
            <a:pPr defTabSz="932742" fontAlgn="auto">
              <a:lnSpc>
                <a:spcPct val="90000"/>
              </a:lnSpc>
              <a:spcBef>
                <a:spcPts val="600"/>
              </a:spcBef>
              <a:spcAft>
                <a:spcPts val="2400"/>
              </a:spcAft>
            </a:pPr>
            <a:endParaRPr lang="en-US" sz="2000" dirty="0">
              <a:solidFill>
                <a:srgbClr val="611C15"/>
              </a:solidFill>
              <a:latin typeface="Segoe UI Light" panose="020B0502040204020203" pitchFamily="34" charset="0"/>
              <a:cs typeface="Segoe UI Light" panose="020B0502040204020203" pitchFamily="34" charset="0"/>
            </a:endParaRPr>
          </a:p>
        </p:txBody>
      </p:sp>
      <p:sp>
        <p:nvSpPr>
          <p:cNvPr id="7" name="Rectangle 6"/>
          <p:cNvSpPr/>
          <p:nvPr/>
        </p:nvSpPr>
        <p:spPr>
          <a:xfrm>
            <a:off x="4449573" y="1533882"/>
            <a:ext cx="3462807" cy="523220"/>
          </a:xfrm>
          <a:prstGeom prst="rect">
            <a:avLst/>
          </a:prstGeom>
        </p:spPr>
        <p:txBody>
          <a:bodyPr wrap="none">
            <a:spAutoFit/>
          </a:bodyPr>
          <a:lstStyle/>
          <a:p>
            <a:pPr algn="ctr" defTabSz="932563" fontAlgn="auto">
              <a:spcBef>
                <a:spcPts val="0"/>
              </a:spcBef>
              <a:spcAft>
                <a:spcPts val="0"/>
              </a:spcAft>
            </a:pPr>
            <a:r>
              <a:rPr lang="en-US" sz="2800" dirty="0" smtClean="0">
                <a:solidFill>
                  <a:srgbClr val="FFFFFF"/>
                </a:solidFill>
                <a:latin typeface="Segoe UI Light"/>
                <a:cs typeface="+mn-cs"/>
              </a:rPr>
              <a:t>Management et </a:t>
            </a:r>
            <a:r>
              <a:rPr lang="en-US" sz="2800" dirty="0" err="1" smtClean="0">
                <a:solidFill>
                  <a:srgbClr val="FFFFFF"/>
                </a:solidFill>
                <a:latin typeface="Segoe UI Light"/>
                <a:cs typeface="+mn-cs"/>
              </a:rPr>
              <a:t>outils</a:t>
            </a:r>
            <a:endParaRPr lang="en-US" sz="2800" dirty="0">
              <a:solidFill>
                <a:srgbClr val="FFFFFF"/>
              </a:solidFill>
              <a:latin typeface="Segoe UI Light"/>
              <a:cs typeface="+mn-cs"/>
            </a:endParaRPr>
          </a:p>
        </p:txBody>
      </p:sp>
      <p:sp>
        <p:nvSpPr>
          <p:cNvPr id="18" name="Rectangle 17"/>
          <p:cNvSpPr/>
          <p:nvPr/>
        </p:nvSpPr>
        <p:spPr>
          <a:xfrm>
            <a:off x="4372247" y="2594640"/>
            <a:ext cx="3732113" cy="3253198"/>
          </a:xfrm>
          <a:prstGeom prst="rect">
            <a:avLst/>
          </a:prstGeom>
        </p:spPr>
        <p:txBody>
          <a:bodyPr wrap="square">
            <a:spAutoFit/>
          </a:bodyPr>
          <a:lstStyle/>
          <a:p>
            <a:pPr defTabSz="932472" fontAlgn="auto">
              <a:lnSpc>
                <a:spcPct val="90000"/>
              </a:lnSpc>
              <a:spcBef>
                <a:spcPts val="0"/>
              </a:spcBef>
              <a:spcAft>
                <a:spcPts val="2400"/>
              </a:spcAft>
            </a:pPr>
            <a:r>
              <a:rPr lang="en-US" sz="2000" dirty="0">
                <a:solidFill>
                  <a:srgbClr val="FF8C00"/>
                </a:solidFill>
                <a:latin typeface="Segoe UI Light"/>
                <a:cs typeface="+mn-cs"/>
              </a:rPr>
              <a:t>Enterprise-grade </a:t>
            </a:r>
            <a:r>
              <a:rPr lang="en-US" sz="2000" dirty="0" smtClean="0">
                <a:solidFill>
                  <a:srgbClr val="FF8C00"/>
                </a:solidFill>
                <a:latin typeface="Segoe UI Light"/>
                <a:cs typeface="+mn-cs"/>
              </a:rPr>
              <a:t/>
            </a:r>
            <a:br>
              <a:rPr lang="en-US" sz="2000" dirty="0" smtClean="0">
                <a:solidFill>
                  <a:srgbClr val="FF8C00"/>
                </a:solidFill>
                <a:latin typeface="Segoe UI Light"/>
                <a:cs typeface="+mn-cs"/>
              </a:rPr>
            </a:br>
            <a:r>
              <a:rPr lang="en-US" sz="2000" dirty="0" smtClean="0">
                <a:solidFill>
                  <a:srgbClr val="FF8C00"/>
                </a:solidFill>
                <a:latin typeface="Segoe UI Light"/>
                <a:cs typeface="+mn-cs"/>
              </a:rPr>
              <a:t>Analysis </a:t>
            </a:r>
            <a:r>
              <a:rPr lang="en-US" sz="2000" dirty="0">
                <a:solidFill>
                  <a:srgbClr val="FF8C00"/>
                </a:solidFill>
                <a:latin typeface="Segoe UI Light"/>
                <a:cs typeface="+mn-cs"/>
              </a:rPr>
              <a:t>Services </a:t>
            </a:r>
          </a:p>
          <a:p>
            <a:pPr defTabSz="932472" fontAlgn="auto">
              <a:lnSpc>
                <a:spcPct val="90000"/>
              </a:lnSpc>
              <a:spcBef>
                <a:spcPts val="0"/>
              </a:spcBef>
              <a:spcAft>
                <a:spcPts val="2400"/>
              </a:spcAft>
            </a:pPr>
            <a:r>
              <a:rPr lang="en-US" sz="2000" dirty="0">
                <a:solidFill>
                  <a:srgbClr val="FF8C00"/>
                </a:solidFill>
                <a:latin typeface="Segoe UI Light"/>
                <a:cs typeface="+mn-cs"/>
              </a:rPr>
              <a:t>New single SSDT in </a:t>
            </a:r>
            <a:r>
              <a:rPr lang="en-US" sz="2000" dirty="0" smtClean="0">
                <a:solidFill>
                  <a:srgbClr val="FF8C00"/>
                </a:solidFill>
                <a:latin typeface="Segoe UI Light"/>
                <a:cs typeface="+mn-cs"/>
              </a:rPr>
              <a:t/>
            </a:r>
            <a:br>
              <a:rPr lang="en-US" sz="2000" dirty="0" smtClean="0">
                <a:solidFill>
                  <a:srgbClr val="FF8C00"/>
                </a:solidFill>
                <a:latin typeface="Segoe UI Light"/>
                <a:cs typeface="+mn-cs"/>
              </a:rPr>
            </a:br>
            <a:r>
              <a:rPr lang="en-US" sz="2000" dirty="0" smtClean="0">
                <a:solidFill>
                  <a:srgbClr val="FF8C00"/>
                </a:solidFill>
                <a:latin typeface="Segoe UI Light"/>
                <a:cs typeface="+mn-cs"/>
              </a:rPr>
              <a:t>Visual Studio </a:t>
            </a:r>
            <a:r>
              <a:rPr lang="en-US" sz="2000" dirty="0">
                <a:solidFill>
                  <a:srgbClr val="FF8C00"/>
                </a:solidFill>
                <a:latin typeface="Segoe UI Light"/>
                <a:cs typeface="+mn-cs"/>
              </a:rPr>
              <a:t>2015 </a:t>
            </a:r>
          </a:p>
          <a:p>
            <a:pPr defTabSz="932472" fontAlgn="auto">
              <a:lnSpc>
                <a:spcPct val="90000"/>
              </a:lnSpc>
              <a:spcBef>
                <a:spcPts val="0"/>
              </a:spcBef>
              <a:spcAft>
                <a:spcPts val="1200"/>
              </a:spcAft>
            </a:pPr>
            <a:r>
              <a:rPr lang="en-US" sz="2000" dirty="0">
                <a:solidFill>
                  <a:srgbClr val="FF8C00"/>
                </a:solidFill>
                <a:latin typeface="Segoe UI Light"/>
                <a:cs typeface="+mn-cs"/>
              </a:rPr>
              <a:t>Enhanced MDS </a:t>
            </a:r>
          </a:p>
          <a:p>
            <a:pPr marL="173038" lvl="1" indent="-173038" defTabSz="932472" fontAlgn="auto">
              <a:lnSpc>
                <a:spcPct val="90000"/>
              </a:lnSpc>
              <a:spcBef>
                <a:spcPts val="0"/>
              </a:spcBef>
              <a:spcAft>
                <a:spcPts val="600"/>
              </a:spcAft>
              <a:buClr>
                <a:srgbClr val="FF8C00"/>
              </a:buClr>
              <a:buFont typeface="Arial" panose="020B0604020202020204" pitchFamily="34" charset="0"/>
              <a:buChar char="•"/>
            </a:pPr>
            <a:r>
              <a:rPr lang="en-US" sz="1400" spc="-102" dirty="0">
                <a:ln w="3175">
                  <a:noFill/>
                </a:ln>
                <a:solidFill>
                  <a:srgbClr val="505050"/>
                </a:solidFill>
                <a:latin typeface="Segoe UI"/>
                <a:ea typeface="ＭＳ Ｐゴシック" charset="0"/>
                <a:cs typeface="Segoe UI" panose="020B0502040204020203" pitchFamily="34" charset="0"/>
              </a:rPr>
              <a:t>Excel add-in 15x faster</a:t>
            </a:r>
          </a:p>
          <a:p>
            <a:pPr marL="173038" lvl="1" indent="-173038" defTabSz="932472" fontAlgn="auto">
              <a:lnSpc>
                <a:spcPct val="90000"/>
              </a:lnSpc>
              <a:spcBef>
                <a:spcPts val="0"/>
              </a:spcBef>
              <a:spcAft>
                <a:spcPts val="600"/>
              </a:spcAft>
              <a:buClr>
                <a:srgbClr val="FF8C00"/>
              </a:buClr>
              <a:buFont typeface="Arial" panose="020B0604020202020204" pitchFamily="34" charset="0"/>
              <a:buChar char="•"/>
            </a:pPr>
            <a:r>
              <a:rPr lang="en-US" sz="1400" spc="-102" dirty="0">
                <a:ln w="3175">
                  <a:noFill/>
                </a:ln>
                <a:solidFill>
                  <a:srgbClr val="505050"/>
                </a:solidFill>
                <a:latin typeface="Segoe UI"/>
                <a:ea typeface="ＭＳ Ｐゴシック" charset="0"/>
                <a:cs typeface="Segoe UI" panose="020B0502040204020203" pitchFamily="34" charset="0"/>
              </a:rPr>
              <a:t>More granular security roles</a:t>
            </a:r>
          </a:p>
          <a:p>
            <a:pPr marL="173038" lvl="1" indent="-173038" defTabSz="932472" fontAlgn="auto">
              <a:lnSpc>
                <a:spcPct val="90000"/>
              </a:lnSpc>
              <a:spcBef>
                <a:spcPts val="0"/>
              </a:spcBef>
              <a:spcAft>
                <a:spcPts val="600"/>
              </a:spcAft>
              <a:buClr>
                <a:srgbClr val="FF8C00"/>
              </a:buClr>
              <a:buFont typeface="Arial" panose="020B0604020202020204" pitchFamily="34" charset="0"/>
              <a:buChar char="•"/>
            </a:pPr>
            <a:r>
              <a:rPr lang="en-US" sz="1400" spc="-102" dirty="0">
                <a:ln w="3175">
                  <a:noFill/>
                </a:ln>
                <a:solidFill>
                  <a:srgbClr val="505050"/>
                </a:solidFill>
                <a:latin typeface="Segoe UI"/>
                <a:ea typeface="ＭＳ Ｐゴシック" charset="0"/>
                <a:cs typeface="Segoe UI" panose="020B0502040204020203" pitchFamily="34" charset="0"/>
              </a:rPr>
              <a:t>Archival options for transaction logs</a:t>
            </a:r>
          </a:p>
          <a:p>
            <a:pPr marL="173038" lvl="1" indent="-173038" defTabSz="932472" fontAlgn="auto">
              <a:lnSpc>
                <a:spcPct val="90000"/>
              </a:lnSpc>
              <a:spcBef>
                <a:spcPts val="0"/>
              </a:spcBef>
              <a:spcAft>
                <a:spcPts val="600"/>
              </a:spcAft>
              <a:buClr>
                <a:srgbClr val="FF8C00"/>
              </a:buClr>
              <a:buFont typeface="Arial" panose="020B0604020202020204" pitchFamily="34" charset="0"/>
              <a:buChar char="•"/>
            </a:pPr>
            <a:r>
              <a:rPr lang="en-US" sz="1400" spc="-102" dirty="0">
                <a:ln w="3175">
                  <a:noFill/>
                </a:ln>
                <a:solidFill>
                  <a:srgbClr val="505050"/>
                </a:solidFill>
                <a:latin typeface="Segoe UI"/>
                <a:ea typeface="ＭＳ Ｐゴシック" charset="0"/>
                <a:cs typeface="Segoe UI" panose="020B0502040204020203" pitchFamily="34" charset="0"/>
              </a:rPr>
              <a:t>Reuse entities across models</a:t>
            </a:r>
          </a:p>
        </p:txBody>
      </p:sp>
      <p:sp>
        <p:nvSpPr>
          <p:cNvPr id="9" name="Rectangle 8"/>
          <p:cNvSpPr/>
          <p:nvPr/>
        </p:nvSpPr>
        <p:spPr>
          <a:xfrm>
            <a:off x="8727334" y="1533882"/>
            <a:ext cx="2948243" cy="523220"/>
          </a:xfrm>
          <a:prstGeom prst="rect">
            <a:avLst/>
          </a:prstGeom>
        </p:spPr>
        <p:txBody>
          <a:bodyPr wrap="none">
            <a:spAutoFit/>
          </a:bodyPr>
          <a:lstStyle/>
          <a:p>
            <a:pPr algn="ctr" defTabSz="932563" fontAlgn="auto">
              <a:spcBef>
                <a:spcPts val="0"/>
              </a:spcBef>
              <a:spcAft>
                <a:spcPts val="0"/>
              </a:spcAft>
            </a:pPr>
            <a:r>
              <a:rPr lang="en-US" sz="2800" dirty="0" smtClean="0">
                <a:solidFill>
                  <a:srgbClr val="FFFFFF"/>
                </a:solidFill>
                <a:latin typeface="Segoe UI Light"/>
                <a:cs typeface="+mn-cs"/>
              </a:rPr>
              <a:t>Analyses </a:t>
            </a:r>
            <a:r>
              <a:rPr lang="en-US" sz="2800" dirty="0" err="1" smtClean="0">
                <a:solidFill>
                  <a:srgbClr val="FFFFFF"/>
                </a:solidFill>
                <a:latin typeface="Segoe UI Light"/>
                <a:cs typeface="+mn-cs"/>
              </a:rPr>
              <a:t>avancées</a:t>
            </a:r>
            <a:endParaRPr lang="en-US" sz="2800" dirty="0">
              <a:solidFill>
                <a:srgbClr val="FFFFFF"/>
              </a:solidFill>
              <a:latin typeface="Segoe UI Light"/>
              <a:cs typeface="+mn-cs"/>
            </a:endParaRPr>
          </a:p>
        </p:txBody>
      </p:sp>
      <p:sp>
        <p:nvSpPr>
          <p:cNvPr id="20" name="Rectangle 19"/>
          <p:cNvSpPr/>
          <p:nvPr/>
        </p:nvSpPr>
        <p:spPr>
          <a:xfrm>
            <a:off x="8673629" y="2594640"/>
            <a:ext cx="3133360" cy="2369880"/>
          </a:xfrm>
          <a:prstGeom prst="rect">
            <a:avLst/>
          </a:prstGeom>
        </p:spPr>
        <p:txBody>
          <a:bodyPr wrap="square">
            <a:spAutoFit/>
          </a:bodyPr>
          <a:lstStyle/>
          <a:p>
            <a:pPr defTabSz="932472" fontAlgn="auto">
              <a:lnSpc>
                <a:spcPct val="90000"/>
              </a:lnSpc>
              <a:spcBef>
                <a:spcPts val="0"/>
              </a:spcBef>
              <a:spcAft>
                <a:spcPts val="2400"/>
              </a:spcAft>
            </a:pPr>
            <a:r>
              <a:rPr lang="en-US" sz="2000" dirty="0">
                <a:solidFill>
                  <a:srgbClr val="FF8C00"/>
                </a:solidFill>
                <a:latin typeface="Segoe UI Light"/>
                <a:cs typeface="+mn-cs"/>
              </a:rPr>
              <a:t>Built-in </a:t>
            </a:r>
            <a:r>
              <a:rPr lang="en-US" sz="2000" dirty="0" smtClean="0">
                <a:solidFill>
                  <a:srgbClr val="FF8C00"/>
                </a:solidFill>
                <a:latin typeface="Segoe UI Light"/>
                <a:cs typeface="+mn-cs"/>
              </a:rPr>
              <a:t>advanced </a:t>
            </a:r>
            <a:r>
              <a:rPr lang="en-US" sz="2000" dirty="0">
                <a:solidFill>
                  <a:srgbClr val="FF8C00"/>
                </a:solidFill>
                <a:latin typeface="Segoe UI Light"/>
                <a:cs typeface="+mn-cs"/>
              </a:rPr>
              <a:t>a</a:t>
            </a:r>
            <a:r>
              <a:rPr lang="en-US" sz="2000" dirty="0" smtClean="0">
                <a:solidFill>
                  <a:srgbClr val="FF8C00"/>
                </a:solidFill>
                <a:latin typeface="Segoe UI Light"/>
                <a:cs typeface="+mn-cs"/>
              </a:rPr>
              <a:t>nalytics</a:t>
            </a:r>
            <a:endParaRPr lang="en-US" sz="2000" dirty="0">
              <a:solidFill>
                <a:srgbClr val="FF8C00"/>
              </a:solidFill>
              <a:latin typeface="Segoe UI Light"/>
              <a:cs typeface="+mn-cs"/>
            </a:endParaRPr>
          </a:p>
          <a:p>
            <a:pPr defTabSz="932472" fontAlgn="auto">
              <a:lnSpc>
                <a:spcPct val="90000"/>
              </a:lnSpc>
              <a:spcBef>
                <a:spcPts val="0"/>
              </a:spcBef>
              <a:spcAft>
                <a:spcPts val="2400"/>
              </a:spcAft>
            </a:pPr>
            <a:r>
              <a:rPr lang="en-US" sz="2000" dirty="0" smtClean="0">
                <a:solidFill>
                  <a:srgbClr val="FF8C00"/>
                </a:solidFill>
                <a:latin typeface="Segoe UI Light"/>
                <a:cs typeface="+mn-cs"/>
              </a:rPr>
              <a:t>Business </a:t>
            </a:r>
            <a:r>
              <a:rPr lang="en-US" sz="2000" dirty="0">
                <a:solidFill>
                  <a:srgbClr val="FF8C00"/>
                </a:solidFill>
                <a:latin typeface="Segoe UI Light"/>
                <a:cs typeface="+mn-cs"/>
              </a:rPr>
              <a:t>insights through rich visualizations on </a:t>
            </a:r>
            <a:r>
              <a:rPr lang="en-US" sz="2000" dirty="0" smtClean="0">
                <a:solidFill>
                  <a:srgbClr val="FF8C00"/>
                </a:solidFill>
                <a:latin typeface="Segoe UI Light"/>
                <a:cs typeface="+mn-cs"/>
              </a:rPr>
              <a:t>mobile  devices</a:t>
            </a:r>
          </a:p>
          <a:p>
            <a:pPr defTabSz="932472" fontAlgn="auto">
              <a:lnSpc>
                <a:spcPct val="90000"/>
              </a:lnSpc>
              <a:spcBef>
                <a:spcPts val="0"/>
              </a:spcBef>
              <a:spcAft>
                <a:spcPts val="2400"/>
              </a:spcAft>
            </a:pPr>
            <a:r>
              <a:rPr lang="en-US" sz="2000" dirty="0">
                <a:solidFill>
                  <a:srgbClr val="FF8C00"/>
                </a:solidFill>
                <a:latin typeface="Segoe UI Light"/>
                <a:cs typeface="+mn-cs"/>
              </a:rPr>
              <a:t>Enhanced </a:t>
            </a:r>
            <a:r>
              <a:rPr lang="en-US" sz="2000" dirty="0" smtClean="0">
                <a:solidFill>
                  <a:srgbClr val="FF8C00"/>
                </a:solidFill>
                <a:latin typeface="Segoe UI Light"/>
                <a:cs typeface="+mn-cs"/>
              </a:rPr>
              <a:t>Reporting </a:t>
            </a:r>
            <a:r>
              <a:rPr lang="en-US" sz="2000" dirty="0">
                <a:solidFill>
                  <a:srgbClr val="FF8C00"/>
                </a:solidFill>
                <a:latin typeface="Segoe UI Light"/>
                <a:cs typeface="+mn-cs"/>
              </a:rPr>
              <a:t>S</a:t>
            </a:r>
            <a:r>
              <a:rPr lang="en-US" sz="2000" dirty="0" smtClean="0">
                <a:solidFill>
                  <a:srgbClr val="FF8C00"/>
                </a:solidFill>
                <a:latin typeface="Segoe UI Light"/>
                <a:cs typeface="+mn-cs"/>
              </a:rPr>
              <a:t>ervices</a:t>
            </a:r>
            <a:endParaRPr lang="en-US" sz="2000" dirty="0">
              <a:solidFill>
                <a:srgbClr val="FF8C00"/>
              </a:solidFill>
              <a:latin typeface="Segoe UI Light"/>
              <a:cs typeface="+mn-cs"/>
            </a:endParaRPr>
          </a:p>
        </p:txBody>
      </p:sp>
      <p:cxnSp>
        <p:nvCxnSpPr>
          <p:cNvPr id="22" name="Straight Connector 21"/>
          <p:cNvCxnSpPr/>
          <p:nvPr/>
        </p:nvCxnSpPr>
        <p:spPr>
          <a:xfrm>
            <a:off x="274639" y="2275451"/>
            <a:ext cx="11814406" cy="0"/>
          </a:xfrm>
          <a:prstGeom prst="line">
            <a:avLst/>
          </a:prstGeom>
          <a:ln>
            <a:solidFill>
              <a:schemeClr val="bg1">
                <a:lumMod val="5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rot="5400000">
            <a:off x="2030213" y="4342569"/>
            <a:ext cx="4114800" cy="0"/>
          </a:xfrm>
          <a:prstGeom prst="line">
            <a:avLst/>
          </a:prstGeom>
          <a:ln>
            <a:solidFill>
              <a:schemeClr val="bg1">
                <a:lumMod val="5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rot="5400000">
            <a:off x="6331595" y="4342568"/>
            <a:ext cx="4114800" cy="0"/>
          </a:xfrm>
          <a:prstGeom prst="line">
            <a:avLst/>
          </a:prstGeom>
          <a:ln>
            <a:solidFill>
              <a:schemeClr val="bg1">
                <a:lumMod val="5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4076468" y="1540599"/>
            <a:ext cx="0" cy="731520"/>
          </a:xfrm>
          <a:prstGeom prst="line">
            <a:avLst/>
          </a:prstGeom>
          <a:ln>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8388995" y="1540599"/>
            <a:ext cx="0" cy="731520"/>
          </a:xfrm>
          <a:prstGeom prst="line">
            <a:avLst/>
          </a:prstGeom>
          <a:ln>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62510127"/>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Catégoriser</a:t>
            </a:r>
            <a:r>
              <a:rPr lang="fr-FR" smtClean="0"/>
              <a:t> </a:t>
            </a:r>
            <a:r>
              <a:rPr lang="fr-FR"/>
              <a:t>les </a:t>
            </a:r>
            <a:r>
              <a:rPr lang="fr-FR" smtClean="0"/>
              <a:t>données</a:t>
            </a:r>
            <a:endParaRPr lang="fr-FR" sz="3200" dirty="0">
              <a:solidFill>
                <a:schemeClr val="tx1"/>
              </a:solidFill>
            </a:endParaRPr>
          </a:p>
        </p:txBody>
      </p:sp>
      <p:sp>
        <p:nvSpPr>
          <p:cNvPr id="4" name="Text Placeholder 3"/>
          <p:cNvSpPr>
            <a:spLocks noGrp="1"/>
          </p:cNvSpPr>
          <p:nvPr>
            <p:ph type="body" sz="quarter" idx="14"/>
          </p:nvPr>
        </p:nvSpPr>
        <p:spPr/>
        <p:txBody>
          <a:bodyPr/>
          <a:lstStyle/>
          <a:p>
            <a:endParaRPr lang="fr-FR" dirty="0"/>
          </a:p>
        </p:txBody>
      </p:sp>
      <p:sp>
        <p:nvSpPr>
          <p:cNvPr id="5" name="Text Placeholder 4"/>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sp>
        <p:nvSpPr>
          <p:cNvPr id="16" name="Rectangle 15"/>
          <p:cNvSpPr/>
          <p:nvPr/>
        </p:nvSpPr>
        <p:spPr>
          <a:xfrm>
            <a:off x="427037" y="2201862"/>
            <a:ext cx="11424391" cy="3844834"/>
          </a:xfrm>
          <a:prstGeom prst="rect">
            <a:avLst/>
          </a:prstGeom>
          <a:solidFill>
            <a:schemeClr val="tx2"/>
          </a:solidFill>
          <a:ln>
            <a:solidFill>
              <a:schemeClr val="tx2"/>
            </a:solidFill>
            <a:tailEnd type="stealth" w="lg" len="lg"/>
          </a:ln>
        </p:spPr>
        <p:style>
          <a:lnRef idx="1">
            <a:schemeClr val="dk1"/>
          </a:lnRef>
          <a:fillRef idx="3">
            <a:schemeClr val="dk1"/>
          </a:fillRef>
          <a:effectRef idx="2">
            <a:schemeClr val="dk1"/>
          </a:effectRef>
          <a:fontRef idx="minor">
            <a:schemeClr val="lt1"/>
          </a:fontRef>
        </p:style>
        <p:txBody>
          <a:bodyPr rtlCol="0" anchor="ctr"/>
          <a:lstStyle/>
          <a:p>
            <a:pPr algn="ctr"/>
            <a:endParaRPr lang="fr-FR" sz="1836" dirty="0">
              <a:solidFill>
                <a:schemeClr val="tx2"/>
              </a:solidFill>
            </a:endParaRPr>
          </a:p>
        </p:txBody>
      </p:sp>
      <p:grpSp>
        <p:nvGrpSpPr>
          <p:cNvPr id="17" name="Group 16"/>
          <p:cNvGrpSpPr/>
          <p:nvPr/>
        </p:nvGrpSpPr>
        <p:grpSpPr>
          <a:xfrm>
            <a:off x="626008" y="2379064"/>
            <a:ext cx="3497263" cy="3439030"/>
            <a:chOff x="650700" y="2269340"/>
            <a:chExt cx="3429000" cy="3371906"/>
          </a:xfrm>
        </p:grpSpPr>
        <p:sp>
          <p:nvSpPr>
            <p:cNvPr id="18" name="Rectangle 17"/>
            <p:cNvSpPr/>
            <p:nvPr/>
          </p:nvSpPr>
          <p:spPr>
            <a:xfrm>
              <a:off x="650700" y="2269340"/>
              <a:ext cx="3429000" cy="838200"/>
            </a:xfrm>
            <a:prstGeom prst="rect">
              <a:avLst/>
            </a:prstGeom>
            <a:ln>
              <a:tailEnd type="stealth" w="lg" len="lg"/>
            </a:ln>
          </p:spPr>
          <p:style>
            <a:lnRef idx="1">
              <a:schemeClr val="accent6"/>
            </a:lnRef>
            <a:fillRef idx="3">
              <a:schemeClr val="accent6"/>
            </a:fillRef>
            <a:effectRef idx="2">
              <a:schemeClr val="accent6"/>
            </a:effectRef>
            <a:fontRef idx="minor">
              <a:schemeClr val="lt1"/>
            </a:fontRef>
          </p:style>
          <p:txBody>
            <a:bodyPr lIns="186521" rtlCol="0" anchor="ctr"/>
            <a:lstStyle/>
            <a:p>
              <a:pPr defTabSz="932597">
                <a:lnSpc>
                  <a:spcPct val="90000"/>
                </a:lnSpc>
              </a:pPr>
              <a:r>
                <a:rPr lang="fr-FR" sz="1850" b="1" dirty="0" smtClean="0">
                  <a:solidFill>
                    <a:schemeClr val="bg1"/>
                  </a:solidFill>
                </a:rPr>
                <a:t>Données opérationnelles</a:t>
              </a:r>
              <a:endParaRPr lang="fr-FR" sz="1850" b="1" dirty="0">
                <a:solidFill>
                  <a:schemeClr val="bg1"/>
                </a:solidFill>
              </a:endParaRPr>
            </a:p>
          </p:txBody>
        </p:sp>
        <p:sp>
          <p:nvSpPr>
            <p:cNvPr id="21" name="TextBox 20"/>
            <p:cNvSpPr txBox="1"/>
            <p:nvPr/>
          </p:nvSpPr>
          <p:spPr>
            <a:xfrm>
              <a:off x="770926" y="3183740"/>
              <a:ext cx="3058531" cy="2457506"/>
            </a:xfrm>
            <a:prstGeom prst="rect">
              <a:avLst/>
            </a:prstGeom>
            <a:noFill/>
          </p:spPr>
          <p:txBody>
            <a:bodyPr wrap="square" rtlCol="0">
              <a:noAutofit/>
            </a:bodyPr>
            <a:lstStyle/>
            <a:p>
              <a:pPr marL="0" lvl="1">
                <a:buClr>
                  <a:schemeClr val="tx1"/>
                </a:buClr>
              </a:pPr>
              <a:r>
                <a:rPr lang="fr-FR" sz="2000" dirty="0" smtClean="0">
                  <a:solidFill>
                    <a:schemeClr val="bg1"/>
                  </a:solidFill>
                  <a:latin typeface="Segoe UI Light" pitchFamily="34" charset="0"/>
                </a:rPr>
                <a:t>Données d’un outil utilisé </a:t>
              </a:r>
              <a:r>
                <a:rPr lang="fr-FR" sz="2000" dirty="0" err="1" smtClean="0">
                  <a:solidFill>
                    <a:schemeClr val="bg1"/>
                  </a:solidFill>
                  <a:latin typeface="Segoe UI Light" pitchFamily="34" charset="0"/>
                </a:rPr>
                <a:t>journalièrement</a:t>
              </a:r>
              <a:endParaRPr lang="fr-FR" sz="2000" dirty="0" smtClean="0">
                <a:solidFill>
                  <a:schemeClr val="bg1"/>
                </a:solidFill>
                <a:latin typeface="Segoe UI Light" pitchFamily="34" charset="0"/>
              </a:endParaRPr>
            </a:p>
            <a:p>
              <a:pPr marL="0" lvl="1">
                <a:buClr>
                  <a:schemeClr val="tx1"/>
                </a:buClr>
              </a:pPr>
              <a:endParaRPr lang="fr-FR" sz="2000" dirty="0" smtClean="0">
                <a:solidFill>
                  <a:schemeClr val="bg1"/>
                </a:solidFill>
                <a:latin typeface="Segoe UI Light" pitchFamily="34" charset="0"/>
              </a:endParaRPr>
            </a:p>
            <a:p>
              <a:pPr marL="0" lvl="1">
                <a:buClr>
                  <a:schemeClr val="tx1"/>
                </a:buClr>
              </a:pPr>
              <a:endParaRPr lang="fr-FR" sz="2000" b="1" i="1" dirty="0" smtClean="0">
                <a:solidFill>
                  <a:schemeClr val="bg1"/>
                </a:solidFill>
                <a:latin typeface="Segoe UI Light" pitchFamily="34" charset="0"/>
              </a:endParaRPr>
            </a:p>
            <a:p>
              <a:pPr marL="0" lvl="1">
                <a:buClr>
                  <a:schemeClr val="tx1"/>
                </a:buClr>
              </a:pPr>
              <a:r>
                <a:rPr lang="fr-FR" sz="2000" b="1" i="1" dirty="0" smtClean="0">
                  <a:solidFill>
                    <a:schemeClr val="bg1"/>
                  </a:solidFill>
                  <a:latin typeface="Segoe UI Light" pitchFamily="34" charset="0"/>
                </a:rPr>
                <a:t>Bases relationnelles et non relationnelles</a:t>
              </a:r>
              <a:endParaRPr lang="fr-FR" sz="2000" dirty="0" smtClean="0">
                <a:solidFill>
                  <a:schemeClr val="bg1"/>
                </a:solidFill>
                <a:latin typeface="Segoe UI Light" pitchFamily="34" charset="0"/>
              </a:endParaRPr>
            </a:p>
          </p:txBody>
        </p:sp>
      </p:grpSp>
      <p:grpSp>
        <p:nvGrpSpPr>
          <p:cNvPr id="22" name="Group 21"/>
          <p:cNvGrpSpPr/>
          <p:nvPr/>
        </p:nvGrpSpPr>
        <p:grpSpPr>
          <a:xfrm>
            <a:off x="4396295" y="2379064"/>
            <a:ext cx="3497263" cy="3134230"/>
            <a:chOff x="4347395" y="2269340"/>
            <a:chExt cx="3429000" cy="3073055"/>
          </a:xfrm>
        </p:grpSpPr>
        <p:sp>
          <p:nvSpPr>
            <p:cNvPr id="24" name="Rectangle 23"/>
            <p:cNvSpPr/>
            <p:nvPr/>
          </p:nvSpPr>
          <p:spPr>
            <a:xfrm>
              <a:off x="4347395" y="2269340"/>
              <a:ext cx="3429000" cy="838200"/>
            </a:xfrm>
            <a:prstGeom prst="rect">
              <a:avLst/>
            </a:prstGeom>
            <a:ln>
              <a:tailEnd type="stealth" w="lg" len="lg"/>
            </a:ln>
          </p:spPr>
          <p:style>
            <a:lnRef idx="1">
              <a:schemeClr val="accent5"/>
            </a:lnRef>
            <a:fillRef idx="3">
              <a:schemeClr val="accent5"/>
            </a:fillRef>
            <a:effectRef idx="2">
              <a:schemeClr val="accent5"/>
            </a:effectRef>
            <a:fontRef idx="minor">
              <a:schemeClr val="lt1"/>
            </a:fontRef>
          </p:style>
          <p:txBody>
            <a:bodyPr lIns="186521" rtlCol="0" anchor="ctr"/>
            <a:lstStyle/>
            <a:p>
              <a:pPr defTabSz="932597">
                <a:lnSpc>
                  <a:spcPct val="90000"/>
                </a:lnSpc>
              </a:pPr>
              <a:r>
                <a:rPr lang="fr-FR" sz="1850" b="1" dirty="0" smtClean="0">
                  <a:solidFill>
                    <a:schemeClr val="bg1"/>
                  </a:solidFill>
                </a:rPr>
                <a:t>Données d’analyses</a:t>
              </a:r>
              <a:endParaRPr lang="fr-FR" sz="1850" b="1" dirty="0">
                <a:solidFill>
                  <a:schemeClr val="bg1"/>
                </a:solidFill>
              </a:endParaRPr>
            </a:p>
          </p:txBody>
        </p:sp>
        <p:sp>
          <p:nvSpPr>
            <p:cNvPr id="25" name="TextBox 24"/>
            <p:cNvSpPr txBox="1"/>
            <p:nvPr/>
          </p:nvSpPr>
          <p:spPr>
            <a:xfrm>
              <a:off x="4418012" y="3183740"/>
              <a:ext cx="2819400" cy="2158655"/>
            </a:xfrm>
            <a:prstGeom prst="rect">
              <a:avLst/>
            </a:prstGeom>
            <a:noFill/>
          </p:spPr>
          <p:txBody>
            <a:bodyPr wrap="square" rtlCol="0">
              <a:noAutofit/>
            </a:bodyPr>
            <a:lstStyle/>
            <a:p>
              <a:pPr marL="0" lvl="1">
                <a:buClr>
                  <a:schemeClr val="tx1"/>
                </a:buClr>
              </a:pPr>
              <a:r>
                <a:rPr lang="fr-FR" sz="2000" dirty="0" smtClean="0">
                  <a:solidFill>
                    <a:schemeClr val="bg1"/>
                  </a:solidFill>
                  <a:latin typeface="Segoe UI Light" pitchFamily="34" charset="0"/>
                </a:rPr>
                <a:t>Données historiques pour analyse</a:t>
              </a:r>
            </a:p>
            <a:p>
              <a:pPr marL="0" lvl="1">
                <a:buClr>
                  <a:schemeClr val="tx1"/>
                </a:buClr>
              </a:pPr>
              <a:endParaRPr lang="fr-FR" sz="2000" dirty="0" smtClean="0">
                <a:solidFill>
                  <a:schemeClr val="bg1"/>
                </a:solidFill>
                <a:latin typeface="Segoe UI Light" pitchFamily="34" charset="0"/>
              </a:endParaRPr>
            </a:p>
            <a:p>
              <a:pPr marL="0" lvl="1">
                <a:buClr>
                  <a:schemeClr val="tx1"/>
                </a:buClr>
              </a:pPr>
              <a:endParaRPr lang="fr-FR" sz="2000" b="1" dirty="0" smtClean="0">
                <a:solidFill>
                  <a:schemeClr val="bg1"/>
                </a:solidFill>
                <a:latin typeface="Segoe UI Light" pitchFamily="34" charset="0"/>
              </a:endParaRPr>
            </a:p>
            <a:p>
              <a:pPr marL="0" lvl="1">
                <a:buClr>
                  <a:schemeClr val="tx1"/>
                </a:buClr>
              </a:pPr>
              <a:r>
                <a:rPr lang="fr-FR" sz="2000" b="1" i="1" dirty="0" smtClean="0">
                  <a:solidFill>
                    <a:schemeClr val="bg1"/>
                  </a:solidFill>
                  <a:latin typeface="Segoe UI Light" pitchFamily="34" charset="0"/>
                </a:rPr>
                <a:t>Data </a:t>
              </a:r>
              <a:r>
                <a:rPr lang="fr-FR" sz="2000" b="1" i="1" dirty="0" err="1" smtClean="0">
                  <a:solidFill>
                    <a:schemeClr val="bg1"/>
                  </a:solidFill>
                  <a:latin typeface="Segoe UI Light" pitchFamily="34" charset="0"/>
                </a:rPr>
                <a:t>warehouse</a:t>
              </a:r>
              <a:r>
                <a:rPr lang="fr-FR" sz="2000" b="1" i="1" dirty="0" smtClean="0">
                  <a:solidFill>
                    <a:schemeClr val="bg1"/>
                  </a:solidFill>
                  <a:latin typeface="Segoe UI Light" pitchFamily="34" charset="0"/>
                </a:rPr>
                <a:t>, machine </a:t>
              </a:r>
              <a:r>
                <a:rPr lang="fr-FR" sz="2000" b="1" i="1" dirty="0" err="1" smtClean="0">
                  <a:solidFill>
                    <a:schemeClr val="bg1"/>
                  </a:solidFill>
                  <a:latin typeface="Segoe UI Light" pitchFamily="34" charset="0"/>
                </a:rPr>
                <a:t>learning</a:t>
              </a:r>
              <a:endParaRPr lang="fr-FR" sz="2000" dirty="0" smtClean="0">
                <a:solidFill>
                  <a:schemeClr val="bg1"/>
                </a:solidFill>
                <a:latin typeface="Segoe UI Light" pitchFamily="34" charset="0"/>
              </a:endParaRPr>
            </a:p>
          </p:txBody>
        </p:sp>
      </p:grpSp>
      <p:grpSp>
        <p:nvGrpSpPr>
          <p:cNvPr id="26" name="Group 25"/>
          <p:cNvGrpSpPr/>
          <p:nvPr/>
        </p:nvGrpSpPr>
        <p:grpSpPr>
          <a:xfrm>
            <a:off x="8166581" y="2379064"/>
            <a:ext cx="3497263" cy="3134230"/>
            <a:chOff x="8044090" y="2269340"/>
            <a:chExt cx="3429000" cy="3073055"/>
          </a:xfrm>
        </p:grpSpPr>
        <p:sp>
          <p:nvSpPr>
            <p:cNvPr id="27" name="Rectangle 26"/>
            <p:cNvSpPr/>
            <p:nvPr/>
          </p:nvSpPr>
          <p:spPr>
            <a:xfrm>
              <a:off x="8044090" y="2269340"/>
              <a:ext cx="3429000" cy="838200"/>
            </a:xfrm>
            <a:prstGeom prst="rect">
              <a:avLst/>
            </a:prstGeom>
            <a:ln>
              <a:tailEnd type="stealth" w="lg" len="lg"/>
            </a:ln>
          </p:spPr>
          <p:style>
            <a:lnRef idx="1">
              <a:schemeClr val="accent4"/>
            </a:lnRef>
            <a:fillRef idx="3">
              <a:schemeClr val="accent4"/>
            </a:fillRef>
            <a:effectRef idx="2">
              <a:schemeClr val="accent4"/>
            </a:effectRef>
            <a:fontRef idx="minor">
              <a:schemeClr val="lt1"/>
            </a:fontRef>
          </p:style>
          <p:txBody>
            <a:bodyPr lIns="186521" rtlCol="0" anchor="ctr"/>
            <a:lstStyle/>
            <a:p>
              <a:pPr defTabSz="932597">
                <a:lnSpc>
                  <a:spcPct val="90000"/>
                </a:lnSpc>
              </a:pPr>
              <a:r>
                <a:rPr lang="fr-FR" sz="1850" b="1" dirty="0" smtClean="0">
                  <a:solidFill>
                    <a:schemeClr val="bg1"/>
                  </a:solidFill>
                </a:rPr>
                <a:t>Données volatiles</a:t>
              </a:r>
              <a:endParaRPr lang="fr-FR" sz="1850" b="1" dirty="0">
                <a:solidFill>
                  <a:schemeClr val="bg1"/>
                </a:solidFill>
              </a:endParaRPr>
            </a:p>
          </p:txBody>
        </p:sp>
        <p:sp>
          <p:nvSpPr>
            <p:cNvPr id="28" name="TextBox 27"/>
            <p:cNvSpPr txBox="1"/>
            <p:nvPr/>
          </p:nvSpPr>
          <p:spPr>
            <a:xfrm>
              <a:off x="8044090" y="3183740"/>
              <a:ext cx="3429000" cy="2158655"/>
            </a:xfrm>
            <a:prstGeom prst="rect">
              <a:avLst/>
            </a:prstGeom>
            <a:noFill/>
          </p:spPr>
          <p:txBody>
            <a:bodyPr wrap="square" rtlCol="0">
              <a:noAutofit/>
            </a:bodyPr>
            <a:lstStyle/>
            <a:p>
              <a:pPr marL="0" lvl="1">
                <a:buClr>
                  <a:schemeClr val="tx1"/>
                </a:buClr>
              </a:pPr>
              <a:r>
                <a:rPr lang="fr-FR" sz="2000" dirty="0" smtClean="0">
                  <a:solidFill>
                    <a:schemeClr val="bg1"/>
                  </a:solidFill>
                  <a:latin typeface="Segoe UI Light" pitchFamily="34" charset="0"/>
                </a:rPr>
                <a:t>Données temps réelles</a:t>
              </a:r>
            </a:p>
            <a:p>
              <a:pPr marL="0" lvl="1">
                <a:buClr>
                  <a:schemeClr val="tx1"/>
                </a:buClr>
              </a:pPr>
              <a:endParaRPr lang="fr-FR" sz="2000" dirty="0" smtClean="0">
                <a:solidFill>
                  <a:schemeClr val="bg1"/>
                </a:solidFill>
                <a:latin typeface="Segoe UI Light" pitchFamily="34" charset="0"/>
              </a:endParaRPr>
            </a:p>
            <a:p>
              <a:pPr marL="0" lvl="1">
                <a:buClr>
                  <a:schemeClr val="tx1"/>
                </a:buClr>
              </a:pPr>
              <a:endParaRPr lang="fr-FR" sz="2000" b="1" dirty="0" smtClean="0">
                <a:solidFill>
                  <a:schemeClr val="bg1"/>
                </a:solidFill>
                <a:latin typeface="Segoe UI Light" pitchFamily="34" charset="0"/>
              </a:endParaRPr>
            </a:p>
            <a:p>
              <a:pPr marL="0" lvl="1">
                <a:buClr>
                  <a:schemeClr val="tx1"/>
                </a:buClr>
              </a:pPr>
              <a:endParaRPr lang="fr-FR" sz="2000" b="1" i="1" dirty="0" smtClean="0">
                <a:solidFill>
                  <a:schemeClr val="bg1"/>
                </a:solidFill>
                <a:latin typeface="Segoe UI Light" pitchFamily="34" charset="0"/>
              </a:endParaRPr>
            </a:p>
            <a:p>
              <a:pPr marL="0" lvl="1">
                <a:buClr>
                  <a:schemeClr val="tx1"/>
                </a:buClr>
              </a:pPr>
              <a:r>
                <a:rPr lang="fr-FR" sz="2000" b="1" i="1" dirty="0" smtClean="0">
                  <a:solidFill>
                    <a:schemeClr val="bg1"/>
                  </a:solidFill>
                  <a:latin typeface="Segoe UI Light" pitchFamily="34" charset="0"/>
                </a:rPr>
                <a:t>IOT, CEP</a:t>
              </a:r>
              <a:endParaRPr lang="fr-FR" sz="1836" dirty="0" smtClean="0">
                <a:solidFill>
                  <a:schemeClr val="bg1"/>
                </a:solidFill>
              </a:endParaRPr>
            </a:p>
            <a:p>
              <a:pPr marL="291436" lvl="1" indent="-291436">
                <a:buClr>
                  <a:schemeClr val="tx1"/>
                </a:buClr>
                <a:buFontTx/>
                <a:buChar char="-"/>
              </a:pPr>
              <a:endParaRPr lang="fr-FR" sz="1836" dirty="0">
                <a:solidFill>
                  <a:schemeClr val="bg1"/>
                </a:solidFill>
              </a:endParaRPr>
            </a:p>
          </p:txBody>
        </p:sp>
      </p:grpSp>
    </p:spTree>
    <p:extLst>
      <p:ext uri="{BB962C8B-B14F-4D97-AF65-F5344CB8AC3E}">
        <p14:creationId xmlns:p14="http://schemas.microsoft.com/office/powerpoint/2010/main" val="3953931517"/>
      </p:ext>
    </p:extLst>
  </p:cSld>
  <p:clrMapOvr>
    <a:masterClrMapping/>
  </p:clrMapOvr>
  <p:transition>
    <p:fade/>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464626" y="2126070"/>
            <a:ext cx="7390150" cy="3657600"/>
            <a:chOff x="464626" y="2126070"/>
            <a:chExt cx="7390150" cy="3657600"/>
          </a:xfrm>
        </p:grpSpPr>
        <p:sp>
          <p:nvSpPr>
            <p:cNvPr id="19" name="TextBox 18"/>
            <p:cNvSpPr txBox="1"/>
            <p:nvPr/>
          </p:nvSpPr>
          <p:spPr>
            <a:xfrm>
              <a:off x="464626" y="2126070"/>
              <a:ext cx="3657600" cy="3657600"/>
            </a:xfrm>
            <a:prstGeom prst="rect">
              <a:avLst/>
            </a:prstGeom>
            <a:solidFill>
              <a:srgbClr val="C00000"/>
            </a:solidFill>
          </p:spPr>
          <p:txBody>
            <a:bodyPr wrap="square" lIns="182880" tIns="146304" rIns="182880" bIns="146304" rtlCol="0">
              <a:noAutofit/>
            </a:bodyPr>
            <a:lstStyle>
              <a:defPPr>
                <a:defRPr lang="en-US"/>
              </a:defPPr>
              <a:lvl1pPr defTabSz="932688">
                <a:lnSpc>
                  <a:spcPct val="90000"/>
                </a:lnSpc>
                <a:defRPr sz="4000" spc="-30">
                  <a:gradFill>
                    <a:gsLst>
                      <a:gs pos="77483">
                        <a:srgbClr val="FFFFFF"/>
                      </a:gs>
                      <a:gs pos="62252">
                        <a:srgbClr val="FFFFFF"/>
                      </a:gs>
                    </a:gsLst>
                    <a:lin ang="5400000" scaled="0"/>
                  </a:gradFill>
                  <a:latin typeface="Segoe UI Light"/>
                </a:defRPr>
              </a:lvl1pPr>
            </a:lstStyle>
            <a:p>
              <a:pPr defTabSz="932133"/>
              <a:r>
                <a:rPr lang="en-US" dirty="0" smtClean="0">
                  <a:ln>
                    <a:solidFill>
                      <a:srgbClr val="FFFFFF">
                        <a:alpha val="0"/>
                      </a:srgbClr>
                    </a:solidFill>
                  </a:ln>
                  <a:gradFill>
                    <a:gsLst>
                      <a:gs pos="0">
                        <a:srgbClr val="FFFFFF"/>
                      </a:gs>
                      <a:gs pos="100000">
                        <a:srgbClr val="FFFFFF"/>
                      </a:gs>
                    </a:gsLst>
                    <a:lin ang="5400000" scaled="0"/>
                  </a:gradFill>
                  <a:ea typeface="Segoe UI" pitchFamily="34" charset="0"/>
                  <a:cs typeface="Segoe UI" pitchFamily="34" charset="0"/>
                </a:rPr>
                <a:t>Performance critique</a:t>
              </a:r>
              <a:endParaRPr lang="en-US" dirty="0">
                <a:ln>
                  <a:solidFill>
                    <a:srgbClr val="FFFFFF">
                      <a:alpha val="0"/>
                    </a:srgbClr>
                  </a:solidFill>
                </a:ln>
                <a:gradFill>
                  <a:gsLst>
                    <a:gs pos="0">
                      <a:srgbClr val="FFFFFF"/>
                    </a:gs>
                    <a:gs pos="100000">
                      <a:srgbClr val="FFFFFF"/>
                    </a:gs>
                  </a:gsLst>
                  <a:lin ang="5400000" scaled="0"/>
                </a:gradFill>
                <a:ea typeface="Segoe UI" pitchFamily="34" charset="0"/>
                <a:cs typeface="Segoe UI" pitchFamily="34" charset="0"/>
              </a:endParaRPr>
            </a:p>
          </p:txBody>
        </p:sp>
        <p:sp>
          <p:nvSpPr>
            <p:cNvPr id="36" name="TextBox 35"/>
            <p:cNvSpPr txBox="1"/>
            <p:nvPr/>
          </p:nvSpPr>
          <p:spPr>
            <a:xfrm>
              <a:off x="4197176" y="2126070"/>
              <a:ext cx="3657600" cy="3657599"/>
            </a:xfrm>
            <a:prstGeom prst="rect">
              <a:avLst/>
            </a:prstGeom>
            <a:solidFill>
              <a:schemeClr val="accent5"/>
            </a:solidFill>
          </p:spPr>
          <p:txBody>
            <a:bodyPr wrap="square" lIns="182880" tIns="146304" rIns="182880" bIns="146304" rtlCol="0">
              <a:noAutofit/>
            </a:bodyPr>
            <a:lstStyle/>
            <a:p>
              <a:pPr defTabSz="932688">
                <a:lnSpc>
                  <a:spcPct val="90000"/>
                </a:lnSpc>
              </a:pPr>
              <a:r>
                <a:rPr lang="en-US" sz="4000" spc="-30" dirty="0" err="1" smtClean="0">
                  <a:gradFill>
                    <a:gsLst>
                      <a:gs pos="77483">
                        <a:srgbClr val="FFFFFF"/>
                      </a:gs>
                      <a:gs pos="62252">
                        <a:srgbClr val="FFFFFF"/>
                      </a:gs>
                    </a:gsLst>
                    <a:lin ang="5400000" scaled="0"/>
                  </a:gradFill>
                  <a:latin typeface="Segoe UI Light"/>
                </a:rPr>
                <a:t>Analyse</a:t>
              </a:r>
              <a:r>
                <a:rPr lang="en-US" sz="4000" spc="-30" dirty="0" smtClean="0">
                  <a:gradFill>
                    <a:gsLst>
                      <a:gs pos="77483">
                        <a:srgbClr val="FFFFFF"/>
                      </a:gs>
                      <a:gs pos="62252">
                        <a:srgbClr val="FFFFFF"/>
                      </a:gs>
                    </a:gsLst>
                    <a:lin ang="5400000" scaled="0"/>
                  </a:gradFill>
                  <a:latin typeface="Segoe UI Light"/>
                </a:rPr>
                <a:t> des </a:t>
              </a:r>
              <a:r>
                <a:rPr lang="en-US" sz="4000" spc="-30" dirty="0" err="1" smtClean="0">
                  <a:gradFill>
                    <a:gsLst>
                      <a:gs pos="77483">
                        <a:srgbClr val="FFFFFF"/>
                      </a:gs>
                      <a:gs pos="62252">
                        <a:srgbClr val="FFFFFF"/>
                      </a:gs>
                    </a:gsLst>
                    <a:lin ang="5400000" scaled="0"/>
                  </a:gradFill>
                  <a:latin typeface="Segoe UI Light"/>
                </a:rPr>
                <a:t>données</a:t>
              </a:r>
              <a:endParaRPr lang="en-US" sz="2800" b="1" spc="-30" dirty="0">
                <a:gradFill>
                  <a:gsLst>
                    <a:gs pos="2917">
                      <a:srgbClr val="FFFFFF"/>
                    </a:gs>
                    <a:gs pos="100000">
                      <a:srgbClr val="FFFFFF"/>
                    </a:gs>
                  </a:gsLst>
                  <a:lin ang="5400000" scaled="0"/>
                </a:gradFill>
                <a:latin typeface="Segoe UI Light"/>
              </a:endParaRPr>
            </a:p>
          </p:txBody>
        </p:sp>
        <p:grpSp>
          <p:nvGrpSpPr>
            <p:cNvPr id="148" name="Group 147"/>
            <p:cNvGrpSpPr/>
            <p:nvPr/>
          </p:nvGrpSpPr>
          <p:grpSpPr>
            <a:xfrm>
              <a:off x="5252628" y="3882326"/>
              <a:ext cx="1620171" cy="1620172"/>
              <a:chOff x="11092177" y="4747627"/>
              <a:chExt cx="540526" cy="540526"/>
            </a:xfrm>
          </p:grpSpPr>
          <p:sp>
            <p:nvSpPr>
              <p:cNvPr id="149" name="Freeform 186"/>
              <p:cNvSpPr>
                <a:spLocks/>
              </p:cNvSpPr>
              <p:nvPr/>
            </p:nvSpPr>
            <p:spPr bwMode="auto">
              <a:xfrm>
                <a:off x="11092177" y="4747627"/>
                <a:ext cx="540526" cy="540526"/>
              </a:xfrm>
              <a:prstGeom prst="ellipse">
                <a:avLst/>
              </a:prstGeom>
              <a:solidFill>
                <a:schemeClr val="bg1">
                  <a:alpha val="28000"/>
                </a:schemeClr>
              </a:solidFill>
              <a:ln>
                <a:noFill/>
              </a:ln>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150" name="Freeform 187"/>
              <p:cNvSpPr>
                <a:spLocks noEditPoints="1"/>
              </p:cNvSpPr>
              <p:nvPr/>
            </p:nvSpPr>
            <p:spPr bwMode="auto">
              <a:xfrm>
                <a:off x="11185499" y="4841873"/>
                <a:ext cx="352959" cy="352035"/>
              </a:xfrm>
              <a:prstGeom prst="ellipse">
                <a:avLst/>
              </a:prstGeom>
              <a:solidFill>
                <a:schemeClr val="bg1">
                  <a:alpha val="51000"/>
                </a:schemeClr>
              </a:solidFill>
              <a:ln>
                <a:noFill/>
              </a:ln>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grpSp>
            <p:nvGrpSpPr>
              <p:cNvPr id="151" name="Group 150"/>
              <p:cNvGrpSpPr/>
              <p:nvPr/>
            </p:nvGrpSpPr>
            <p:grpSpPr>
              <a:xfrm>
                <a:off x="11258851" y="4915585"/>
                <a:ext cx="207178" cy="289828"/>
                <a:chOff x="-2260600" y="4106863"/>
                <a:chExt cx="298450" cy="417513"/>
              </a:xfrm>
            </p:grpSpPr>
            <p:sp>
              <p:nvSpPr>
                <p:cNvPr id="152" name="Freeform 188"/>
                <p:cNvSpPr>
                  <a:spLocks/>
                </p:cNvSpPr>
                <p:nvPr/>
              </p:nvSpPr>
              <p:spPr bwMode="auto">
                <a:xfrm>
                  <a:off x="-2260600" y="4106863"/>
                  <a:ext cx="298450" cy="376238"/>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153" name="Freeform 192"/>
                <p:cNvSpPr>
                  <a:spLocks noEditPoints="1"/>
                </p:cNvSpPr>
                <p:nvPr/>
              </p:nvSpPr>
              <p:spPr bwMode="auto">
                <a:xfrm>
                  <a:off x="-2260600" y="4254501"/>
                  <a:ext cx="230188" cy="198438"/>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EA8C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154" name="Rectangle 194"/>
                <p:cNvSpPr>
                  <a:spLocks noChangeArrowheads="1"/>
                </p:cNvSpPr>
                <p:nvPr/>
              </p:nvSpPr>
              <p:spPr bwMode="auto">
                <a:xfrm>
                  <a:off x="-2168525" y="4452938"/>
                  <a:ext cx="114300" cy="71438"/>
                </a:xfrm>
                <a:prstGeom prst="rect">
                  <a:avLst/>
                </a:prstGeom>
                <a:solidFill>
                  <a:schemeClr val="bg2">
                    <a:lumMod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156" name="Freeform 193"/>
                <p:cNvSpPr>
                  <a:spLocks/>
                </p:cNvSpPr>
                <p:nvPr/>
              </p:nvSpPr>
              <p:spPr bwMode="auto">
                <a:xfrm>
                  <a:off x="-2260600" y="4179888"/>
                  <a:ext cx="230188" cy="276225"/>
                </a:xfrm>
                <a:custGeom>
                  <a:avLst/>
                  <a:gdLst>
                    <a:gd name="T0" fmla="*/ 28 w 308"/>
                    <a:gd name="T1" fmla="*/ 0 h 370"/>
                    <a:gd name="T2" fmla="*/ 0 w 308"/>
                    <a:gd name="T3" fmla="*/ 100 h 370"/>
                    <a:gd name="T4" fmla="*/ 0 w 308"/>
                    <a:gd name="T5" fmla="*/ 100 h 370"/>
                    <a:gd name="T6" fmla="*/ 0 w 308"/>
                    <a:gd name="T7" fmla="*/ 100 h 370"/>
                    <a:gd name="T8" fmla="*/ 0 w 308"/>
                    <a:gd name="T9" fmla="*/ 100 h 370"/>
                    <a:gd name="T10" fmla="*/ 0 w 308"/>
                    <a:gd name="T11" fmla="*/ 100 h 370"/>
                    <a:gd name="T12" fmla="*/ 0 w 308"/>
                    <a:gd name="T13" fmla="*/ 100 h 370"/>
                    <a:gd name="T14" fmla="*/ 0 w 308"/>
                    <a:gd name="T15" fmla="*/ 101 h 370"/>
                    <a:gd name="T16" fmla="*/ 0 w 308"/>
                    <a:gd name="T17" fmla="*/ 101 h 370"/>
                    <a:gd name="T18" fmla="*/ 60 w 308"/>
                    <a:gd name="T19" fmla="*/ 243 h 370"/>
                    <a:gd name="T20" fmla="*/ 60 w 308"/>
                    <a:gd name="T21" fmla="*/ 243 h 370"/>
                    <a:gd name="T22" fmla="*/ 60 w 308"/>
                    <a:gd name="T23" fmla="*/ 243 h 370"/>
                    <a:gd name="T24" fmla="*/ 60 w 308"/>
                    <a:gd name="T25" fmla="*/ 243 h 370"/>
                    <a:gd name="T26" fmla="*/ 122 w 308"/>
                    <a:gd name="T27" fmla="*/ 370 h 370"/>
                    <a:gd name="T28" fmla="*/ 276 w 308"/>
                    <a:gd name="T29" fmla="*/ 367 h 370"/>
                    <a:gd name="T30" fmla="*/ 276 w 308"/>
                    <a:gd name="T31" fmla="*/ 367 h 370"/>
                    <a:gd name="T32" fmla="*/ 276 w 308"/>
                    <a:gd name="T33" fmla="*/ 367 h 370"/>
                    <a:gd name="T34" fmla="*/ 276 w 308"/>
                    <a:gd name="T35" fmla="*/ 361 h 370"/>
                    <a:gd name="T36" fmla="*/ 308 w 308"/>
                    <a:gd name="T37" fmla="*/ 280 h 370"/>
                    <a:gd name="T38" fmla="*/ 28 w 308"/>
                    <a:gd name="T39"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70">
                      <a:moveTo>
                        <a:pt x="28" y="0"/>
                      </a:moveTo>
                      <a:cubicBezTo>
                        <a:pt x="10" y="29"/>
                        <a:pt x="0" y="63"/>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1"/>
                        <a:pt x="0" y="101"/>
                        <a:pt x="0" y="101"/>
                      </a:cubicBezTo>
                      <a:cubicBezTo>
                        <a:pt x="0" y="101"/>
                        <a:pt x="0" y="101"/>
                        <a:pt x="0" y="101"/>
                      </a:cubicBezTo>
                      <a:cubicBezTo>
                        <a:pt x="0" y="157"/>
                        <a:pt x="23" y="207"/>
                        <a:pt x="60" y="243"/>
                      </a:cubicBezTo>
                      <a:cubicBezTo>
                        <a:pt x="60" y="243"/>
                        <a:pt x="60" y="243"/>
                        <a:pt x="60" y="243"/>
                      </a:cubicBezTo>
                      <a:cubicBezTo>
                        <a:pt x="60" y="243"/>
                        <a:pt x="60" y="243"/>
                        <a:pt x="60" y="243"/>
                      </a:cubicBezTo>
                      <a:cubicBezTo>
                        <a:pt x="60" y="243"/>
                        <a:pt x="60" y="243"/>
                        <a:pt x="60" y="243"/>
                      </a:cubicBezTo>
                      <a:cubicBezTo>
                        <a:pt x="120" y="304"/>
                        <a:pt x="122" y="370"/>
                        <a:pt x="122" y="370"/>
                      </a:cubicBezTo>
                      <a:cubicBezTo>
                        <a:pt x="276" y="367"/>
                        <a:pt x="276" y="367"/>
                        <a:pt x="276" y="367"/>
                      </a:cubicBezTo>
                      <a:cubicBezTo>
                        <a:pt x="276" y="367"/>
                        <a:pt x="276" y="367"/>
                        <a:pt x="276" y="367"/>
                      </a:cubicBezTo>
                      <a:cubicBezTo>
                        <a:pt x="276" y="367"/>
                        <a:pt x="276" y="367"/>
                        <a:pt x="276" y="367"/>
                      </a:cubicBezTo>
                      <a:cubicBezTo>
                        <a:pt x="276" y="366"/>
                        <a:pt x="276" y="364"/>
                        <a:pt x="276" y="361"/>
                      </a:cubicBezTo>
                      <a:cubicBezTo>
                        <a:pt x="279" y="346"/>
                        <a:pt x="286" y="314"/>
                        <a:pt x="308" y="280"/>
                      </a:cubicBezTo>
                      <a:cubicBezTo>
                        <a:pt x="28" y="0"/>
                        <a:pt x="28" y="0"/>
                        <a:pt x="28" y="0"/>
                      </a:cubicBezTo>
                    </a:path>
                  </a:pathLst>
                </a:custGeom>
                <a:solidFill>
                  <a:srgbClr val="F2F2F2">
                    <a:alpha val="49000"/>
                  </a:srgbClr>
                </a:solidFill>
                <a:ln>
                  <a:noFill/>
                </a:ln>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grpSp>
        </p:grpSp>
        <p:grpSp>
          <p:nvGrpSpPr>
            <p:cNvPr id="113" name="Group 112"/>
            <p:cNvGrpSpPr/>
            <p:nvPr/>
          </p:nvGrpSpPr>
          <p:grpSpPr>
            <a:xfrm>
              <a:off x="1586195" y="3983494"/>
              <a:ext cx="1414462" cy="1414463"/>
              <a:chOff x="1428494" y="3983494"/>
              <a:chExt cx="1414462" cy="1414463"/>
            </a:xfrm>
          </p:grpSpPr>
          <p:sp>
            <p:nvSpPr>
              <p:cNvPr id="109" name="Donut 108"/>
              <p:cNvSpPr/>
              <p:nvPr/>
            </p:nvSpPr>
            <p:spPr bwMode="auto">
              <a:xfrm>
                <a:off x="1428494" y="3983494"/>
                <a:ext cx="1414462" cy="1414462"/>
              </a:xfrm>
              <a:prstGeom prst="donut">
                <a:avLst>
                  <a:gd name="adj" fmla="val 7423"/>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a:lnSpc>
                    <a:spcPct val="90000"/>
                  </a:lnSpc>
                  <a:buFont typeface="Wingdings 3" panose="05040102010807070707" pitchFamily="18" charset="2"/>
                  <a:buChar char="Æ"/>
                </a:pPr>
                <a:endParaRPr lang="en-IN" sz="2000" b="1" dirty="0" err="1" smtClean="0">
                  <a:solidFill>
                    <a:srgbClr val="FFFFFF"/>
                  </a:solidFill>
                  <a:latin typeface="Segoe UI Light"/>
                  <a:ea typeface="Segoe UI" pitchFamily="34" charset="0"/>
                  <a:cs typeface="Segoe UI" pitchFamily="34" charset="0"/>
                </a:endParaRPr>
              </a:p>
            </p:txBody>
          </p:sp>
          <p:grpSp>
            <p:nvGrpSpPr>
              <p:cNvPr id="111" name="Group 110"/>
              <p:cNvGrpSpPr/>
              <p:nvPr/>
            </p:nvGrpSpPr>
            <p:grpSpPr>
              <a:xfrm>
                <a:off x="1621657" y="4173291"/>
                <a:ext cx="1006705" cy="796614"/>
                <a:chOff x="1621657" y="4173291"/>
                <a:chExt cx="1006705" cy="796614"/>
              </a:xfrm>
            </p:grpSpPr>
            <p:sp>
              <p:nvSpPr>
                <p:cNvPr id="99" name="Freeform 5"/>
                <p:cNvSpPr>
                  <a:spLocks/>
                </p:cNvSpPr>
                <p:nvPr/>
              </p:nvSpPr>
              <p:spPr bwMode="auto">
                <a:xfrm rot="18900000">
                  <a:off x="1864473" y="4183165"/>
                  <a:ext cx="300038" cy="280988"/>
                </a:xfrm>
                <a:custGeom>
                  <a:avLst/>
                  <a:gdLst>
                    <a:gd name="T0" fmla="*/ 53 w 53"/>
                    <a:gd name="T1" fmla="*/ 22 h 49"/>
                    <a:gd name="T2" fmla="*/ 2 w 53"/>
                    <a:gd name="T3" fmla="*/ 0 h 49"/>
                    <a:gd name="T4" fmla="*/ 0 w 53"/>
                    <a:gd name="T5" fmla="*/ 37 h 49"/>
                    <a:gd name="T6" fmla="*/ 28 w 53"/>
                    <a:gd name="T7" fmla="*/ 49 h 49"/>
                    <a:gd name="T8" fmla="*/ 53 w 53"/>
                    <a:gd name="T9" fmla="*/ 22 h 49"/>
                  </a:gdLst>
                  <a:ahLst/>
                  <a:cxnLst>
                    <a:cxn ang="0">
                      <a:pos x="T0" y="T1"/>
                    </a:cxn>
                    <a:cxn ang="0">
                      <a:pos x="T2" y="T3"/>
                    </a:cxn>
                    <a:cxn ang="0">
                      <a:pos x="T4" y="T5"/>
                    </a:cxn>
                    <a:cxn ang="0">
                      <a:pos x="T6" y="T7"/>
                    </a:cxn>
                    <a:cxn ang="0">
                      <a:pos x="T8" y="T9"/>
                    </a:cxn>
                  </a:cxnLst>
                  <a:rect l="0" t="0" r="r" b="b"/>
                  <a:pathLst>
                    <a:path w="53" h="49">
                      <a:moveTo>
                        <a:pt x="53" y="22"/>
                      </a:moveTo>
                      <a:cubicBezTo>
                        <a:pt x="39" y="9"/>
                        <a:pt x="21" y="2"/>
                        <a:pt x="2" y="0"/>
                      </a:cubicBezTo>
                      <a:cubicBezTo>
                        <a:pt x="0" y="37"/>
                        <a:pt x="0" y="37"/>
                        <a:pt x="0" y="37"/>
                      </a:cubicBezTo>
                      <a:cubicBezTo>
                        <a:pt x="10" y="38"/>
                        <a:pt x="20" y="42"/>
                        <a:pt x="28" y="49"/>
                      </a:cubicBezTo>
                      <a:lnTo>
                        <a:pt x="53" y="22"/>
                      </a:lnTo>
                      <a:close/>
                    </a:path>
                  </a:pathLst>
                </a:custGeom>
                <a:solidFill>
                  <a:schemeClr val="accent1">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100" name="Freeform 6"/>
                <p:cNvSpPr>
                  <a:spLocks/>
                </p:cNvSpPr>
                <p:nvPr/>
              </p:nvSpPr>
              <p:spPr bwMode="auto">
                <a:xfrm rot="18900000">
                  <a:off x="2124042" y="4173291"/>
                  <a:ext cx="280988" cy="302420"/>
                </a:xfrm>
                <a:custGeom>
                  <a:avLst/>
                  <a:gdLst>
                    <a:gd name="T0" fmla="*/ 12 w 49"/>
                    <a:gd name="T1" fmla="*/ 53 h 53"/>
                    <a:gd name="T2" fmla="*/ 49 w 49"/>
                    <a:gd name="T3" fmla="*/ 51 h 53"/>
                    <a:gd name="T4" fmla="*/ 27 w 49"/>
                    <a:gd name="T5" fmla="*/ 0 h 53"/>
                    <a:gd name="T6" fmla="*/ 0 w 49"/>
                    <a:gd name="T7" fmla="*/ 24 h 53"/>
                    <a:gd name="T8" fmla="*/ 12 w 49"/>
                    <a:gd name="T9" fmla="*/ 53 h 53"/>
                  </a:gdLst>
                  <a:ahLst/>
                  <a:cxnLst>
                    <a:cxn ang="0">
                      <a:pos x="T0" y="T1"/>
                    </a:cxn>
                    <a:cxn ang="0">
                      <a:pos x="T2" y="T3"/>
                    </a:cxn>
                    <a:cxn ang="0">
                      <a:pos x="T4" y="T5"/>
                    </a:cxn>
                    <a:cxn ang="0">
                      <a:pos x="T6" y="T7"/>
                    </a:cxn>
                    <a:cxn ang="0">
                      <a:pos x="T8" y="T9"/>
                    </a:cxn>
                  </a:cxnLst>
                  <a:rect l="0" t="0" r="r" b="b"/>
                  <a:pathLst>
                    <a:path w="49" h="53">
                      <a:moveTo>
                        <a:pt x="12" y="53"/>
                      </a:moveTo>
                      <a:cubicBezTo>
                        <a:pt x="49" y="51"/>
                        <a:pt x="49" y="51"/>
                        <a:pt x="49" y="51"/>
                      </a:cubicBezTo>
                      <a:cubicBezTo>
                        <a:pt x="47" y="32"/>
                        <a:pt x="40" y="14"/>
                        <a:pt x="27" y="0"/>
                      </a:cubicBezTo>
                      <a:cubicBezTo>
                        <a:pt x="0" y="24"/>
                        <a:pt x="0" y="24"/>
                        <a:pt x="0" y="24"/>
                      </a:cubicBezTo>
                      <a:cubicBezTo>
                        <a:pt x="7" y="32"/>
                        <a:pt x="11" y="43"/>
                        <a:pt x="12" y="53"/>
                      </a:cubicBez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grpSp>
              <p:nvGrpSpPr>
                <p:cNvPr id="110" name="Group 109"/>
                <p:cNvGrpSpPr/>
                <p:nvPr/>
              </p:nvGrpSpPr>
              <p:grpSpPr>
                <a:xfrm>
                  <a:off x="1621657" y="4397457"/>
                  <a:ext cx="1006705" cy="572448"/>
                  <a:chOff x="1621657" y="4397457"/>
                  <a:chExt cx="1006705" cy="572448"/>
                </a:xfrm>
              </p:grpSpPr>
              <p:sp>
                <p:nvSpPr>
                  <p:cNvPr id="101" name="Freeform 7"/>
                  <p:cNvSpPr>
                    <a:spLocks/>
                  </p:cNvSpPr>
                  <p:nvPr/>
                </p:nvSpPr>
                <p:spPr bwMode="auto">
                  <a:xfrm rot="18900000">
                    <a:off x="1621657" y="4424790"/>
                    <a:ext cx="302420" cy="280988"/>
                  </a:xfrm>
                  <a:custGeom>
                    <a:avLst/>
                    <a:gdLst>
                      <a:gd name="T0" fmla="*/ 53 w 53"/>
                      <a:gd name="T1" fmla="*/ 37 h 49"/>
                      <a:gd name="T2" fmla="*/ 51 w 53"/>
                      <a:gd name="T3" fmla="*/ 0 h 49"/>
                      <a:gd name="T4" fmla="*/ 0 w 53"/>
                      <a:gd name="T5" fmla="*/ 21 h 49"/>
                      <a:gd name="T6" fmla="*/ 24 w 53"/>
                      <a:gd name="T7" fmla="*/ 49 h 49"/>
                      <a:gd name="T8" fmla="*/ 53 w 53"/>
                      <a:gd name="T9" fmla="*/ 37 h 49"/>
                    </a:gdLst>
                    <a:ahLst/>
                    <a:cxnLst>
                      <a:cxn ang="0">
                        <a:pos x="T0" y="T1"/>
                      </a:cxn>
                      <a:cxn ang="0">
                        <a:pos x="T2" y="T3"/>
                      </a:cxn>
                      <a:cxn ang="0">
                        <a:pos x="T4" y="T5"/>
                      </a:cxn>
                      <a:cxn ang="0">
                        <a:pos x="T6" y="T7"/>
                      </a:cxn>
                      <a:cxn ang="0">
                        <a:pos x="T8" y="T9"/>
                      </a:cxn>
                    </a:cxnLst>
                    <a:rect l="0" t="0" r="r" b="b"/>
                    <a:pathLst>
                      <a:path w="53" h="49">
                        <a:moveTo>
                          <a:pt x="53" y="37"/>
                        </a:moveTo>
                        <a:cubicBezTo>
                          <a:pt x="51" y="0"/>
                          <a:pt x="51" y="0"/>
                          <a:pt x="51" y="0"/>
                        </a:cubicBezTo>
                        <a:cubicBezTo>
                          <a:pt x="32" y="1"/>
                          <a:pt x="14" y="9"/>
                          <a:pt x="0" y="21"/>
                        </a:cubicBezTo>
                        <a:cubicBezTo>
                          <a:pt x="24" y="49"/>
                          <a:pt x="24" y="49"/>
                          <a:pt x="24" y="49"/>
                        </a:cubicBezTo>
                        <a:cubicBezTo>
                          <a:pt x="32" y="42"/>
                          <a:pt x="43" y="38"/>
                          <a:pt x="53" y="37"/>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102" name="Freeform 8"/>
                  <p:cNvSpPr>
                    <a:spLocks/>
                  </p:cNvSpPr>
                  <p:nvPr/>
                </p:nvSpPr>
                <p:spPr bwMode="auto">
                  <a:xfrm rot="18900000">
                    <a:off x="1637773" y="4667485"/>
                    <a:ext cx="278607" cy="302420"/>
                  </a:xfrm>
                  <a:custGeom>
                    <a:avLst/>
                    <a:gdLst>
                      <a:gd name="T0" fmla="*/ 48 w 49"/>
                      <a:gd name="T1" fmla="*/ 23 h 53"/>
                      <a:gd name="T2" fmla="*/ 21 w 49"/>
                      <a:gd name="T3" fmla="*/ 0 h 53"/>
                      <a:gd name="T4" fmla="*/ 0 w 49"/>
                      <a:gd name="T5" fmla="*/ 51 h 53"/>
                      <a:gd name="T6" fmla="*/ 37 w 49"/>
                      <a:gd name="T7" fmla="*/ 53 h 53"/>
                      <a:gd name="T8" fmla="*/ 49 w 49"/>
                      <a:gd name="T9" fmla="*/ 24 h 53"/>
                      <a:gd name="T10" fmla="*/ 48 w 49"/>
                      <a:gd name="T11" fmla="*/ 23 h 53"/>
                    </a:gdLst>
                    <a:ahLst/>
                    <a:cxnLst>
                      <a:cxn ang="0">
                        <a:pos x="T0" y="T1"/>
                      </a:cxn>
                      <a:cxn ang="0">
                        <a:pos x="T2" y="T3"/>
                      </a:cxn>
                      <a:cxn ang="0">
                        <a:pos x="T4" y="T5"/>
                      </a:cxn>
                      <a:cxn ang="0">
                        <a:pos x="T6" y="T7"/>
                      </a:cxn>
                      <a:cxn ang="0">
                        <a:pos x="T8" y="T9"/>
                      </a:cxn>
                      <a:cxn ang="0">
                        <a:pos x="T10" y="T11"/>
                      </a:cxn>
                    </a:cxnLst>
                    <a:rect l="0" t="0" r="r" b="b"/>
                    <a:pathLst>
                      <a:path w="49" h="53">
                        <a:moveTo>
                          <a:pt x="48" y="23"/>
                        </a:moveTo>
                        <a:cubicBezTo>
                          <a:pt x="21" y="0"/>
                          <a:pt x="21" y="0"/>
                          <a:pt x="21" y="0"/>
                        </a:cubicBezTo>
                        <a:cubicBezTo>
                          <a:pt x="8" y="14"/>
                          <a:pt x="1" y="32"/>
                          <a:pt x="0" y="51"/>
                        </a:cubicBezTo>
                        <a:cubicBezTo>
                          <a:pt x="37" y="53"/>
                          <a:pt x="37" y="53"/>
                          <a:pt x="37" y="53"/>
                        </a:cubicBezTo>
                        <a:cubicBezTo>
                          <a:pt x="38" y="42"/>
                          <a:pt x="42" y="32"/>
                          <a:pt x="49" y="24"/>
                        </a:cubicBezTo>
                        <a:cubicBezTo>
                          <a:pt x="48" y="23"/>
                          <a:pt x="48" y="23"/>
                          <a:pt x="48" y="2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132" name="Freeform 131"/>
                  <p:cNvSpPr>
                    <a:spLocks/>
                  </p:cNvSpPr>
                  <p:nvPr/>
                </p:nvSpPr>
                <p:spPr bwMode="auto">
                  <a:xfrm rot="18900000">
                    <a:off x="2155256" y="4397457"/>
                    <a:ext cx="473106" cy="380327"/>
                  </a:xfrm>
                  <a:custGeom>
                    <a:avLst/>
                    <a:gdLst>
                      <a:gd name="connsiteX0" fmla="*/ 42335 w 473106"/>
                      <a:gd name="connsiteY0" fmla="*/ 21859 h 380327"/>
                      <a:gd name="connsiteX1" fmla="*/ 61057 w 473106"/>
                      <a:gd name="connsiteY1" fmla="*/ 49049 h 380327"/>
                      <a:gd name="connsiteX2" fmla="*/ 64322 w 473106"/>
                      <a:gd name="connsiteY2" fmla="*/ 64322 h 380327"/>
                      <a:gd name="connsiteX3" fmla="*/ 0 w 473106"/>
                      <a:gd name="connsiteY3" fmla="*/ 0 h 380327"/>
                      <a:gd name="connsiteX4" fmla="*/ 15056 w 473106"/>
                      <a:gd name="connsiteY4" fmla="*/ 3198 h 380327"/>
                      <a:gd name="connsiteX5" fmla="*/ 42335 w 473106"/>
                      <a:gd name="connsiteY5" fmla="*/ 21859 h 380327"/>
                      <a:gd name="connsiteX6" fmla="*/ 473106 w 473106"/>
                      <a:gd name="connsiteY6" fmla="*/ 104320 h 380327"/>
                      <a:gd name="connsiteX7" fmla="*/ 376111 w 473106"/>
                      <a:gd name="connsiteY7" fmla="*/ 371609 h 380327"/>
                      <a:gd name="connsiteX8" fmla="*/ 380327 w 473106"/>
                      <a:gd name="connsiteY8" fmla="*/ 380327 h 380327"/>
                      <a:gd name="connsiteX9" fmla="*/ 222557 w 473106"/>
                      <a:gd name="connsiteY9" fmla="*/ 222557 h 380327"/>
                      <a:gd name="connsiteX10" fmla="*/ 248449 w 473106"/>
                      <a:gd name="connsiteY10" fmla="*/ 160479 h 380327"/>
                      <a:gd name="connsiteX11" fmla="*/ 262000 w 473106"/>
                      <a:gd name="connsiteY11" fmla="*/ 92946 h 380327"/>
                      <a:gd name="connsiteX12" fmla="*/ 473106 w 473106"/>
                      <a:gd name="connsiteY12" fmla="*/ 104320 h 380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3106" h="380327">
                        <a:moveTo>
                          <a:pt x="42335" y="21859"/>
                        </a:moveTo>
                        <a:cubicBezTo>
                          <a:pt x="50181" y="29678"/>
                          <a:pt x="56599" y="38919"/>
                          <a:pt x="61057" y="49049"/>
                        </a:cubicBezTo>
                        <a:lnTo>
                          <a:pt x="64322" y="64322"/>
                        </a:lnTo>
                        <a:lnTo>
                          <a:pt x="0" y="0"/>
                        </a:lnTo>
                        <a:lnTo>
                          <a:pt x="15056" y="3198"/>
                        </a:lnTo>
                        <a:cubicBezTo>
                          <a:pt x="25218" y="7641"/>
                          <a:pt x="34490" y="14039"/>
                          <a:pt x="42335" y="21859"/>
                        </a:cubicBezTo>
                        <a:close/>
                        <a:moveTo>
                          <a:pt x="473106" y="104320"/>
                        </a:moveTo>
                        <a:cubicBezTo>
                          <a:pt x="467401" y="200999"/>
                          <a:pt x="433167" y="297678"/>
                          <a:pt x="376111" y="371609"/>
                        </a:cubicBezTo>
                        <a:lnTo>
                          <a:pt x="380327" y="380327"/>
                        </a:lnTo>
                        <a:lnTo>
                          <a:pt x="222557" y="222557"/>
                        </a:lnTo>
                        <a:lnTo>
                          <a:pt x="248449" y="160479"/>
                        </a:lnTo>
                        <a:cubicBezTo>
                          <a:pt x="254868" y="138442"/>
                          <a:pt x="259147" y="115694"/>
                          <a:pt x="262000" y="92946"/>
                        </a:cubicBezTo>
                        <a:cubicBezTo>
                          <a:pt x="262000" y="92946"/>
                          <a:pt x="262000" y="92946"/>
                          <a:pt x="473106" y="104320"/>
                        </a:cubicBezTo>
                        <a:close/>
                      </a:path>
                    </a:pathLst>
                  </a:custGeom>
                  <a:solidFill>
                    <a:srgbClr val="0088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IN">
                      <a:solidFill>
                        <a:srgbClr val="000000"/>
                      </a:solidFill>
                    </a:endParaRPr>
                  </a:p>
                </p:txBody>
              </p:sp>
              <p:sp>
                <p:nvSpPr>
                  <p:cNvPr id="131" name="Freeform 130"/>
                  <p:cNvSpPr>
                    <a:spLocks/>
                  </p:cNvSpPr>
                  <p:nvPr/>
                </p:nvSpPr>
                <p:spPr bwMode="auto">
                  <a:xfrm rot="19008074">
                    <a:off x="2111413" y="4447007"/>
                    <a:ext cx="491469" cy="477708"/>
                  </a:xfrm>
                  <a:custGeom>
                    <a:avLst/>
                    <a:gdLst>
                      <a:gd name="connsiteX0" fmla="*/ 145492 w 491469"/>
                      <a:gd name="connsiteY0" fmla="*/ 25592 h 477708"/>
                      <a:gd name="connsiteX1" fmla="*/ 171167 w 491469"/>
                      <a:gd name="connsiteY1" fmla="*/ 85305 h 477708"/>
                      <a:gd name="connsiteX2" fmla="*/ 325218 w 491469"/>
                      <a:gd name="connsiteY2" fmla="*/ 227480 h 477708"/>
                      <a:gd name="connsiteX3" fmla="*/ 325539 w 491469"/>
                      <a:gd name="connsiteY3" fmla="*/ 226709 h 477708"/>
                      <a:gd name="connsiteX4" fmla="*/ 484040 w 491469"/>
                      <a:gd name="connsiteY4" fmla="*/ 385210 h 477708"/>
                      <a:gd name="connsiteX5" fmla="*/ 488807 w 491469"/>
                      <a:gd name="connsiteY5" fmla="*/ 395069 h 477708"/>
                      <a:gd name="connsiteX6" fmla="*/ 473563 w 491469"/>
                      <a:gd name="connsiteY6" fmla="*/ 460647 h 477708"/>
                      <a:gd name="connsiteX7" fmla="*/ 387979 w 491469"/>
                      <a:gd name="connsiteY7" fmla="*/ 460647 h 477708"/>
                      <a:gd name="connsiteX8" fmla="*/ 85584 w 491469"/>
                      <a:gd name="connsiteY8" fmla="*/ 170610 h 477708"/>
                      <a:gd name="connsiteX9" fmla="*/ 0 w 491469"/>
                      <a:gd name="connsiteY9" fmla="*/ 85305 h 477708"/>
                      <a:gd name="connsiteX10" fmla="*/ 85584 w 491469"/>
                      <a:gd name="connsiteY10" fmla="*/ 0 h 477708"/>
                      <a:gd name="connsiteX11" fmla="*/ 145492 w 491469"/>
                      <a:gd name="connsiteY11" fmla="*/ 25592 h 477708"/>
                      <a:gd name="connsiteX0" fmla="*/ 145492 w 491469"/>
                      <a:gd name="connsiteY0" fmla="*/ 25592 h 477708"/>
                      <a:gd name="connsiteX1" fmla="*/ 171167 w 491469"/>
                      <a:gd name="connsiteY1" fmla="*/ 85305 h 477708"/>
                      <a:gd name="connsiteX2" fmla="*/ 325218 w 491469"/>
                      <a:gd name="connsiteY2" fmla="*/ 227480 h 477708"/>
                      <a:gd name="connsiteX3" fmla="*/ 484040 w 491469"/>
                      <a:gd name="connsiteY3" fmla="*/ 385210 h 477708"/>
                      <a:gd name="connsiteX4" fmla="*/ 488807 w 491469"/>
                      <a:gd name="connsiteY4" fmla="*/ 395069 h 477708"/>
                      <a:gd name="connsiteX5" fmla="*/ 473563 w 491469"/>
                      <a:gd name="connsiteY5" fmla="*/ 460647 h 477708"/>
                      <a:gd name="connsiteX6" fmla="*/ 387979 w 491469"/>
                      <a:gd name="connsiteY6" fmla="*/ 460647 h 477708"/>
                      <a:gd name="connsiteX7" fmla="*/ 85584 w 491469"/>
                      <a:gd name="connsiteY7" fmla="*/ 170610 h 477708"/>
                      <a:gd name="connsiteX8" fmla="*/ 0 w 491469"/>
                      <a:gd name="connsiteY8" fmla="*/ 85305 h 477708"/>
                      <a:gd name="connsiteX9" fmla="*/ 85584 w 491469"/>
                      <a:gd name="connsiteY9" fmla="*/ 0 h 477708"/>
                      <a:gd name="connsiteX10" fmla="*/ 145492 w 491469"/>
                      <a:gd name="connsiteY10" fmla="*/ 25592 h 477708"/>
                      <a:gd name="connsiteX0" fmla="*/ 145492 w 491469"/>
                      <a:gd name="connsiteY0" fmla="*/ 25592 h 477708"/>
                      <a:gd name="connsiteX1" fmla="*/ 171167 w 491469"/>
                      <a:gd name="connsiteY1" fmla="*/ 85305 h 477708"/>
                      <a:gd name="connsiteX2" fmla="*/ 484040 w 491469"/>
                      <a:gd name="connsiteY2" fmla="*/ 385210 h 477708"/>
                      <a:gd name="connsiteX3" fmla="*/ 488807 w 491469"/>
                      <a:gd name="connsiteY3" fmla="*/ 395069 h 477708"/>
                      <a:gd name="connsiteX4" fmla="*/ 473563 w 491469"/>
                      <a:gd name="connsiteY4" fmla="*/ 460647 h 477708"/>
                      <a:gd name="connsiteX5" fmla="*/ 387979 w 491469"/>
                      <a:gd name="connsiteY5" fmla="*/ 460647 h 477708"/>
                      <a:gd name="connsiteX6" fmla="*/ 85584 w 491469"/>
                      <a:gd name="connsiteY6" fmla="*/ 170610 h 477708"/>
                      <a:gd name="connsiteX7" fmla="*/ 0 w 491469"/>
                      <a:gd name="connsiteY7" fmla="*/ 85305 h 477708"/>
                      <a:gd name="connsiteX8" fmla="*/ 85584 w 491469"/>
                      <a:gd name="connsiteY8" fmla="*/ 0 h 477708"/>
                      <a:gd name="connsiteX9" fmla="*/ 145492 w 491469"/>
                      <a:gd name="connsiteY9" fmla="*/ 25592 h 477708"/>
                      <a:gd name="connsiteX0" fmla="*/ 145492 w 491469"/>
                      <a:gd name="connsiteY0" fmla="*/ 25592 h 477708"/>
                      <a:gd name="connsiteX1" fmla="*/ 171167 w 491469"/>
                      <a:gd name="connsiteY1" fmla="*/ 85305 h 477708"/>
                      <a:gd name="connsiteX2" fmla="*/ 488807 w 491469"/>
                      <a:gd name="connsiteY2" fmla="*/ 395069 h 477708"/>
                      <a:gd name="connsiteX3" fmla="*/ 473563 w 491469"/>
                      <a:gd name="connsiteY3" fmla="*/ 460647 h 477708"/>
                      <a:gd name="connsiteX4" fmla="*/ 387979 w 491469"/>
                      <a:gd name="connsiteY4" fmla="*/ 460647 h 477708"/>
                      <a:gd name="connsiteX5" fmla="*/ 85584 w 491469"/>
                      <a:gd name="connsiteY5" fmla="*/ 170610 h 477708"/>
                      <a:gd name="connsiteX6" fmla="*/ 0 w 491469"/>
                      <a:gd name="connsiteY6" fmla="*/ 85305 h 477708"/>
                      <a:gd name="connsiteX7" fmla="*/ 85584 w 491469"/>
                      <a:gd name="connsiteY7" fmla="*/ 0 h 477708"/>
                      <a:gd name="connsiteX8" fmla="*/ 145492 w 491469"/>
                      <a:gd name="connsiteY8" fmla="*/ 25592 h 477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1469" h="477708">
                        <a:moveTo>
                          <a:pt x="145492" y="25592"/>
                        </a:moveTo>
                        <a:cubicBezTo>
                          <a:pt x="161183" y="41231"/>
                          <a:pt x="171167" y="62557"/>
                          <a:pt x="171167" y="85305"/>
                        </a:cubicBezTo>
                        <a:lnTo>
                          <a:pt x="488807" y="395069"/>
                        </a:lnTo>
                        <a:cubicBezTo>
                          <a:pt x="494959" y="416928"/>
                          <a:pt x="490679" y="443586"/>
                          <a:pt x="473563" y="460647"/>
                        </a:cubicBezTo>
                        <a:cubicBezTo>
                          <a:pt x="450740" y="483395"/>
                          <a:pt x="410801" y="483395"/>
                          <a:pt x="387979" y="460647"/>
                        </a:cubicBezTo>
                        <a:lnTo>
                          <a:pt x="85584" y="170610"/>
                        </a:lnTo>
                        <a:cubicBezTo>
                          <a:pt x="39939" y="170610"/>
                          <a:pt x="0" y="136488"/>
                          <a:pt x="0" y="85305"/>
                        </a:cubicBezTo>
                        <a:cubicBezTo>
                          <a:pt x="0" y="39809"/>
                          <a:pt x="39939" y="0"/>
                          <a:pt x="85584" y="0"/>
                        </a:cubicBezTo>
                        <a:cubicBezTo>
                          <a:pt x="108406" y="0"/>
                          <a:pt x="129802" y="9952"/>
                          <a:pt x="145492" y="25592"/>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IN">
                      <a:solidFill>
                        <a:srgbClr val="000000"/>
                      </a:solidFill>
                    </a:endParaRPr>
                  </a:p>
                </p:txBody>
              </p:sp>
            </p:grpSp>
          </p:grpSp>
          <p:sp>
            <p:nvSpPr>
              <p:cNvPr id="144" name="Freeform 143"/>
              <p:cNvSpPr/>
              <p:nvPr/>
            </p:nvSpPr>
            <p:spPr bwMode="auto">
              <a:xfrm>
                <a:off x="1791732" y="4041568"/>
                <a:ext cx="1051224" cy="1356389"/>
              </a:xfrm>
              <a:custGeom>
                <a:avLst/>
                <a:gdLst>
                  <a:gd name="connsiteX0" fmla="*/ 623876 w 1051224"/>
                  <a:gd name="connsiteY0" fmla="*/ 0 h 1356389"/>
                  <a:gd name="connsiteX1" fmla="*/ 739413 w 1051224"/>
                  <a:gd name="connsiteY1" fmla="*/ 62711 h 1356389"/>
                  <a:gd name="connsiteX2" fmla="*/ 1051224 w 1051224"/>
                  <a:gd name="connsiteY2" fmla="*/ 649158 h 1356389"/>
                  <a:gd name="connsiteX3" fmla="*/ 343993 w 1051224"/>
                  <a:gd name="connsiteY3" fmla="*/ 1356389 h 1356389"/>
                  <a:gd name="connsiteX4" fmla="*/ 68707 w 1051224"/>
                  <a:gd name="connsiteY4" fmla="*/ 1300812 h 1356389"/>
                  <a:gd name="connsiteX5" fmla="*/ 0 w 1051224"/>
                  <a:gd name="connsiteY5" fmla="*/ 1263518 h 1356389"/>
                  <a:gd name="connsiteX6" fmla="*/ 46310 w 1051224"/>
                  <a:gd name="connsiteY6" fmla="*/ 1169727 h 1356389"/>
                  <a:gd name="connsiteX7" fmla="*/ 109576 w 1051224"/>
                  <a:gd name="connsiteY7" fmla="*/ 1204067 h 1356389"/>
                  <a:gd name="connsiteX8" fmla="*/ 343993 w 1051224"/>
                  <a:gd name="connsiteY8" fmla="*/ 1251393 h 1356389"/>
                  <a:gd name="connsiteX9" fmla="*/ 946228 w 1051224"/>
                  <a:gd name="connsiteY9" fmla="*/ 649158 h 1356389"/>
                  <a:gd name="connsiteX10" fmla="*/ 578410 w 1051224"/>
                  <a:gd name="connsiteY10" fmla="*/ 94250 h 1356389"/>
                  <a:gd name="connsiteX11" fmla="*/ 577481 w 1051224"/>
                  <a:gd name="connsiteY11" fmla="*/ 93961 h 1356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51224" h="1356389">
                    <a:moveTo>
                      <a:pt x="623876" y="0"/>
                    </a:moveTo>
                    <a:lnTo>
                      <a:pt x="739413" y="62711"/>
                    </a:lnTo>
                    <a:cubicBezTo>
                      <a:pt x="927537" y="189806"/>
                      <a:pt x="1051224" y="405038"/>
                      <a:pt x="1051224" y="649158"/>
                    </a:cubicBezTo>
                    <a:cubicBezTo>
                      <a:pt x="1051224" y="1039751"/>
                      <a:pt x="734586" y="1356389"/>
                      <a:pt x="343993" y="1356389"/>
                    </a:cubicBezTo>
                    <a:cubicBezTo>
                      <a:pt x="246345" y="1356389"/>
                      <a:pt x="153319" y="1336599"/>
                      <a:pt x="68707" y="1300812"/>
                    </a:cubicBezTo>
                    <a:lnTo>
                      <a:pt x="0" y="1263518"/>
                    </a:lnTo>
                    <a:lnTo>
                      <a:pt x="46310" y="1169727"/>
                    </a:lnTo>
                    <a:lnTo>
                      <a:pt x="109576" y="1204067"/>
                    </a:lnTo>
                    <a:cubicBezTo>
                      <a:pt x="181627" y="1234541"/>
                      <a:pt x="260842" y="1251393"/>
                      <a:pt x="343993" y="1251393"/>
                    </a:cubicBezTo>
                    <a:cubicBezTo>
                      <a:pt x="676598" y="1251393"/>
                      <a:pt x="946228" y="981763"/>
                      <a:pt x="946228" y="649158"/>
                    </a:cubicBezTo>
                    <a:cubicBezTo>
                      <a:pt x="946228" y="399705"/>
                      <a:pt x="794561" y="185674"/>
                      <a:pt x="578410" y="94250"/>
                    </a:cubicBezTo>
                    <a:lnTo>
                      <a:pt x="577481" y="9396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a:lnSpc>
                    <a:spcPct val="90000"/>
                  </a:lnSpc>
                  <a:buFont typeface="Wingdings 3" panose="05040102010807070707" pitchFamily="18" charset="2"/>
                  <a:buChar char="Æ"/>
                </a:pPr>
                <a:endParaRPr lang="en-IN" sz="2000" b="1" dirty="0" err="1" smtClean="0">
                  <a:solidFill>
                    <a:srgbClr val="FFFFFF"/>
                  </a:solidFill>
                  <a:latin typeface="Segoe UI Light"/>
                  <a:ea typeface="Segoe UI" pitchFamily="34" charset="0"/>
                  <a:cs typeface="Segoe UI" pitchFamily="34" charset="0"/>
                </a:endParaRPr>
              </a:p>
            </p:txBody>
          </p:sp>
        </p:grpSp>
      </p:grpSp>
      <p:grpSp>
        <p:nvGrpSpPr>
          <p:cNvPr id="4" name="Group 3"/>
          <p:cNvGrpSpPr/>
          <p:nvPr/>
        </p:nvGrpSpPr>
        <p:grpSpPr>
          <a:xfrm>
            <a:off x="7929726" y="2126069"/>
            <a:ext cx="3657600" cy="3657600"/>
            <a:chOff x="7929726" y="2126069"/>
            <a:chExt cx="3657600" cy="3657600"/>
          </a:xfrm>
        </p:grpSpPr>
        <p:sp>
          <p:nvSpPr>
            <p:cNvPr id="25" name="TextBox 24"/>
            <p:cNvSpPr txBox="1"/>
            <p:nvPr/>
          </p:nvSpPr>
          <p:spPr>
            <a:xfrm>
              <a:off x="7929726" y="2126069"/>
              <a:ext cx="3657600" cy="3657600"/>
            </a:xfrm>
            <a:prstGeom prst="rect">
              <a:avLst/>
            </a:prstGeom>
            <a:solidFill>
              <a:schemeClr val="accent1"/>
            </a:solidFill>
          </p:spPr>
          <p:txBody>
            <a:bodyPr wrap="square" lIns="182880" tIns="146304" rIns="182880" bIns="146304" rtlCol="0">
              <a:noAutofit/>
            </a:bodyPr>
            <a:lstStyle/>
            <a:p>
              <a:pPr defTabSz="932688">
                <a:lnSpc>
                  <a:spcPct val="90000"/>
                </a:lnSpc>
              </a:pPr>
              <a:r>
                <a:rPr lang="en-US" sz="4000" spc="-30" dirty="0" err="1" smtClean="0">
                  <a:gradFill>
                    <a:gsLst>
                      <a:gs pos="77483">
                        <a:srgbClr val="FFFFFF"/>
                      </a:gs>
                      <a:gs pos="62252">
                        <a:srgbClr val="FFFFFF"/>
                      </a:gs>
                    </a:gsLst>
                    <a:lin ang="5400000" scaled="0"/>
                  </a:gradFill>
                  <a:latin typeface="Segoe UI Light"/>
                </a:rPr>
                <a:t>Scénarios</a:t>
              </a:r>
              <a:r>
                <a:rPr lang="en-US" sz="4000" spc="-30" dirty="0" smtClean="0">
                  <a:gradFill>
                    <a:gsLst>
                      <a:gs pos="77483">
                        <a:srgbClr val="FFFFFF"/>
                      </a:gs>
                      <a:gs pos="62252">
                        <a:srgbClr val="FFFFFF"/>
                      </a:gs>
                    </a:gsLst>
                    <a:lin ang="5400000" scaled="0"/>
                  </a:gradFill>
                  <a:latin typeface="Segoe UI Light"/>
                </a:rPr>
                <a:t> </a:t>
              </a:r>
              <a:r>
                <a:rPr lang="en-US" sz="4000" spc="-30" dirty="0" err="1" smtClean="0">
                  <a:gradFill>
                    <a:gsLst>
                      <a:gs pos="77483">
                        <a:srgbClr val="FFFFFF"/>
                      </a:gs>
                      <a:gs pos="62252">
                        <a:srgbClr val="FFFFFF"/>
                      </a:gs>
                    </a:gsLst>
                    <a:lin ang="5400000" scaled="0"/>
                  </a:gradFill>
                  <a:latin typeface="Segoe UI Light"/>
                </a:rPr>
                <a:t>hybrides</a:t>
              </a:r>
              <a:endParaRPr lang="en-US" sz="4000" spc="-30" dirty="0">
                <a:gradFill>
                  <a:gsLst>
                    <a:gs pos="77483">
                      <a:srgbClr val="FFFFFF"/>
                    </a:gs>
                    <a:gs pos="62252">
                      <a:srgbClr val="FFFFFF"/>
                    </a:gs>
                  </a:gsLst>
                  <a:lin ang="5400000" scaled="0"/>
                </a:gradFill>
                <a:latin typeface="Segoe UI Light"/>
              </a:endParaRPr>
            </a:p>
          </p:txBody>
        </p:sp>
        <p:grpSp>
          <p:nvGrpSpPr>
            <p:cNvPr id="3" name="Group 2"/>
            <p:cNvGrpSpPr/>
            <p:nvPr/>
          </p:nvGrpSpPr>
          <p:grpSpPr>
            <a:xfrm>
              <a:off x="8512352" y="3954868"/>
              <a:ext cx="2540882" cy="1594241"/>
              <a:chOff x="8512352" y="3954868"/>
              <a:chExt cx="2540882" cy="1594241"/>
            </a:xfrm>
          </p:grpSpPr>
          <p:sp>
            <p:nvSpPr>
              <p:cNvPr id="119" name="Freeform 118"/>
              <p:cNvSpPr/>
              <p:nvPr/>
            </p:nvSpPr>
            <p:spPr bwMode="auto">
              <a:xfrm>
                <a:off x="8512352" y="3954868"/>
                <a:ext cx="2540882" cy="1594241"/>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chemeClr val="bg1">
                  <a:alpha val="2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pPr>
                <a:endParaRPr lang="en-IN" sz="2000" b="1" dirty="0" smtClean="0">
                  <a:solidFill>
                    <a:srgbClr val="FFFFFF"/>
                  </a:solidFill>
                  <a:latin typeface="Segoe UI Light"/>
                  <a:ea typeface="Segoe UI" pitchFamily="34" charset="0"/>
                  <a:cs typeface="Segoe UI" pitchFamily="34" charset="0"/>
                </a:endParaRPr>
              </a:p>
            </p:txBody>
          </p:sp>
          <p:sp>
            <p:nvSpPr>
              <p:cNvPr id="120" name="Freeform 119"/>
              <p:cNvSpPr>
                <a:spLocks noChangeAspect="1"/>
              </p:cNvSpPr>
              <p:nvPr/>
            </p:nvSpPr>
            <p:spPr bwMode="auto">
              <a:xfrm>
                <a:off x="8887465" y="4250219"/>
                <a:ext cx="1787491" cy="1131942"/>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chemeClr val="bg1">
                  <a:alpha val="4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pPr>
                <a:endParaRPr lang="en-IN" sz="2000" b="1" dirty="0" smtClean="0">
                  <a:solidFill>
                    <a:srgbClr val="FFFFFF"/>
                  </a:solidFill>
                  <a:latin typeface="Segoe UI Light"/>
                  <a:ea typeface="Segoe UI" pitchFamily="34" charset="0"/>
                  <a:cs typeface="Segoe UI" pitchFamily="34" charset="0"/>
                </a:endParaRPr>
              </a:p>
            </p:txBody>
          </p:sp>
          <p:sp>
            <p:nvSpPr>
              <p:cNvPr id="121" name="Freeform 120"/>
              <p:cNvSpPr>
                <a:spLocks noChangeAspect="1"/>
              </p:cNvSpPr>
              <p:nvPr/>
            </p:nvSpPr>
            <p:spPr bwMode="auto">
              <a:xfrm>
                <a:off x="9217419" y="4491382"/>
                <a:ext cx="1130749" cy="716056"/>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chemeClr val="bg1">
                  <a:alpha val="3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pPr>
                <a:endParaRPr lang="en-IN" sz="2000" b="1" dirty="0" smtClean="0">
                  <a:solidFill>
                    <a:srgbClr val="FFFFFF"/>
                  </a:solidFill>
                  <a:latin typeface="Segoe UI Light"/>
                  <a:ea typeface="Segoe UI" pitchFamily="34" charset="0"/>
                  <a:cs typeface="Segoe UI" pitchFamily="34" charset="0"/>
                </a:endParaRPr>
              </a:p>
            </p:txBody>
          </p:sp>
          <p:sp>
            <p:nvSpPr>
              <p:cNvPr id="122" name="Freeform 121"/>
              <p:cNvSpPr>
                <a:spLocks noChangeAspect="1"/>
              </p:cNvSpPr>
              <p:nvPr/>
            </p:nvSpPr>
            <p:spPr bwMode="auto">
              <a:xfrm>
                <a:off x="9458905" y="4676098"/>
                <a:ext cx="647777" cy="410210"/>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chemeClr val="bg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pPr>
                <a:endParaRPr lang="en-IN" sz="2000" b="1" dirty="0" smtClean="0">
                  <a:solidFill>
                    <a:srgbClr val="FFFFFF"/>
                  </a:solidFill>
                  <a:latin typeface="Segoe UI Light"/>
                  <a:ea typeface="Segoe UI" pitchFamily="34" charset="0"/>
                  <a:cs typeface="Segoe UI" pitchFamily="34" charset="0"/>
                </a:endParaRPr>
              </a:p>
            </p:txBody>
          </p:sp>
        </p:grpSp>
      </p:grpSp>
      <p:sp>
        <p:nvSpPr>
          <p:cNvPr id="5" name="Title 4"/>
          <p:cNvSpPr>
            <a:spLocks noGrp="1"/>
          </p:cNvSpPr>
          <p:nvPr>
            <p:ph type="title"/>
          </p:nvPr>
        </p:nvSpPr>
        <p:spPr/>
        <p:txBody>
          <a:bodyPr/>
          <a:lstStyle/>
          <a:p>
            <a:r>
              <a:rPr lang="fr-FR" dirty="0" smtClean="0"/>
              <a:t>SQL Server 2016</a:t>
            </a:r>
            <a:endParaRPr lang="fr-FR" dirty="0"/>
          </a:p>
        </p:txBody>
      </p:sp>
      <p:sp>
        <p:nvSpPr>
          <p:cNvPr id="8" name="Text Placeholder 7"/>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spTree>
    <p:extLst>
      <p:ext uri="{BB962C8B-B14F-4D97-AF65-F5344CB8AC3E}">
        <p14:creationId xmlns:p14="http://schemas.microsoft.com/office/powerpoint/2010/main" val="6515215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1000"/>
                                        <p:tgtEl>
                                          <p:spTgt spid="2"/>
                                        </p:tgtEl>
                                      </p:cBhvr>
                                    </p:animEffect>
                                    <p:set>
                                      <p:cBhvr>
                                        <p:cTn id="7" dur="1" fill="hold">
                                          <p:stCondLst>
                                            <p:cond delay="999"/>
                                          </p:stCondLst>
                                        </p:cTn>
                                        <p:tgtEl>
                                          <p:spTgt spid="2"/>
                                        </p:tgtEl>
                                        <p:attrNameLst>
                                          <p:attrName>style.visibility</p:attrName>
                                        </p:attrNameLst>
                                      </p:cBhvr>
                                      <p:to>
                                        <p:strVal val="hidden"/>
                                      </p:to>
                                    </p:set>
                                  </p:childTnLst>
                                </p:cTn>
                              </p:par>
                            </p:childTnLst>
                          </p:cTn>
                        </p:par>
                        <p:par>
                          <p:cTn id="8" fill="hold">
                            <p:stCondLst>
                              <p:cond delay="1000"/>
                            </p:stCondLst>
                            <p:childTnLst>
                              <p:par>
                                <p:cTn id="9" presetID="35" presetClass="path" presetSubtype="0" accel="50000" decel="50000" fill="hold" nodeType="afterEffect">
                                  <p:stCondLst>
                                    <p:cond delay="0"/>
                                  </p:stCondLst>
                                  <p:childTnLst>
                                    <p:animMotion origin="layout" path="M 3.37503E-6 4.5892E-6 L -0.60391 -0.00273 " pathEditMode="relative" rAng="0" ptsTypes="AA">
                                      <p:cBhvr>
                                        <p:cTn id="10" dur="2000" fill="hold"/>
                                        <p:tgtEl>
                                          <p:spTgt spid="4"/>
                                        </p:tgtEl>
                                        <p:attrNameLst>
                                          <p:attrName>ppt_x</p:attrName>
                                          <p:attrName>ppt_y</p:attrName>
                                        </p:attrNameLst>
                                      </p:cBhvr>
                                      <p:rCtr x="-30202" y="-13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nvPr>
        </p:nvGraphicFramePr>
        <p:xfrm>
          <a:off x="519213" y="4675166"/>
          <a:ext cx="3413009" cy="3902980"/>
        </p:xfrm>
        <a:graphic>
          <a:graphicData uri="http://schemas.openxmlformats.org/drawingml/2006/table">
            <a:tbl>
              <a:tblPr/>
              <a:tblGrid>
                <a:gridCol w="1370547">
                  <a:extLst>
                    <a:ext uri="{9D8B030D-6E8A-4147-A177-3AD203B41FA5}">
                      <a16:colId xmlns:a16="http://schemas.microsoft.com/office/drawing/2014/main" val="20000"/>
                    </a:ext>
                  </a:extLst>
                </a:gridCol>
                <a:gridCol w="1157551">
                  <a:extLst>
                    <a:ext uri="{9D8B030D-6E8A-4147-A177-3AD203B41FA5}">
                      <a16:colId xmlns:a16="http://schemas.microsoft.com/office/drawing/2014/main" val="20001"/>
                    </a:ext>
                  </a:extLst>
                </a:gridCol>
                <a:gridCol w="884911">
                  <a:extLst>
                    <a:ext uri="{9D8B030D-6E8A-4147-A177-3AD203B41FA5}">
                      <a16:colId xmlns:a16="http://schemas.microsoft.com/office/drawing/2014/main" val="20002"/>
                    </a:ext>
                  </a:extLst>
                </a:gridCol>
              </a:tblGrid>
              <a:tr h="339728">
                <a:tc>
                  <a:txBody>
                    <a:bodyPr/>
                    <a:lstStyle/>
                    <a:p>
                      <a:pPr algn="l" fontAlgn="b"/>
                      <a:r>
                        <a:rPr lang="en-US" sz="1400" b="0" i="0" u="none" strike="noStrike" dirty="0">
                          <a:solidFill>
                            <a:srgbClr val="FFFFFF"/>
                          </a:solidFill>
                          <a:effectLst/>
                          <a:latin typeface="Segoe UI" panose="020B0502040204020203" pitchFamily="34" charset="0"/>
                          <a:cs typeface="Segoe UI" panose="020B0502040204020203" pitchFamily="34" charset="0"/>
                        </a:rPr>
                        <a:t>Order </a:t>
                      </a:r>
                      <a:r>
                        <a:rPr lang="en-US" sz="1400" b="0" i="0" u="none" strike="noStrike" dirty="0" smtClean="0">
                          <a:solidFill>
                            <a:srgbClr val="FFFFFF"/>
                          </a:solidFill>
                          <a:effectLst/>
                          <a:latin typeface="Segoe UI" panose="020B0502040204020203" pitchFamily="34" charset="0"/>
                          <a:cs typeface="Segoe UI" panose="020B0502040204020203" pitchFamily="34" charset="0"/>
                        </a:rPr>
                        <a:t>history</a:t>
                      </a:r>
                      <a:endParaRPr lang="en-US" sz="1400" b="0" i="0" u="none" strike="noStrike" dirty="0">
                        <a:solidFill>
                          <a:srgbClr val="FFFFFF"/>
                        </a:solidFill>
                        <a:effectLst/>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accent1">
                        <a:lumMod val="50000"/>
                      </a:schemeClr>
                    </a:solidFill>
                  </a:tcPr>
                </a:tc>
                <a:tc>
                  <a:txBody>
                    <a:bodyPr/>
                    <a:lstStyle/>
                    <a:p>
                      <a:pPr algn="l" fontAlgn="b"/>
                      <a:r>
                        <a:rPr lang="en-US" sz="1200" b="0" i="0" u="none" strike="noStrike" dirty="0">
                          <a:solidFill>
                            <a:srgbClr val="000000"/>
                          </a:solidFill>
                          <a:effectLst/>
                          <a:latin typeface="Segoe UI" panose="020B0502040204020203" pitchFamily="34" charset="0"/>
                          <a:cs typeface="Segoe UI" panose="020B0502040204020203" pitchFamily="34" charset="0"/>
                        </a:rPr>
                        <a:t> </a:t>
                      </a:r>
                    </a:p>
                  </a:txBody>
                  <a:tcPr marT="13442" marB="0" anchor="ctr">
                    <a:lnL>
                      <a:noFill/>
                    </a:lnL>
                    <a:lnR>
                      <a:noFill/>
                    </a:lnR>
                    <a:lnT>
                      <a:noFill/>
                    </a:lnT>
                    <a:lnB>
                      <a:noFill/>
                    </a:lnB>
                    <a:solidFill>
                      <a:schemeClr val="accent1">
                        <a:lumMod val="50000"/>
                      </a:schemeClr>
                    </a:solidFill>
                  </a:tcPr>
                </a:tc>
                <a:tc>
                  <a:txBody>
                    <a:bodyPr/>
                    <a:lstStyle/>
                    <a:p>
                      <a:pPr algn="l" fontAlgn="b"/>
                      <a:r>
                        <a:rPr lang="en-US" sz="1200" b="0" i="0" u="none" strike="noStrike" dirty="0">
                          <a:solidFill>
                            <a:srgbClr val="000000"/>
                          </a:solidFill>
                          <a:effectLst/>
                          <a:latin typeface="Segoe UI" panose="020B0502040204020203" pitchFamily="34" charset="0"/>
                          <a:cs typeface="Segoe UI" panose="020B0502040204020203" pitchFamily="34" charset="0"/>
                        </a:rPr>
                        <a:t> </a:t>
                      </a:r>
                    </a:p>
                  </a:txBody>
                  <a:tcPr marT="13442" marB="0" anchor="ctr">
                    <a:lnL>
                      <a:noFill/>
                    </a:lnL>
                    <a:lnR>
                      <a:noFill/>
                    </a:lnR>
                    <a:lnT>
                      <a:noFill/>
                    </a:lnT>
                    <a:lnB>
                      <a:noFill/>
                    </a:lnB>
                    <a:solidFill>
                      <a:schemeClr val="accent1">
                        <a:lumMod val="50000"/>
                      </a:schemeClr>
                    </a:solidFill>
                  </a:tcPr>
                </a:tc>
                <a:extLst>
                  <a:ext uri="{0D108BD9-81ED-4DB2-BD59-A6C34878D82A}">
                    <a16:rowId xmlns:a16="http://schemas.microsoft.com/office/drawing/2014/main" val="10000"/>
                  </a:ext>
                </a:extLst>
              </a:tr>
              <a:tr h="254518">
                <a:tc>
                  <a:txBody>
                    <a:bodyPr/>
                    <a:lstStyle/>
                    <a:p>
                      <a:pPr algn="l" fontAlgn="b"/>
                      <a:r>
                        <a:rPr lang="en-US" sz="1200" b="0" i="0" u="sng" strike="noStrike" dirty="0" smtClean="0">
                          <a:solidFill>
                            <a:srgbClr val="000000"/>
                          </a:solidFill>
                          <a:effectLst/>
                          <a:latin typeface="Segoe UI" panose="020B0502040204020203" pitchFamily="34" charset="0"/>
                          <a:cs typeface="Segoe UI" panose="020B0502040204020203" pitchFamily="34" charset="0"/>
                        </a:rPr>
                        <a:t>Name</a:t>
                      </a:r>
                      <a:endParaRPr lang="en-US" sz="1200" b="0" i="0" u="sng" strike="noStrike" dirty="0">
                        <a:solidFill>
                          <a:srgbClr val="000000"/>
                        </a:solidFill>
                        <a:effectLst/>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tc>
                  <a:txBody>
                    <a:bodyPr/>
                    <a:lstStyle/>
                    <a:p>
                      <a:pPr algn="l" fontAlgn="b"/>
                      <a:r>
                        <a:rPr lang="en-US" sz="1200" b="0" i="0" u="none" strike="noStrike" dirty="0" smtClean="0">
                          <a:solidFill>
                            <a:srgbClr val="000000"/>
                          </a:solidFill>
                          <a:effectLst/>
                          <a:latin typeface="Segoe UI" panose="020B0502040204020203" pitchFamily="34" charset="0"/>
                          <a:cs typeface="Segoe UI" panose="020B0502040204020203" pitchFamily="34" charset="0"/>
                        </a:rPr>
                        <a:t> </a:t>
                      </a:r>
                      <a:r>
                        <a:rPr lang="en-US" sz="1200" b="0" i="0" u="sng" strike="noStrike" dirty="0" smtClean="0">
                          <a:solidFill>
                            <a:srgbClr val="000000"/>
                          </a:solidFill>
                          <a:effectLst/>
                          <a:latin typeface="Segoe UI" panose="020B0502040204020203" pitchFamily="34" charset="0"/>
                          <a:cs typeface="Segoe UI" panose="020B0502040204020203" pitchFamily="34" charset="0"/>
                        </a:rPr>
                        <a:t>SSN</a:t>
                      </a:r>
                      <a:endParaRPr lang="en-US" sz="1200" b="0" i="0" u="sng" strike="noStrike" dirty="0">
                        <a:solidFill>
                          <a:srgbClr val="000000"/>
                        </a:solidFill>
                        <a:effectLst/>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tc>
                  <a:txBody>
                    <a:bodyPr/>
                    <a:lstStyle/>
                    <a:p>
                      <a:pPr algn="l" fontAlgn="b"/>
                      <a:r>
                        <a:rPr lang="en-US" sz="1200" b="0" i="0" u="none" strike="noStrike" dirty="0" smtClean="0">
                          <a:solidFill>
                            <a:srgbClr val="000000"/>
                          </a:solidFill>
                          <a:effectLst/>
                          <a:latin typeface="Segoe UI" panose="020B0502040204020203" pitchFamily="34" charset="0"/>
                          <a:cs typeface="Segoe UI" panose="020B0502040204020203" pitchFamily="34" charset="0"/>
                        </a:rPr>
                        <a:t> </a:t>
                      </a:r>
                      <a:r>
                        <a:rPr lang="en-US" sz="1200" b="0" i="0" u="sng" strike="noStrike" dirty="0" smtClean="0">
                          <a:solidFill>
                            <a:srgbClr val="000000"/>
                          </a:solidFill>
                          <a:effectLst/>
                          <a:latin typeface="Segoe UI" panose="020B0502040204020203" pitchFamily="34" charset="0"/>
                          <a:cs typeface="Segoe UI" panose="020B0502040204020203" pitchFamily="34" charset="0"/>
                        </a:rPr>
                        <a:t>Date</a:t>
                      </a:r>
                      <a:endParaRPr lang="en-US" sz="1200" b="0" i="0" u="sng" strike="noStrike" dirty="0">
                        <a:solidFill>
                          <a:srgbClr val="000000"/>
                        </a:solidFill>
                        <a:effectLst/>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extLst>
                  <a:ext uri="{0D108BD9-81ED-4DB2-BD59-A6C34878D82A}">
                    <a16:rowId xmlns:a16="http://schemas.microsoft.com/office/drawing/2014/main" val="10001"/>
                  </a:ext>
                </a:extLst>
              </a:tr>
              <a:tr h="254518">
                <a:tc>
                  <a:txBody>
                    <a:bodyPr/>
                    <a:lstStyle/>
                    <a:p>
                      <a:pPr marL="0" marR="0" indent="0" algn="l" defTabSz="932597" rtl="0" eaLnBrk="1" fontAlgn="b" latinLnBrk="0" hangingPunct="1">
                        <a:lnSpc>
                          <a:spcPct val="100000"/>
                        </a:lnSpc>
                        <a:spcBef>
                          <a:spcPts val="0"/>
                        </a:spcBef>
                        <a:spcAft>
                          <a:spcPts val="0"/>
                        </a:spcAft>
                        <a:buClrTx/>
                        <a:buSzTx/>
                        <a:buFontTx/>
                        <a:buNone/>
                        <a:tabLst/>
                        <a:defRPr/>
                      </a:pPr>
                      <a:r>
                        <a:rPr lang="en-US" sz="1200" dirty="0" smtClean="0">
                          <a:solidFill>
                            <a:srgbClr val="000000"/>
                          </a:solidFill>
                          <a:latin typeface="Segoe UI" panose="020B0502040204020203" pitchFamily="34" charset="0"/>
                          <a:cs typeface="Segoe UI" panose="020B0502040204020203" pitchFamily="34" charset="0"/>
                        </a:rPr>
                        <a:t>Jane Doe</a:t>
                      </a:r>
                    </a:p>
                  </a:txBody>
                  <a:tcPr marT="13442" marB="0" anchor="ctr">
                    <a:lnL>
                      <a:noFill/>
                    </a:lnL>
                    <a:lnR>
                      <a:noFill/>
                    </a:lnR>
                    <a:lnT>
                      <a:noFill/>
                    </a:lnT>
                    <a:lnB>
                      <a:noFill/>
                    </a:lnB>
                    <a:solidFill>
                      <a:schemeClr val="bg1">
                        <a:lumMod val="95000"/>
                      </a:schemeClr>
                    </a:solidFill>
                  </a:tcPr>
                </a:tc>
                <a:tc>
                  <a:txBody>
                    <a:bodyPr/>
                    <a:lstStyle/>
                    <a:p>
                      <a:pPr algn="r" fontAlgn="b"/>
                      <a:r>
                        <a:rPr lang="en-US" sz="1200" dirty="0" smtClean="0">
                          <a:solidFill>
                            <a:srgbClr val="000000"/>
                          </a:solidFill>
                          <a:latin typeface="Segoe UI" panose="020B0502040204020203" pitchFamily="34" charset="0"/>
                          <a:cs typeface="Segoe UI" panose="020B0502040204020203" pitchFamily="34" charset="0"/>
                        </a:rPr>
                        <a:t>cm61ba906fd</a:t>
                      </a:r>
                      <a:endParaRPr lang="en-US" sz="1200" b="0" i="0" u="none" strike="noStrike" dirty="0">
                        <a:solidFill>
                          <a:srgbClr val="000000"/>
                        </a:solidFill>
                        <a:effectLst/>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tc>
                  <a:txBody>
                    <a:bodyPr/>
                    <a:lstStyle/>
                    <a:p>
                      <a:pPr algn="r" fontAlgn="b"/>
                      <a:r>
                        <a:rPr lang="en-US" sz="1200" dirty="0" smtClean="0">
                          <a:solidFill>
                            <a:srgbClr val="000000"/>
                          </a:solidFill>
                          <a:latin typeface="Segoe UI" panose="020B0502040204020203" pitchFamily="34" charset="0"/>
                          <a:cs typeface="Segoe UI" panose="020B0502040204020203" pitchFamily="34" charset="0"/>
                        </a:rPr>
                        <a:t>2/28/2005</a:t>
                      </a:r>
                    </a:p>
                  </a:txBody>
                  <a:tcPr marT="13442" marB="0" anchor="ctr">
                    <a:lnL>
                      <a:noFill/>
                    </a:lnL>
                    <a:lnR>
                      <a:noFill/>
                    </a:lnR>
                    <a:lnT>
                      <a:noFill/>
                    </a:lnT>
                    <a:lnB>
                      <a:noFill/>
                    </a:lnB>
                    <a:solidFill>
                      <a:schemeClr val="bg1">
                        <a:lumMod val="95000"/>
                      </a:schemeClr>
                    </a:solidFill>
                  </a:tcPr>
                </a:tc>
                <a:extLst>
                  <a:ext uri="{0D108BD9-81ED-4DB2-BD59-A6C34878D82A}">
                    <a16:rowId xmlns:a16="http://schemas.microsoft.com/office/drawing/2014/main" val="10002"/>
                  </a:ext>
                </a:extLst>
              </a:tr>
              <a:tr h="254518">
                <a:tc>
                  <a:txBody>
                    <a:bodyPr/>
                    <a:lstStyle/>
                    <a:p>
                      <a:pPr algn="l" defTabSz="932384" fontAlgn="auto">
                        <a:spcBef>
                          <a:spcPts val="0"/>
                        </a:spcBef>
                        <a:spcAft>
                          <a:spcPts val="0"/>
                        </a:spcAft>
                      </a:pPr>
                      <a:r>
                        <a:rPr lang="en-US" sz="1200" dirty="0" smtClean="0">
                          <a:solidFill>
                            <a:srgbClr val="000000"/>
                          </a:solidFill>
                          <a:latin typeface="Segoe UI" panose="020B0502040204020203" pitchFamily="34" charset="0"/>
                          <a:cs typeface="Segoe UI" panose="020B0502040204020203" pitchFamily="34" charset="0"/>
                        </a:rPr>
                        <a:t>Jim Gray</a:t>
                      </a:r>
                      <a:endParaRPr lang="en-US" sz="1200" dirty="0">
                        <a:solidFill>
                          <a:srgbClr val="000000"/>
                        </a:solidFill>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tc>
                  <a:txBody>
                    <a:bodyPr/>
                    <a:lstStyle/>
                    <a:p>
                      <a:pPr algn="r" fontAlgn="b"/>
                      <a:r>
                        <a:rPr lang="en-US" sz="1200" dirty="0" smtClean="0">
                          <a:solidFill>
                            <a:srgbClr val="000000"/>
                          </a:solidFill>
                          <a:latin typeface="Segoe UI" panose="020B0502040204020203" pitchFamily="34" charset="0"/>
                          <a:cs typeface="Segoe UI" panose="020B0502040204020203" pitchFamily="34" charset="0"/>
                        </a:rPr>
                        <a:t>ox7ff654ae6d</a:t>
                      </a:r>
                      <a:endParaRPr lang="en-US" sz="1200" b="0" i="0" u="none" strike="noStrike" dirty="0">
                        <a:solidFill>
                          <a:srgbClr val="000000"/>
                        </a:solidFill>
                        <a:effectLst/>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tc>
                  <a:txBody>
                    <a:bodyPr/>
                    <a:lstStyle/>
                    <a:p>
                      <a:pPr algn="r" fontAlgn="b"/>
                      <a:r>
                        <a:rPr lang="en-US" sz="1200" dirty="0" smtClean="0">
                          <a:solidFill>
                            <a:srgbClr val="000000"/>
                          </a:solidFill>
                          <a:latin typeface="Segoe UI" panose="020B0502040204020203" pitchFamily="34" charset="0"/>
                          <a:cs typeface="Segoe UI" panose="020B0502040204020203" pitchFamily="34" charset="0"/>
                        </a:rPr>
                        <a:t>3/18/2005</a:t>
                      </a:r>
                      <a:endParaRPr lang="en-US" sz="1200" b="0" i="0" u="none" strike="noStrike" dirty="0">
                        <a:solidFill>
                          <a:srgbClr val="000000"/>
                        </a:solidFill>
                        <a:effectLst/>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extLst>
                  <a:ext uri="{0D108BD9-81ED-4DB2-BD59-A6C34878D82A}">
                    <a16:rowId xmlns:a16="http://schemas.microsoft.com/office/drawing/2014/main" val="10003"/>
                  </a:ext>
                </a:extLst>
              </a:tr>
              <a:tr h="254518">
                <a:tc>
                  <a:txBody>
                    <a:bodyPr/>
                    <a:lstStyle/>
                    <a:p>
                      <a:pPr defTabSz="932384" fontAlgn="auto">
                        <a:spcBef>
                          <a:spcPts val="0"/>
                        </a:spcBef>
                        <a:spcAft>
                          <a:spcPts val="0"/>
                        </a:spcAft>
                      </a:pPr>
                      <a:r>
                        <a:rPr lang="en-US" sz="1200" dirty="0" smtClean="0">
                          <a:solidFill>
                            <a:srgbClr val="000000"/>
                          </a:solidFill>
                          <a:latin typeface="Segoe UI" panose="020B0502040204020203" pitchFamily="34" charset="0"/>
                          <a:cs typeface="Segoe UI" panose="020B0502040204020203" pitchFamily="34" charset="0"/>
                        </a:rPr>
                        <a:t>John Smith</a:t>
                      </a:r>
                      <a:endParaRPr lang="en-US" sz="1200" dirty="0">
                        <a:solidFill>
                          <a:srgbClr val="000000"/>
                        </a:solidFill>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tc>
                  <a:txBody>
                    <a:bodyPr/>
                    <a:lstStyle/>
                    <a:p>
                      <a:pPr marL="0" marR="0" lvl="0" indent="0" algn="r" defTabSz="93238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Segoe UI" panose="020B0502040204020203" pitchFamily="34" charset="0"/>
                          <a:ea typeface="+mn-ea"/>
                          <a:cs typeface="Segoe UI" panose="020B0502040204020203" pitchFamily="34" charset="0"/>
                        </a:rPr>
                        <a:t>i2y36cg776rg</a:t>
                      </a:r>
                      <a:endParaRPr kumimoji="0" lang="en-US" sz="12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endParaRPr>
                    </a:p>
                  </a:txBody>
                  <a:tcPr marT="13442" marB="0" anchor="ctr">
                    <a:lnL>
                      <a:noFill/>
                    </a:lnL>
                    <a:lnR>
                      <a:noFill/>
                    </a:lnR>
                    <a:lnT>
                      <a:noFill/>
                    </a:lnT>
                    <a:lnB>
                      <a:noFill/>
                    </a:lnB>
                    <a:solidFill>
                      <a:schemeClr val="bg1">
                        <a:lumMod val="95000"/>
                      </a:schemeClr>
                    </a:solidFill>
                  </a:tcPr>
                </a:tc>
                <a:tc>
                  <a:txBody>
                    <a:bodyPr/>
                    <a:lstStyle/>
                    <a:p>
                      <a:pPr algn="r" fontAlgn="b"/>
                      <a:r>
                        <a:rPr lang="en-US" sz="1200" b="0" i="0" u="none" strike="noStrike" dirty="0" smtClean="0">
                          <a:solidFill>
                            <a:srgbClr val="000000"/>
                          </a:solidFill>
                          <a:effectLst/>
                          <a:latin typeface="Segoe UI" panose="020B0502040204020203" pitchFamily="34" charset="0"/>
                          <a:cs typeface="Segoe UI" panose="020B0502040204020203" pitchFamily="34" charset="0"/>
                        </a:rPr>
                        <a:t>4/10/2005</a:t>
                      </a:r>
                      <a:endParaRPr lang="en-US" sz="1200" b="0" i="0" u="none" strike="noStrike" dirty="0">
                        <a:solidFill>
                          <a:srgbClr val="000000"/>
                        </a:solidFill>
                        <a:effectLst/>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extLst>
                  <a:ext uri="{0D108BD9-81ED-4DB2-BD59-A6C34878D82A}">
                    <a16:rowId xmlns:a16="http://schemas.microsoft.com/office/drawing/2014/main" val="10004"/>
                  </a:ext>
                </a:extLst>
              </a:tr>
              <a:tr h="254518">
                <a:tc>
                  <a:txBody>
                    <a:bodyPr/>
                    <a:lstStyle/>
                    <a:p>
                      <a:pPr defTabSz="932384" fontAlgn="auto">
                        <a:spcBef>
                          <a:spcPts val="0"/>
                        </a:spcBef>
                        <a:spcAft>
                          <a:spcPts val="0"/>
                        </a:spcAft>
                      </a:pPr>
                      <a:r>
                        <a:rPr lang="en-US" sz="1200" baseline="0" dirty="0" smtClean="0">
                          <a:solidFill>
                            <a:srgbClr val="000000"/>
                          </a:solidFill>
                          <a:latin typeface="Segoe UI" panose="020B0502040204020203" pitchFamily="34" charset="0"/>
                          <a:cs typeface="Segoe UI" panose="020B0502040204020203" pitchFamily="34" charset="0"/>
                        </a:rPr>
                        <a:t>Bill Brown</a:t>
                      </a:r>
                      <a:endParaRPr lang="en-US" sz="1200" dirty="0">
                        <a:solidFill>
                          <a:srgbClr val="000000"/>
                        </a:solidFill>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tc>
                  <a:txBody>
                    <a:bodyPr/>
                    <a:lstStyle/>
                    <a:p>
                      <a:pPr algn="r" fontAlgn="b"/>
                      <a:r>
                        <a:rPr lang="en-US" sz="1200" dirty="0" smtClean="0">
                          <a:solidFill>
                            <a:srgbClr val="000000"/>
                          </a:solidFill>
                          <a:latin typeface="Segoe UI" panose="020B0502040204020203" pitchFamily="34" charset="0"/>
                          <a:cs typeface="Segoe UI" panose="020B0502040204020203" pitchFamily="34" charset="0"/>
                        </a:rPr>
                        <a:t>nx290pldo90l</a:t>
                      </a:r>
                      <a:endParaRPr lang="en-US" sz="1200" b="0" i="0" u="none" strike="noStrike" dirty="0">
                        <a:solidFill>
                          <a:srgbClr val="000000"/>
                        </a:solidFill>
                        <a:effectLst/>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tc>
                  <a:txBody>
                    <a:bodyPr/>
                    <a:lstStyle/>
                    <a:p>
                      <a:pPr algn="r" fontAlgn="b"/>
                      <a:r>
                        <a:rPr lang="en-US" sz="1200" dirty="0" smtClean="0">
                          <a:solidFill>
                            <a:srgbClr val="000000"/>
                          </a:solidFill>
                          <a:latin typeface="Segoe UI" panose="020B0502040204020203" pitchFamily="34" charset="0"/>
                          <a:cs typeface="Segoe UI" panose="020B0502040204020203" pitchFamily="34" charset="0"/>
                        </a:rPr>
                        <a:t>4/27/2005</a:t>
                      </a:r>
                      <a:endParaRPr lang="en-US" sz="1200" b="0" i="0" u="none" strike="noStrike" dirty="0">
                        <a:solidFill>
                          <a:srgbClr val="000000"/>
                        </a:solidFill>
                        <a:effectLst/>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extLst>
                  <a:ext uri="{0D108BD9-81ED-4DB2-BD59-A6C34878D82A}">
                    <a16:rowId xmlns:a16="http://schemas.microsoft.com/office/drawing/2014/main" val="10005"/>
                  </a:ext>
                </a:extLst>
              </a:tr>
              <a:tr h="254518">
                <a:tc>
                  <a:txBody>
                    <a:bodyPr/>
                    <a:lstStyle/>
                    <a:p>
                      <a:pPr defTabSz="932384" fontAlgn="auto">
                        <a:spcBef>
                          <a:spcPts val="0"/>
                        </a:spcBef>
                        <a:spcAft>
                          <a:spcPts val="0"/>
                        </a:spcAft>
                      </a:pPr>
                      <a:r>
                        <a:rPr lang="en-US" sz="1200" dirty="0" smtClean="0">
                          <a:solidFill>
                            <a:srgbClr val="000000"/>
                          </a:solidFill>
                          <a:latin typeface="Segoe UI" panose="020B0502040204020203" pitchFamily="34" charset="0"/>
                          <a:cs typeface="Segoe UI" panose="020B0502040204020203" pitchFamily="34" charset="0"/>
                        </a:rPr>
                        <a:t>Sue</a:t>
                      </a:r>
                      <a:r>
                        <a:rPr lang="en-US" sz="1200" baseline="0" dirty="0" smtClean="0">
                          <a:solidFill>
                            <a:srgbClr val="000000"/>
                          </a:solidFill>
                          <a:latin typeface="Segoe UI" panose="020B0502040204020203" pitchFamily="34" charset="0"/>
                          <a:cs typeface="Segoe UI" panose="020B0502040204020203" pitchFamily="34" charset="0"/>
                        </a:rPr>
                        <a:t> Daniels</a:t>
                      </a:r>
                      <a:endParaRPr lang="en-US" sz="1200" dirty="0">
                        <a:solidFill>
                          <a:srgbClr val="000000"/>
                        </a:solidFill>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tc>
                  <a:txBody>
                    <a:bodyPr/>
                    <a:lstStyle/>
                    <a:p>
                      <a:pPr algn="r" fontAlgn="b"/>
                      <a:r>
                        <a:rPr lang="en-US" sz="1200" dirty="0" smtClean="0">
                          <a:solidFill>
                            <a:srgbClr val="000000"/>
                          </a:solidFill>
                          <a:latin typeface="Segoe UI" panose="020B0502040204020203" pitchFamily="34" charset="0"/>
                          <a:cs typeface="Segoe UI" panose="020B0502040204020203" pitchFamily="34" charset="0"/>
                        </a:rPr>
                        <a:t>ypo85ba616rj</a:t>
                      </a:r>
                      <a:endParaRPr lang="en-US" sz="1200" b="0" i="0" u="none" strike="noStrike" dirty="0">
                        <a:solidFill>
                          <a:srgbClr val="000000"/>
                        </a:solidFill>
                        <a:effectLst/>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tc>
                  <a:txBody>
                    <a:bodyPr/>
                    <a:lstStyle/>
                    <a:p>
                      <a:pPr algn="r" fontAlgn="b"/>
                      <a:r>
                        <a:rPr lang="en-US" sz="1200" dirty="0" smtClean="0">
                          <a:solidFill>
                            <a:srgbClr val="000000"/>
                          </a:solidFill>
                          <a:latin typeface="Segoe UI" panose="020B0502040204020203" pitchFamily="34" charset="0"/>
                          <a:cs typeface="Segoe UI" panose="020B0502040204020203" pitchFamily="34" charset="0"/>
                        </a:rPr>
                        <a:t>5/12/2005</a:t>
                      </a:r>
                      <a:endParaRPr lang="en-US" sz="1200" b="0" i="0" u="none" strike="noStrike" dirty="0">
                        <a:solidFill>
                          <a:srgbClr val="000000"/>
                        </a:solidFill>
                        <a:effectLst/>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extLst>
                  <a:ext uri="{0D108BD9-81ED-4DB2-BD59-A6C34878D82A}">
                    <a16:rowId xmlns:a16="http://schemas.microsoft.com/office/drawing/2014/main" val="10006"/>
                  </a:ext>
                </a:extLst>
              </a:tr>
              <a:tr h="254518">
                <a:tc>
                  <a:txBody>
                    <a:bodyPr/>
                    <a:lstStyle/>
                    <a:p>
                      <a:pPr defTabSz="932384" fontAlgn="auto">
                        <a:spcBef>
                          <a:spcPts val="0"/>
                        </a:spcBef>
                        <a:spcAft>
                          <a:spcPts val="0"/>
                        </a:spcAft>
                      </a:pPr>
                      <a:r>
                        <a:rPr lang="en-US" sz="1200" dirty="0" smtClean="0">
                          <a:solidFill>
                            <a:srgbClr val="000000"/>
                          </a:solidFill>
                          <a:latin typeface="Segoe UI" panose="020B0502040204020203" pitchFamily="34" charset="0"/>
                          <a:cs typeface="Segoe UI" panose="020B0502040204020203" pitchFamily="34" charset="0"/>
                        </a:rPr>
                        <a:t>Sarah Jones</a:t>
                      </a:r>
                      <a:endParaRPr lang="en-US" sz="1200" dirty="0">
                        <a:solidFill>
                          <a:srgbClr val="000000"/>
                        </a:solidFill>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tc>
                  <a:txBody>
                    <a:bodyPr/>
                    <a:lstStyle/>
                    <a:p>
                      <a:pPr algn="r" fontAlgn="b"/>
                      <a:r>
                        <a:rPr lang="en-US" sz="1200" dirty="0" smtClean="0">
                          <a:solidFill>
                            <a:srgbClr val="000000"/>
                          </a:solidFill>
                          <a:latin typeface="Segoe UI" panose="020B0502040204020203" pitchFamily="34" charset="0"/>
                          <a:cs typeface="Segoe UI" panose="020B0502040204020203" pitchFamily="34" charset="0"/>
                        </a:rPr>
                        <a:t>bns51ra806fd</a:t>
                      </a:r>
                      <a:endParaRPr lang="en-US" sz="1200" b="0" i="0" u="none" strike="noStrike" dirty="0">
                        <a:solidFill>
                          <a:srgbClr val="000000"/>
                        </a:solidFill>
                        <a:effectLst/>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tc>
                  <a:txBody>
                    <a:bodyPr/>
                    <a:lstStyle/>
                    <a:p>
                      <a:pPr algn="r" fontAlgn="b"/>
                      <a:r>
                        <a:rPr lang="en-US" sz="1200" dirty="0" smtClean="0">
                          <a:solidFill>
                            <a:srgbClr val="000000"/>
                          </a:solidFill>
                          <a:latin typeface="Segoe UI" panose="020B0502040204020203" pitchFamily="34" charset="0"/>
                          <a:cs typeface="Segoe UI" panose="020B0502040204020203" pitchFamily="34" charset="0"/>
                        </a:rPr>
                        <a:t>5/22/2005</a:t>
                      </a:r>
                      <a:endParaRPr lang="en-US" sz="1200" b="0" i="0" u="none" strike="noStrike" dirty="0">
                        <a:solidFill>
                          <a:srgbClr val="000000"/>
                        </a:solidFill>
                        <a:effectLst/>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extLst>
                  <a:ext uri="{0D108BD9-81ED-4DB2-BD59-A6C34878D82A}">
                    <a16:rowId xmlns:a16="http://schemas.microsoft.com/office/drawing/2014/main" val="10007"/>
                  </a:ext>
                </a:extLst>
              </a:tr>
              <a:tr h="254518">
                <a:tc>
                  <a:txBody>
                    <a:bodyPr/>
                    <a:lstStyle/>
                    <a:p>
                      <a:pPr defTabSz="932384" fontAlgn="auto">
                        <a:spcBef>
                          <a:spcPts val="0"/>
                        </a:spcBef>
                        <a:spcAft>
                          <a:spcPts val="0"/>
                        </a:spcAft>
                      </a:pPr>
                      <a:r>
                        <a:rPr lang="en-US" sz="1200" dirty="0" smtClean="0">
                          <a:solidFill>
                            <a:srgbClr val="000000"/>
                          </a:solidFill>
                          <a:latin typeface="Segoe UI" panose="020B0502040204020203" pitchFamily="34" charset="0"/>
                          <a:cs typeface="Segoe UI" panose="020B0502040204020203" pitchFamily="34" charset="0"/>
                        </a:rPr>
                        <a:t>Jake</a:t>
                      </a:r>
                      <a:r>
                        <a:rPr lang="en-US" sz="1200" baseline="0" dirty="0" smtClean="0">
                          <a:solidFill>
                            <a:srgbClr val="000000"/>
                          </a:solidFill>
                          <a:latin typeface="Segoe UI" panose="020B0502040204020203" pitchFamily="34" charset="0"/>
                          <a:cs typeface="Segoe UI" panose="020B0502040204020203" pitchFamily="34" charset="0"/>
                        </a:rPr>
                        <a:t> Marks</a:t>
                      </a:r>
                      <a:endParaRPr lang="en-US" sz="1200" dirty="0">
                        <a:solidFill>
                          <a:srgbClr val="000000"/>
                        </a:solidFill>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tc>
                  <a:txBody>
                    <a:bodyPr/>
                    <a:lstStyle/>
                    <a:p>
                      <a:pPr algn="r" fontAlgn="b"/>
                      <a:r>
                        <a:rPr lang="en-US" sz="1200" dirty="0" smtClean="0">
                          <a:solidFill>
                            <a:srgbClr val="000000"/>
                          </a:solidFill>
                          <a:latin typeface="Segoe UI" panose="020B0502040204020203" pitchFamily="34" charset="0"/>
                          <a:cs typeface="Segoe UI" panose="020B0502040204020203" pitchFamily="34" charset="0"/>
                        </a:rPr>
                        <a:t>mci12hh906fj</a:t>
                      </a:r>
                      <a:endParaRPr lang="en-US" sz="1200" b="0" i="0" u="none" strike="noStrike" dirty="0">
                        <a:solidFill>
                          <a:srgbClr val="000000"/>
                        </a:solidFill>
                        <a:effectLst/>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tc>
                  <a:txBody>
                    <a:bodyPr/>
                    <a:lstStyle/>
                    <a:p>
                      <a:pPr algn="r" fontAlgn="b"/>
                      <a:r>
                        <a:rPr lang="en-US" sz="1200" dirty="0" smtClean="0">
                          <a:solidFill>
                            <a:srgbClr val="000000"/>
                          </a:solidFill>
                          <a:latin typeface="Segoe UI" panose="020B0502040204020203" pitchFamily="34" charset="0"/>
                          <a:cs typeface="Segoe UI" panose="020B0502040204020203" pitchFamily="34" charset="0"/>
                        </a:rPr>
                        <a:t>6/07/2005</a:t>
                      </a:r>
                      <a:endParaRPr lang="en-US" sz="1200" b="0" i="0" u="none" strike="noStrike" dirty="0">
                        <a:solidFill>
                          <a:srgbClr val="000000"/>
                        </a:solidFill>
                        <a:effectLst/>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extLst>
                  <a:ext uri="{0D108BD9-81ED-4DB2-BD59-A6C34878D82A}">
                    <a16:rowId xmlns:a16="http://schemas.microsoft.com/office/drawing/2014/main" val="10008"/>
                  </a:ext>
                </a:extLst>
              </a:tr>
              <a:tr h="254518">
                <a:tc>
                  <a:txBody>
                    <a:bodyPr/>
                    <a:lstStyle/>
                    <a:p>
                      <a:pPr defTabSz="932384" fontAlgn="auto">
                        <a:spcBef>
                          <a:spcPts val="0"/>
                        </a:spcBef>
                        <a:spcAft>
                          <a:spcPts val="0"/>
                        </a:spcAft>
                      </a:pPr>
                      <a:r>
                        <a:rPr lang="en-US" sz="1200" dirty="0" smtClean="0">
                          <a:solidFill>
                            <a:srgbClr val="000000"/>
                          </a:solidFill>
                          <a:latin typeface="Segoe UI" panose="020B0502040204020203" pitchFamily="34" charset="0"/>
                          <a:cs typeface="Segoe UI" panose="020B0502040204020203" pitchFamily="34" charset="0"/>
                        </a:rPr>
                        <a:t>Eric Mears</a:t>
                      </a:r>
                      <a:endParaRPr lang="en-US" sz="1200" dirty="0">
                        <a:solidFill>
                          <a:srgbClr val="000000"/>
                        </a:solidFill>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tc>
                  <a:txBody>
                    <a:bodyPr/>
                    <a:lstStyle/>
                    <a:p>
                      <a:pPr algn="r" fontAlgn="b"/>
                      <a:r>
                        <a:rPr lang="en-US" sz="1200" dirty="0" smtClean="0">
                          <a:solidFill>
                            <a:srgbClr val="000000"/>
                          </a:solidFill>
                          <a:latin typeface="Segoe UI" panose="020B0502040204020203" pitchFamily="34" charset="0"/>
                          <a:cs typeface="Segoe UI" panose="020B0502040204020203" pitchFamily="34" charset="0"/>
                        </a:rPr>
                        <a:t>utb76b916gi</a:t>
                      </a:r>
                      <a:endParaRPr lang="en-US" sz="1200" b="0" i="0" u="none" strike="noStrike" dirty="0">
                        <a:solidFill>
                          <a:srgbClr val="000000"/>
                        </a:solidFill>
                        <a:effectLst/>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tc>
                  <a:txBody>
                    <a:bodyPr/>
                    <a:lstStyle/>
                    <a:p>
                      <a:pPr algn="r" fontAlgn="b"/>
                      <a:r>
                        <a:rPr lang="en-US" sz="1200" dirty="0" smtClean="0">
                          <a:solidFill>
                            <a:srgbClr val="000000"/>
                          </a:solidFill>
                          <a:latin typeface="Segoe UI" panose="020B0502040204020203" pitchFamily="34" charset="0"/>
                          <a:cs typeface="Segoe UI" panose="020B0502040204020203" pitchFamily="34" charset="0"/>
                        </a:rPr>
                        <a:t>6/18/2014</a:t>
                      </a:r>
                      <a:endParaRPr lang="en-US" sz="1200" b="0" i="0" u="none" strike="noStrike" dirty="0">
                        <a:solidFill>
                          <a:srgbClr val="000000"/>
                        </a:solidFill>
                        <a:effectLst/>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extLst>
                  <a:ext uri="{0D108BD9-81ED-4DB2-BD59-A6C34878D82A}">
                    <a16:rowId xmlns:a16="http://schemas.microsoft.com/office/drawing/2014/main" val="10009"/>
                  </a:ext>
                </a:extLst>
              </a:tr>
              <a:tr h="254518">
                <a:tc>
                  <a:txBody>
                    <a:bodyPr/>
                    <a:lstStyle/>
                    <a:p>
                      <a:pPr defTabSz="932384" fontAlgn="auto">
                        <a:spcBef>
                          <a:spcPts val="0"/>
                        </a:spcBef>
                        <a:spcAft>
                          <a:spcPts val="0"/>
                        </a:spcAft>
                      </a:pPr>
                      <a:r>
                        <a:rPr lang="en-US" sz="1200" dirty="0" smtClean="0">
                          <a:solidFill>
                            <a:srgbClr val="000000"/>
                          </a:solidFill>
                          <a:latin typeface="Segoe UI" panose="020B0502040204020203" pitchFamily="34" charset="0"/>
                          <a:cs typeface="Segoe UI" panose="020B0502040204020203" pitchFamily="34" charset="0"/>
                        </a:rPr>
                        <a:t>Rachel</a:t>
                      </a:r>
                      <a:r>
                        <a:rPr lang="en-US" sz="1200" baseline="0" dirty="0" smtClean="0">
                          <a:solidFill>
                            <a:srgbClr val="000000"/>
                          </a:solidFill>
                          <a:latin typeface="Segoe UI" panose="020B0502040204020203" pitchFamily="34" charset="0"/>
                          <a:cs typeface="Segoe UI" panose="020B0502040204020203" pitchFamily="34" charset="0"/>
                        </a:rPr>
                        <a:t> Hogan</a:t>
                      </a:r>
                      <a:endParaRPr lang="en-US" sz="1200" dirty="0">
                        <a:solidFill>
                          <a:srgbClr val="000000"/>
                        </a:solidFill>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tc>
                  <a:txBody>
                    <a:bodyPr/>
                    <a:lstStyle/>
                    <a:p>
                      <a:pPr algn="r" fontAlgn="b"/>
                      <a:r>
                        <a:rPr lang="en-US" sz="1200" dirty="0" smtClean="0">
                          <a:solidFill>
                            <a:srgbClr val="000000"/>
                          </a:solidFill>
                          <a:latin typeface="Segoe UI" panose="020B0502040204020203" pitchFamily="34" charset="0"/>
                          <a:cs typeface="Segoe UI" panose="020B0502040204020203" pitchFamily="34" charset="0"/>
                        </a:rPr>
                        <a:t>px61hi9306fj</a:t>
                      </a:r>
                      <a:endParaRPr lang="en-US" sz="1200" b="0" i="0" u="none" strike="noStrike" dirty="0">
                        <a:solidFill>
                          <a:srgbClr val="000000"/>
                        </a:solidFill>
                        <a:effectLst/>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tc>
                  <a:txBody>
                    <a:bodyPr/>
                    <a:lstStyle/>
                    <a:p>
                      <a:pPr algn="r" fontAlgn="b"/>
                      <a:r>
                        <a:rPr lang="en-US" sz="1200" dirty="0" smtClean="0">
                          <a:solidFill>
                            <a:srgbClr val="000000"/>
                          </a:solidFill>
                          <a:latin typeface="Segoe UI" panose="020B0502040204020203" pitchFamily="34" charset="0"/>
                          <a:cs typeface="Segoe UI" panose="020B0502040204020203" pitchFamily="34" charset="0"/>
                        </a:rPr>
                        <a:t>7/1/2014</a:t>
                      </a:r>
                      <a:endParaRPr lang="en-US" sz="1200" b="0" i="0" u="none" strike="noStrike" dirty="0">
                        <a:solidFill>
                          <a:srgbClr val="000000"/>
                        </a:solidFill>
                        <a:effectLst/>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extLst>
                  <a:ext uri="{0D108BD9-81ED-4DB2-BD59-A6C34878D82A}">
                    <a16:rowId xmlns:a16="http://schemas.microsoft.com/office/drawing/2014/main" val="10010"/>
                  </a:ext>
                </a:extLst>
              </a:tr>
              <a:tr h="254518">
                <a:tc>
                  <a:txBody>
                    <a:bodyPr/>
                    <a:lstStyle/>
                    <a:p>
                      <a:pPr defTabSz="932384" fontAlgn="auto">
                        <a:spcBef>
                          <a:spcPts val="0"/>
                        </a:spcBef>
                        <a:spcAft>
                          <a:spcPts val="0"/>
                        </a:spcAft>
                      </a:pPr>
                      <a:r>
                        <a:rPr lang="en-US" sz="1200" dirty="0" smtClean="0">
                          <a:solidFill>
                            <a:srgbClr val="000000"/>
                          </a:solidFill>
                          <a:latin typeface="Segoe UI" panose="020B0502040204020203" pitchFamily="34" charset="0"/>
                          <a:cs typeface="Segoe UI" panose="020B0502040204020203" pitchFamily="34" charset="0"/>
                        </a:rPr>
                        <a:t>Sam Johnson</a:t>
                      </a:r>
                      <a:endParaRPr lang="en-US" sz="1200" dirty="0">
                        <a:solidFill>
                          <a:srgbClr val="000000"/>
                        </a:solidFill>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tc>
                  <a:txBody>
                    <a:bodyPr/>
                    <a:lstStyle/>
                    <a:p>
                      <a:pPr algn="r" fontAlgn="b"/>
                      <a:r>
                        <a:rPr lang="en-US" sz="1200" dirty="0" smtClean="0">
                          <a:solidFill>
                            <a:srgbClr val="000000"/>
                          </a:solidFill>
                          <a:latin typeface="Segoe UI" panose="020B0502040204020203" pitchFamily="34" charset="0"/>
                          <a:cs typeface="Segoe UI" panose="020B0502040204020203" pitchFamily="34" charset="0"/>
                        </a:rPr>
                        <a:t>ol43bi506gd</a:t>
                      </a:r>
                      <a:endParaRPr lang="en-US" sz="1200" b="0" i="0" u="none" strike="noStrike" dirty="0">
                        <a:solidFill>
                          <a:srgbClr val="000000"/>
                        </a:solidFill>
                        <a:effectLst/>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tc>
                  <a:txBody>
                    <a:bodyPr/>
                    <a:lstStyle/>
                    <a:p>
                      <a:pPr algn="r" fontAlgn="b"/>
                      <a:r>
                        <a:rPr lang="en-US" sz="1200" dirty="0" smtClean="0">
                          <a:solidFill>
                            <a:srgbClr val="000000"/>
                          </a:solidFill>
                          <a:latin typeface="Segoe UI" panose="020B0502040204020203" pitchFamily="34" charset="0"/>
                          <a:cs typeface="Segoe UI" panose="020B0502040204020203" pitchFamily="34" charset="0"/>
                        </a:rPr>
                        <a:t>7/12/2014</a:t>
                      </a:r>
                      <a:endParaRPr lang="en-US" sz="1200" b="0" i="0" u="none" strike="noStrike" dirty="0">
                        <a:solidFill>
                          <a:srgbClr val="000000"/>
                        </a:solidFill>
                        <a:effectLst/>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extLst>
                  <a:ext uri="{0D108BD9-81ED-4DB2-BD59-A6C34878D82A}">
                    <a16:rowId xmlns:a16="http://schemas.microsoft.com/office/drawing/2014/main" val="10011"/>
                  </a:ext>
                </a:extLst>
              </a:tr>
              <a:tr h="254518">
                <a:tc>
                  <a:txBody>
                    <a:bodyPr/>
                    <a:lstStyle/>
                    <a:p>
                      <a:pPr defTabSz="932384" fontAlgn="auto">
                        <a:spcBef>
                          <a:spcPts val="0"/>
                        </a:spcBef>
                        <a:spcAft>
                          <a:spcPts val="0"/>
                        </a:spcAft>
                      </a:pPr>
                      <a:r>
                        <a:rPr lang="en-US" sz="1200" dirty="0" smtClean="0">
                          <a:solidFill>
                            <a:srgbClr val="000000"/>
                          </a:solidFill>
                          <a:latin typeface="Segoe UI" panose="020B0502040204020203" pitchFamily="34" charset="0"/>
                          <a:cs typeface="Segoe UI" panose="020B0502040204020203" pitchFamily="34" charset="0"/>
                        </a:rPr>
                        <a:t>David Simon</a:t>
                      </a:r>
                      <a:endParaRPr lang="en-US" sz="1200" dirty="0">
                        <a:solidFill>
                          <a:srgbClr val="000000"/>
                        </a:solidFill>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tc>
                  <a:txBody>
                    <a:bodyPr/>
                    <a:lstStyle/>
                    <a:p>
                      <a:pPr algn="r" fontAlgn="b"/>
                      <a:r>
                        <a:rPr lang="en-US" sz="1200" dirty="0" smtClean="0">
                          <a:solidFill>
                            <a:srgbClr val="000000"/>
                          </a:solidFill>
                          <a:latin typeface="Segoe UI" panose="020B0502040204020203" pitchFamily="34" charset="0"/>
                          <a:cs typeface="Segoe UI" panose="020B0502040204020203" pitchFamily="34" charset="0"/>
                        </a:rPr>
                        <a:t>tx83hal916fi</a:t>
                      </a:r>
                      <a:endParaRPr lang="en-US" sz="1200" b="0" i="0" u="none" strike="noStrike" dirty="0">
                        <a:solidFill>
                          <a:srgbClr val="000000"/>
                        </a:solidFill>
                        <a:effectLst/>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tc>
                  <a:txBody>
                    <a:bodyPr/>
                    <a:lstStyle/>
                    <a:p>
                      <a:pPr algn="r" fontAlgn="b"/>
                      <a:r>
                        <a:rPr lang="en-US" sz="1200" dirty="0" smtClean="0">
                          <a:solidFill>
                            <a:srgbClr val="000000"/>
                          </a:solidFill>
                          <a:latin typeface="Segoe UI" panose="020B0502040204020203" pitchFamily="34" charset="0"/>
                          <a:cs typeface="Segoe UI" panose="020B0502040204020203" pitchFamily="34" charset="0"/>
                        </a:rPr>
                        <a:t>7/29/2014</a:t>
                      </a:r>
                      <a:endParaRPr lang="en-US" sz="1200" b="0" i="0" u="none" strike="noStrike" dirty="0">
                        <a:solidFill>
                          <a:srgbClr val="000000"/>
                        </a:solidFill>
                        <a:effectLst/>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extLst>
                  <a:ext uri="{0D108BD9-81ED-4DB2-BD59-A6C34878D82A}">
                    <a16:rowId xmlns:a16="http://schemas.microsoft.com/office/drawing/2014/main" val="10012"/>
                  </a:ext>
                </a:extLst>
              </a:tr>
              <a:tr h="254518">
                <a:tc>
                  <a:txBody>
                    <a:bodyPr/>
                    <a:lstStyle/>
                    <a:p>
                      <a:pPr defTabSz="932384" fontAlgn="auto">
                        <a:spcBef>
                          <a:spcPts val="0"/>
                        </a:spcBef>
                        <a:spcAft>
                          <a:spcPts val="0"/>
                        </a:spcAft>
                      </a:pPr>
                      <a:r>
                        <a:rPr lang="en-US" sz="1200" dirty="0" smtClean="0">
                          <a:solidFill>
                            <a:srgbClr val="000000"/>
                          </a:solidFill>
                          <a:latin typeface="Segoe UI" panose="020B0502040204020203" pitchFamily="34" charset="0"/>
                          <a:cs typeface="Segoe UI" panose="020B0502040204020203" pitchFamily="34" charset="0"/>
                        </a:rPr>
                        <a:t>Michelle</a:t>
                      </a:r>
                      <a:r>
                        <a:rPr lang="en-US" sz="1200" baseline="0" dirty="0" smtClean="0">
                          <a:solidFill>
                            <a:srgbClr val="000000"/>
                          </a:solidFill>
                          <a:latin typeface="Segoe UI" panose="020B0502040204020203" pitchFamily="34" charset="0"/>
                          <a:cs typeface="Segoe UI" panose="020B0502040204020203" pitchFamily="34" charset="0"/>
                        </a:rPr>
                        <a:t> Burns</a:t>
                      </a:r>
                      <a:endParaRPr lang="en-US" sz="1200" dirty="0">
                        <a:solidFill>
                          <a:srgbClr val="000000"/>
                        </a:solidFill>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tc>
                  <a:txBody>
                    <a:bodyPr/>
                    <a:lstStyle/>
                    <a:p>
                      <a:pPr algn="r" fontAlgn="b"/>
                      <a:r>
                        <a:rPr lang="en-US" sz="1200" dirty="0" smtClean="0">
                          <a:solidFill>
                            <a:srgbClr val="000000"/>
                          </a:solidFill>
                          <a:latin typeface="Segoe UI" panose="020B0502040204020203" pitchFamily="34" charset="0"/>
                          <a:cs typeface="Segoe UI" panose="020B0502040204020203" pitchFamily="34" charset="0"/>
                        </a:rPr>
                        <a:t>nb95re926gi</a:t>
                      </a:r>
                      <a:endParaRPr lang="en-US" sz="1200" b="0" i="0" u="none" strike="noStrike" dirty="0">
                        <a:solidFill>
                          <a:srgbClr val="000000"/>
                        </a:solidFill>
                        <a:effectLst/>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tc>
                  <a:txBody>
                    <a:bodyPr/>
                    <a:lstStyle/>
                    <a:p>
                      <a:pPr algn="r" fontAlgn="b"/>
                      <a:r>
                        <a:rPr lang="en-US" sz="1200" dirty="0" smtClean="0">
                          <a:solidFill>
                            <a:srgbClr val="000000"/>
                          </a:solidFill>
                          <a:latin typeface="Segoe UI" panose="020B0502040204020203" pitchFamily="34" charset="0"/>
                          <a:cs typeface="Segoe UI" panose="020B0502040204020203" pitchFamily="34" charset="0"/>
                        </a:rPr>
                        <a:t>8/10/2014</a:t>
                      </a:r>
                      <a:endParaRPr lang="en-US" sz="1200" b="0" i="0" u="none" strike="noStrike" dirty="0">
                        <a:solidFill>
                          <a:srgbClr val="000000"/>
                        </a:solidFill>
                        <a:effectLst/>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extLst>
                  <a:ext uri="{0D108BD9-81ED-4DB2-BD59-A6C34878D82A}">
                    <a16:rowId xmlns:a16="http://schemas.microsoft.com/office/drawing/2014/main" val="10013"/>
                  </a:ext>
                </a:extLst>
              </a:tr>
              <a:tr h="254518">
                <a:tc>
                  <a:txBody>
                    <a:bodyPr/>
                    <a:lstStyle/>
                    <a:p>
                      <a:pPr defTabSz="932384" fontAlgn="auto">
                        <a:spcBef>
                          <a:spcPts val="0"/>
                        </a:spcBef>
                        <a:spcAft>
                          <a:spcPts val="0"/>
                        </a:spcAft>
                      </a:pPr>
                      <a:r>
                        <a:rPr lang="en-US" sz="1200" dirty="0" smtClean="0">
                          <a:solidFill>
                            <a:srgbClr val="000000"/>
                          </a:solidFill>
                          <a:latin typeface="Segoe UI" panose="020B0502040204020203" pitchFamily="34" charset="0"/>
                          <a:cs typeface="Segoe UI" panose="020B0502040204020203" pitchFamily="34" charset="0"/>
                        </a:rPr>
                        <a:t>Reed Dean</a:t>
                      </a:r>
                      <a:endParaRPr lang="en-US" sz="1200" dirty="0">
                        <a:solidFill>
                          <a:srgbClr val="000000"/>
                        </a:solidFill>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tc>
                  <a:txBody>
                    <a:bodyPr/>
                    <a:lstStyle/>
                    <a:p>
                      <a:pPr algn="r" fontAlgn="b"/>
                      <a:r>
                        <a:rPr lang="en-US" sz="1200" dirty="0" smtClean="0">
                          <a:solidFill>
                            <a:srgbClr val="000000"/>
                          </a:solidFill>
                          <a:latin typeface="Segoe UI" panose="020B0502040204020203" pitchFamily="34" charset="0"/>
                          <a:cs typeface="Segoe UI" panose="020B0502040204020203" pitchFamily="34" charset="0"/>
                        </a:rPr>
                        <a:t>vc61ira536fe</a:t>
                      </a:r>
                      <a:endParaRPr lang="en-US" sz="1200" b="0" i="0" u="none" strike="noStrike" dirty="0">
                        <a:solidFill>
                          <a:srgbClr val="000000"/>
                        </a:solidFill>
                        <a:effectLst/>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tc>
                  <a:txBody>
                    <a:bodyPr/>
                    <a:lstStyle/>
                    <a:p>
                      <a:pPr algn="r" fontAlgn="b"/>
                      <a:r>
                        <a:rPr lang="en-US" sz="1200" dirty="0" smtClean="0">
                          <a:solidFill>
                            <a:srgbClr val="000000"/>
                          </a:solidFill>
                          <a:latin typeface="Segoe UI" panose="020B0502040204020203" pitchFamily="34" charset="0"/>
                          <a:cs typeface="Segoe UI" panose="020B0502040204020203" pitchFamily="34" charset="0"/>
                        </a:rPr>
                        <a:t>8/23/2014</a:t>
                      </a:r>
                      <a:endParaRPr lang="en-US" sz="1200" b="0" i="0" u="none" strike="noStrike" dirty="0" smtClean="0">
                        <a:solidFill>
                          <a:srgbClr val="000000"/>
                        </a:solidFill>
                        <a:effectLst/>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extLst>
                  <a:ext uri="{0D108BD9-81ED-4DB2-BD59-A6C34878D82A}">
                    <a16:rowId xmlns:a16="http://schemas.microsoft.com/office/drawing/2014/main" val="10014"/>
                  </a:ext>
                </a:extLst>
              </a:tr>
            </a:tbl>
          </a:graphicData>
        </a:graphic>
      </p:graphicFrame>
      <p:graphicFrame>
        <p:nvGraphicFramePr>
          <p:cNvPr id="64" name="Table 63"/>
          <p:cNvGraphicFramePr>
            <a:graphicFrameLocks noGrp="1"/>
          </p:cNvGraphicFramePr>
          <p:nvPr>
            <p:extLst/>
          </p:nvPr>
        </p:nvGraphicFramePr>
        <p:xfrm>
          <a:off x="519213" y="4675166"/>
          <a:ext cx="3412047" cy="1603551"/>
        </p:xfrm>
        <a:graphic>
          <a:graphicData uri="http://schemas.openxmlformats.org/drawingml/2006/table">
            <a:tbl>
              <a:tblPr/>
              <a:tblGrid>
                <a:gridCol w="1367162">
                  <a:extLst>
                    <a:ext uri="{9D8B030D-6E8A-4147-A177-3AD203B41FA5}">
                      <a16:colId xmlns:a16="http://schemas.microsoft.com/office/drawing/2014/main" val="20000"/>
                    </a:ext>
                  </a:extLst>
                </a:gridCol>
                <a:gridCol w="1160728">
                  <a:extLst>
                    <a:ext uri="{9D8B030D-6E8A-4147-A177-3AD203B41FA5}">
                      <a16:colId xmlns:a16="http://schemas.microsoft.com/office/drawing/2014/main" val="20001"/>
                    </a:ext>
                  </a:extLst>
                </a:gridCol>
                <a:gridCol w="884157">
                  <a:extLst>
                    <a:ext uri="{9D8B030D-6E8A-4147-A177-3AD203B41FA5}">
                      <a16:colId xmlns:a16="http://schemas.microsoft.com/office/drawing/2014/main" val="20002"/>
                    </a:ext>
                  </a:extLst>
                </a:gridCol>
              </a:tblGrid>
              <a:tr h="337881">
                <a:tc>
                  <a:txBody>
                    <a:bodyPr/>
                    <a:lstStyle/>
                    <a:p>
                      <a:pPr algn="l" fontAlgn="b"/>
                      <a:r>
                        <a:rPr lang="en-US" sz="1400" b="0" i="0" u="none" strike="noStrike" dirty="0">
                          <a:solidFill>
                            <a:srgbClr val="FFFFFF"/>
                          </a:solidFill>
                          <a:effectLst/>
                          <a:latin typeface="Segoe UI" panose="020B0502040204020203" pitchFamily="34" charset="0"/>
                          <a:cs typeface="Segoe UI" panose="020B0502040204020203" pitchFamily="34" charset="0"/>
                        </a:rPr>
                        <a:t>Order </a:t>
                      </a:r>
                      <a:r>
                        <a:rPr lang="en-US" sz="1400" b="0" i="0" u="none" strike="noStrike" dirty="0" smtClean="0">
                          <a:solidFill>
                            <a:srgbClr val="FFFFFF"/>
                          </a:solidFill>
                          <a:effectLst/>
                          <a:latin typeface="Segoe UI" panose="020B0502040204020203" pitchFamily="34" charset="0"/>
                          <a:cs typeface="Segoe UI" panose="020B0502040204020203" pitchFamily="34" charset="0"/>
                        </a:rPr>
                        <a:t>history</a:t>
                      </a:r>
                      <a:endParaRPr lang="en-US" sz="1400" b="0" i="0" u="none" strike="noStrike" dirty="0">
                        <a:solidFill>
                          <a:srgbClr val="FFFFFF"/>
                        </a:solidFill>
                        <a:effectLst/>
                        <a:latin typeface="Segoe UI" panose="020B0502040204020203" pitchFamily="34" charset="0"/>
                        <a:cs typeface="Segoe UI" panose="020B0502040204020203" pitchFamily="34" charset="0"/>
                      </a:endParaRPr>
                    </a:p>
                  </a:txBody>
                  <a:tcPr marR="13442" marT="13442" marB="0" anchor="ctr">
                    <a:lnL>
                      <a:noFill/>
                    </a:lnL>
                    <a:lnR>
                      <a:noFill/>
                    </a:lnR>
                    <a:lnT>
                      <a:noFill/>
                    </a:lnT>
                    <a:lnB>
                      <a:noFill/>
                    </a:lnB>
                    <a:solidFill>
                      <a:schemeClr val="accent1">
                        <a:lumMod val="50000"/>
                      </a:schemeClr>
                    </a:solidFill>
                  </a:tcPr>
                </a:tc>
                <a:tc>
                  <a:txBody>
                    <a:bodyPr/>
                    <a:lstStyle/>
                    <a:p>
                      <a:pPr algn="l" fontAlgn="b"/>
                      <a:r>
                        <a:rPr lang="en-US" sz="1400" b="0" i="0" u="none" strike="noStrike" dirty="0">
                          <a:solidFill>
                            <a:srgbClr val="000000"/>
                          </a:solidFill>
                          <a:effectLst/>
                          <a:latin typeface="Segoe UI" panose="020B0502040204020203" pitchFamily="34" charset="0"/>
                          <a:cs typeface="Segoe UI" panose="020B0502040204020203" pitchFamily="34" charset="0"/>
                        </a:rPr>
                        <a:t> </a:t>
                      </a:r>
                    </a:p>
                  </a:txBody>
                  <a:tcPr marR="13442" marT="13442" marB="0" anchor="ctr">
                    <a:lnL>
                      <a:noFill/>
                    </a:lnL>
                    <a:lnR>
                      <a:noFill/>
                    </a:lnR>
                    <a:lnT>
                      <a:noFill/>
                    </a:lnT>
                    <a:lnB>
                      <a:noFill/>
                    </a:lnB>
                    <a:solidFill>
                      <a:schemeClr val="accent1">
                        <a:lumMod val="50000"/>
                      </a:schemeClr>
                    </a:solidFill>
                  </a:tcPr>
                </a:tc>
                <a:tc>
                  <a:txBody>
                    <a:bodyPr/>
                    <a:lstStyle/>
                    <a:p>
                      <a:pPr algn="l" fontAlgn="b"/>
                      <a:r>
                        <a:rPr lang="en-US" sz="1400" b="0" i="0" u="none" strike="noStrike" dirty="0">
                          <a:solidFill>
                            <a:srgbClr val="000000"/>
                          </a:solidFill>
                          <a:effectLst/>
                          <a:latin typeface="Segoe UI" panose="020B0502040204020203" pitchFamily="34" charset="0"/>
                          <a:cs typeface="Segoe UI" panose="020B0502040204020203" pitchFamily="34" charset="0"/>
                        </a:rPr>
                        <a:t> </a:t>
                      </a:r>
                    </a:p>
                  </a:txBody>
                  <a:tcPr marR="13442" marT="13442" marB="0" anchor="ctr">
                    <a:lnL>
                      <a:noFill/>
                    </a:lnL>
                    <a:lnR>
                      <a:noFill/>
                    </a:lnR>
                    <a:lnT>
                      <a:noFill/>
                    </a:lnT>
                    <a:lnB>
                      <a:noFill/>
                    </a:lnB>
                    <a:solidFill>
                      <a:schemeClr val="accent1">
                        <a:lumMod val="50000"/>
                      </a:schemeClr>
                    </a:solidFill>
                  </a:tcPr>
                </a:tc>
                <a:extLst>
                  <a:ext uri="{0D108BD9-81ED-4DB2-BD59-A6C34878D82A}">
                    <a16:rowId xmlns:a16="http://schemas.microsoft.com/office/drawing/2014/main" val="10000"/>
                  </a:ext>
                </a:extLst>
              </a:tr>
              <a:tr h="253134">
                <a:tc>
                  <a:txBody>
                    <a:bodyPr/>
                    <a:lstStyle/>
                    <a:p>
                      <a:pPr algn="l" fontAlgn="b"/>
                      <a:r>
                        <a:rPr lang="en-US" sz="1200" b="0" i="0" u="sng" strike="noStrike" dirty="0" smtClean="0">
                          <a:solidFill>
                            <a:srgbClr val="000000"/>
                          </a:solidFill>
                          <a:effectLst/>
                          <a:latin typeface="Segoe UI" panose="020B0502040204020203" pitchFamily="34" charset="0"/>
                          <a:cs typeface="Segoe UI" panose="020B0502040204020203" pitchFamily="34" charset="0"/>
                        </a:rPr>
                        <a:t>Name</a:t>
                      </a:r>
                      <a:endParaRPr lang="en-US" sz="1200" b="0" i="0" u="sng" strike="noStrike" dirty="0">
                        <a:solidFill>
                          <a:srgbClr val="000000"/>
                        </a:solidFill>
                        <a:effectLst/>
                        <a:latin typeface="Segoe UI" panose="020B0502040204020203" pitchFamily="34" charset="0"/>
                        <a:cs typeface="Segoe UI" panose="020B0502040204020203" pitchFamily="34" charset="0"/>
                      </a:endParaRPr>
                    </a:p>
                  </a:txBody>
                  <a:tcPr marR="13442" marT="13442" marB="0" anchor="ctr">
                    <a:lnL>
                      <a:noFill/>
                    </a:lnL>
                    <a:lnR>
                      <a:noFill/>
                    </a:lnR>
                    <a:lnT>
                      <a:noFill/>
                    </a:lnT>
                    <a:lnB>
                      <a:noFill/>
                    </a:lnB>
                    <a:solidFill>
                      <a:schemeClr val="bg1">
                        <a:lumMod val="95000"/>
                      </a:schemeClr>
                    </a:solidFill>
                  </a:tcPr>
                </a:tc>
                <a:tc>
                  <a:txBody>
                    <a:bodyPr/>
                    <a:lstStyle/>
                    <a:p>
                      <a:pPr algn="l" fontAlgn="b"/>
                      <a:r>
                        <a:rPr lang="en-US" sz="1200" b="0" i="0" u="none" strike="noStrike" dirty="0" smtClean="0">
                          <a:solidFill>
                            <a:srgbClr val="000000"/>
                          </a:solidFill>
                          <a:effectLst/>
                          <a:latin typeface="Segoe UI" panose="020B0502040204020203" pitchFamily="34" charset="0"/>
                          <a:cs typeface="Segoe UI" panose="020B0502040204020203" pitchFamily="34" charset="0"/>
                        </a:rPr>
                        <a:t> </a:t>
                      </a:r>
                      <a:r>
                        <a:rPr lang="en-US" sz="1200" b="0" i="0" u="sng" strike="noStrike" dirty="0" smtClean="0">
                          <a:solidFill>
                            <a:srgbClr val="000000"/>
                          </a:solidFill>
                          <a:effectLst/>
                          <a:latin typeface="Segoe UI" panose="020B0502040204020203" pitchFamily="34" charset="0"/>
                          <a:cs typeface="Segoe UI" panose="020B0502040204020203" pitchFamily="34" charset="0"/>
                        </a:rPr>
                        <a:t>SSN</a:t>
                      </a:r>
                      <a:endParaRPr lang="en-US" sz="1200" b="0" i="0" u="sng" strike="noStrike" dirty="0">
                        <a:solidFill>
                          <a:srgbClr val="000000"/>
                        </a:solidFill>
                        <a:effectLst/>
                        <a:latin typeface="Segoe UI" panose="020B0502040204020203" pitchFamily="34" charset="0"/>
                        <a:cs typeface="Segoe UI" panose="020B0502040204020203" pitchFamily="34" charset="0"/>
                      </a:endParaRPr>
                    </a:p>
                  </a:txBody>
                  <a:tcPr marR="13442" marT="13442" marB="0" anchor="ctr">
                    <a:lnL>
                      <a:noFill/>
                    </a:lnL>
                    <a:lnR>
                      <a:noFill/>
                    </a:lnR>
                    <a:lnT>
                      <a:noFill/>
                    </a:lnT>
                    <a:lnB>
                      <a:noFill/>
                    </a:lnB>
                    <a:solidFill>
                      <a:schemeClr val="bg1">
                        <a:lumMod val="95000"/>
                      </a:schemeClr>
                    </a:solidFill>
                  </a:tcPr>
                </a:tc>
                <a:tc>
                  <a:txBody>
                    <a:bodyPr/>
                    <a:lstStyle/>
                    <a:p>
                      <a:pPr algn="l" fontAlgn="b"/>
                      <a:r>
                        <a:rPr lang="en-US" sz="1200" b="0" i="0" u="none" strike="noStrike" dirty="0" smtClean="0">
                          <a:solidFill>
                            <a:srgbClr val="000000"/>
                          </a:solidFill>
                          <a:effectLst/>
                          <a:latin typeface="Segoe UI" panose="020B0502040204020203" pitchFamily="34" charset="0"/>
                          <a:cs typeface="Segoe UI" panose="020B0502040204020203" pitchFamily="34" charset="0"/>
                        </a:rPr>
                        <a:t> </a:t>
                      </a:r>
                      <a:r>
                        <a:rPr lang="en-US" sz="1200" b="0" i="0" u="sng" strike="noStrike" dirty="0" smtClean="0">
                          <a:solidFill>
                            <a:srgbClr val="000000"/>
                          </a:solidFill>
                          <a:effectLst/>
                          <a:latin typeface="Segoe UI" panose="020B0502040204020203" pitchFamily="34" charset="0"/>
                          <a:cs typeface="Segoe UI" panose="020B0502040204020203" pitchFamily="34" charset="0"/>
                        </a:rPr>
                        <a:t>Date</a:t>
                      </a:r>
                      <a:endParaRPr lang="en-US" sz="1200" b="0" i="0" u="sng" strike="noStrike" dirty="0">
                        <a:solidFill>
                          <a:srgbClr val="000000"/>
                        </a:solidFill>
                        <a:effectLst/>
                        <a:latin typeface="Segoe UI" panose="020B0502040204020203" pitchFamily="34" charset="0"/>
                        <a:cs typeface="Segoe UI" panose="020B0502040204020203" pitchFamily="34" charset="0"/>
                      </a:endParaRPr>
                    </a:p>
                  </a:txBody>
                  <a:tcPr marR="13442" marT="13442" marB="0" anchor="ctr">
                    <a:lnL>
                      <a:noFill/>
                    </a:lnL>
                    <a:lnR>
                      <a:noFill/>
                    </a:lnR>
                    <a:lnT>
                      <a:noFill/>
                    </a:lnT>
                    <a:lnB>
                      <a:noFill/>
                    </a:lnB>
                    <a:solidFill>
                      <a:schemeClr val="bg1">
                        <a:lumMod val="95000"/>
                      </a:schemeClr>
                    </a:solidFill>
                  </a:tcPr>
                </a:tc>
                <a:extLst>
                  <a:ext uri="{0D108BD9-81ED-4DB2-BD59-A6C34878D82A}">
                    <a16:rowId xmlns:a16="http://schemas.microsoft.com/office/drawing/2014/main" val="10001"/>
                  </a:ext>
                </a:extLst>
              </a:tr>
              <a:tr h="253134">
                <a:tc>
                  <a:txBody>
                    <a:bodyPr/>
                    <a:lstStyle/>
                    <a:p>
                      <a:pPr marL="0" marR="0" indent="0" algn="l" defTabSz="932597" rtl="0" eaLnBrk="1" fontAlgn="b" latinLnBrk="0" hangingPunct="1">
                        <a:lnSpc>
                          <a:spcPct val="100000"/>
                        </a:lnSpc>
                        <a:spcBef>
                          <a:spcPts val="0"/>
                        </a:spcBef>
                        <a:spcAft>
                          <a:spcPts val="0"/>
                        </a:spcAft>
                        <a:buClrTx/>
                        <a:buSzTx/>
                        <a:buFontTx/>
                        <a:buNone/>
                        <a:tabLst/>
                        <a:defRPr/>
                      </a:pPr>
                      <a:r>
                        <a:rPr lang="en-US" sz="1200" dirty="0" smtClean="0">
                          <a:solidFill>
                            <a:srgbClr val="000000"/>
                          </a:solidFill>
                          <a:latin typeface="Segoe UI" panose="020B0502040204020203" pitchFamily="34" charset="0"/>
                          <a:cs typeface="Segoe UI" panose="020B0502040204020203" pitchFamily="34" charset="0"/>
                        </a:rPr>
                        <a:t>Jane Doe</a:t>
                      </a:r>
                    </a:p>
                  </a:txBody>
                  <a:tcPr marT="13442" marB="0" anchor="ctr">
                    <a:lnL>
                      <a:noFill/>
                    </a:lnL>
                    <a:lnR>
                      <a:noFill/>
                    </a:lnR>
                    <a:lnT>
                      <a:noFill/>
                    </a:lnT>
                    <a:lnB>
                      <a:noFill/>
                    </a:lnB>
                    <a:solidFill>
                      <a:schemeClr val="bg1">
                        <a:lumMod val="95000"/>
                      </a:schemeClr>
                    </a:solidFill>
                  </a:tcPr>
                </a:tc>
                <a:tc>
                  <a:txBody>
                    <a:bodyPr/>
                    <a:lstStyle/>
                    <a:p>
                      <a:pPr algn="r" fontAlgn="b"/>
                      <a:r>
                        <a:rPr lang="en-US" sz="1200" dirty="0" smtClean="0">
                          <a:solidFill>
                            <a:srgbClr val="000000"/>
                          </a:solidFill>
                          <a:latin typeface="Segoe UI" panose="020B0502040204020203" pitchFamily="34" charset="0"/>
                          <a:cs typeface="Segoe UI" panose="020B0502040204020203" pitchFamily="34" charset="0"/>
                        </a:rPr>
                        <a:t>cm61ba906fd</a:t>
                      </a:r>
                      <a:endParaRPr lang="en-US" sz="1200" b="0" i="0" u="none" strike="noStrike" dirty="0">
                        <a:solidFill>
                          <a:srgbClr val="000000"/>
                        </a:solidFill>
                        <a:effectLst/>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tc>
                  <a:txBody>
                    <a:bodyPr/>
                    <a:lstStyle/>
                    <a:p>
                      <a:pPr algn="r" fontAlgn="b"/>
                      <a:r>
                        <a:rPr lang="en-US" sz="1200" dirty="0" smtClean="0">
                          <a:solidFill>
                            <a:srgbClr val="000000"/>
                          </a:solidFill>
                          <a:latin typeface="Segoe UI" panose="020B0502040204020203" pitchFamily="34" charset="0"/>
                          <a:cs typeface="Segoe UI" panose="020B0502040204020203" pitchFamily="34" charset="0"/>
                        </a:rPr>
                        <a:t>2/28/2005</a:t>
                      </a:r>
                      <a:endParaRPr lang="en-US" sz="1200" b="0" i="0" u="none" strike="noStrike" dirty="0">
                        <a:solidFill>
                          <a:srgbClr val="000000"/>
                        </a:solidFill>
                        <a:effectLst/>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extLst>
                  <a:ext uri="{0D108BD9-81ED-4DB2-BD59-A6C34878D82A}">
                    <a16:rowId xmlns:a16="http://schemas.microsoft.com/office/drawing/2014/main" val="10002"/>
                  </a:ext>
                </a:extLst>
              </a:tr>
              <a:tr h="253134">
                <a:tc>
                  <a:txBody>
                    <a:bodyPr/>
                    <a:lstStyle/>
                    <a:p>
                      <a:pPr algn="l" defTabSz="932384" fontAlgn="auto">
                        <a:spcBef>
                          <a:spcPts val="0"/>
                        </a:spcBef>
                        <a:spcAft>
                          <a:spcPts val="0"/>
                        </a:spcAft>
                      </a:pPr>
                      <a:r>
                        <a:rPr lang="en-US" sz="1200" dirty="0" smtClean="0">
                          <a:solidFill>
                            <a:srgbClr val="000000"/>
                          </a:solidFill>
                          <a:latin typeface="Segoe UI" panose="020B0502040204020203" pitchFamily="34" charset="0"/>
                          <a:cs typeface="Segoe UI" panose="020B0502040204020203" pitchFamily="34" charset="0"/>
                        </a:rPr>
                        <a:t>Jim Gray</a:t>
                      </a:r>
                      <a:endParaRPr lang="en-US" sz="1200" dirty="0">
                        <a:solidFill>
                          <a:srgbClr val="000000"/>
                        </a:solidFill>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tc>
                  <a:txBody>
                    <a:bodyPr/>
                    <a:lstStyle/>
                    <a:p>
                      <a:pPr algn="r" fontAlgn="b"/>
                      <a:r>
                        <a:rPr lang="en-US" sz="1200" dirty="0" smtClean="0">
                          <a:solidFill>
                            <a:srgbClr val="000000"/>
                          </a:solidFill>
                          <a:latin typeface="Segoe UI" panose="020B0502040204020203" pitchFamily="34" charset="0"/>
                          <a:cs typeface="Segoe UI" panose="020B0502040204020203" pitchFamily="34" charset="0"/>
                        </a:rPr>
                        <a:t>ox7ff654ae6d</a:t>
                      </a:r>
                      <a:endParaRPr lang="en-US" sz="1200" b="0" i="0" u="none" strike="noStrike" dirty="0">
                        <a:solidFill>
                          <a:srgbClr val="000000"/>
                        </a:solidFill>
                        <a:effectLst/>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tc>
                  <a:txBody>
                    <a:bodyPr/>
                    <a:lstStyle/>
                    <a:p>
                      <a:pPr algn="r" fontAlgn="b"/>
                      <a:r>
                        <a:rPr lang="en-US" sz="1200" dirty="0" smtClean="0">
                          <a:solidFill>
                            <a:srgbClr val="000000"/>
                          </a:solidFill>
                          <a:latin typeface="Segoe UI" panose="020B0502040204020203" pitchFamily="34" charset="0"/>
                          <a:cs typeface="Segoe UI" panose="020B0502040204020203" pitchFamily="34" charset="0"/>
                        </a:rPr>
                        <a:t>3/18/2005</a:t>
                      </a:r>
                      <a:endParaRPr lang="en-US" sz="1200" b="0" i="0" u="none" strike="noStrike" dirty="0">
                        <a:solidFill>
                          <a:srgbClr val="000000"/>
                        </a:solidFill>
                        <a:effectLst/>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extLst>
                  <a:ext uri="{0D108BD9-81ED-4DB2-BD59-A6C34878D82A}">
                    <a16:rowId xmlns:a16="http://schemas.microsoft.com/office/drawing/2014/main" val="10003"/>
                  </a:ext>
                </a:extLst>
              </a:tr>
              <a:tr h="253134">
                <a:tc>
                  <a:txBody>
                    <a:bodyPr/>
                    <a:lstStyle/>
                    <a:p>
                      <a:pPr defTabSz="932384" fontAlgn="auto">
                        <a:spcBef>
                          <a:spcPts val="0"/>
                        </a:spcBef>
                        <a:spcAft>
                          <a:spcPts val="0"/>
                        </a:spcAft>
                      </a:pPr>
                      <a:r>
                        <a:rPr lang="en-US" sz="1200" dirty="0" smtClean="0">
                          <a:solidFill>
                            <a:srgbClr val="000000"/>
                          </a:solidFill>
                          <a:latin typeface="Segoe UI" panose="020B0502040204020203" pitchFamily="34" charset="0"/>
                          <a:cs typeface="Segoe UI" panose="020B0502040204020203" pitchFamily="34" charset="0"/>
                        </a:rPr>
                        <a:t>John Smith</a:t>
                      </a:r>
                      <a:endParaRPr lang="en-US" sz="1200" dirty="0">
                        <a:solidFill>
                          <a:srgbClr val="000000"/>
                        </a:solidFill>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tc>
                  <a:txBody>
                    <a:bodyPr/>
                    <a:lstStyle/>
                    <a:p>
                      <a:pPr marL="0" marR="0" lvl="0" indent="0" algn="r" defTabSz="93238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Segoe UI" panose="020B0502040204020203" pitchFamily="34" charset="0"/>
                          <a:ea typeface="+mn-ea"/>
                          <a:cs typeface="Segoe UI" panose="020B0502040204020203" pitchFamily="34" charset="0"/>
                        </a:rPr>
                        <a:t>i2y36cg776rg</a:t>
                      </a:r>
                      <a:endParaRPr kumimoji="0" lang="en-US" sz="12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endParaRPr>
                    </a:p>
                  </a:txBody>
                  <a:tcPr marT="13442" marB="0" anchor="ctr">
                    <a:lnL>
                      <a:noFill/>
                    </a:lnL>
                    <a:lnR>
                      <a:noFill/>
                    </a:lnR>
                    <a:lnT>
                      <a:noFill/>
                    </a:lnT>
                    <a:lnB>
                      <a:noFill/>
                    </a:lnB>
                    <a:solidFill>
                      <a:schemeClr val="bg1">
                        <a:lumMod val="95000"/>
                      </a:schemeClr>
                    </a:solidFill>
                  </a:tcPr>
                </a:tc>
                <a:tc>
                  <a:txBody>
                    <a:bodyPr/>
                    <a:lstStyle/>
                    <a:p>
                      <a:pPr algn="r" fontAlgn="b"/>
                      <a:r>
                        <a:rPr lang="en-US" sz="1200" dirty="0" smtClean="0">
                          <a:solidFill>
                            <a:srgbClr val="000000"/>
                          </a:solidFill>
                          <a:latin typeface="Segoe UI" panose="020B0502040204020203" pitchFamily="34" charset="0"/>
                          <a:cs typeface="Segoe UI" panose="020B0502040204020203" pitchFamily="34" charset="0"/>
                        </a:rPr>
                        <a:t>4/10/2005</a:t>
                      </a:r>
                      <a:endParaRPr lang="en-US" sz="1200" b="0" i="0" u="none" strike="noStrike" dirty="0">
                        <a:solidFill>
                          <a:srgbClr val="000000"/>
                        </a:solidFill>
                        <a:effectLst/>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extLst>
                  <a:ext uri="{0D108BD9-81ED-4DB2-BD59-A6C34878D82A}">
                    <a16:rowId xmlns:a16="http://schemas.microsoft.com/office/drawing/2014/main" val="10004"/>
                  </a:ext>
                </a:extLst>
              </a:tr>
              <a:tr h="253134">
                <a:tc>
                  <a:txBody>
                    <a:bodyPr/>
                    <a:lstStyle/>
                    <a:p>
                      <a:pPr defTabSz="932384" fontAlgn="auto">
                        <a:spcBef>
                          <a:spcPts val="0"/>
                        </a:spcBef>
                        <a:spcAft>
                          <a:spcPts val="0"/>
                        </a:spcAft>
                      </a:pPr>
                      <a:r>
                        <a:rPr lang="en-US" sz="1200" dirty="0" smtClean="0">
                          <a:solidFill>
                            <a:srgbClr val="000000"/>
                          </a:solidFill>
                          <a:latin typeface="Segoe UI" panose="020B0502040204020203" pitchFamily="34" charset="0"/>
                          <a:cs typeface="Segoe UI" panose="020B0502040204020203" pitchFamily="34" charset="0"/>
                        </a:rPr>
                        <a:t>Bill Brown</a:t>
                      </a:r>
                      <a:endParaRPr lang="en-US" sz="1200" dirty="0">
                        <a:solidFill>
                          <a:srgbClr val="000000"/>
                        </a:solidFill>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tc>
                  <a:txBody>
                    <a:bodyPr/>
                    <a:lstStyle/>
                    <a:p>
                      <a:pPr algn="r" fontAlgn="b"/>
                      <a:r>
                        <a:rPr lang="en-US" sz="1200" dirty="0" smtClean="0">
                          <a:solidFill>
                            <a:srgbClr val="000000"/>
                          </a:solidFill>
                          <a:latin typeface="Segoe UI" panose="020B0502040204020203" pitchFamily="34" charset="0"/>
                          <a:cs typeface="Segoe UI" panose="020B0502040204020203" pitchFamily="34" charset="0"/>
                        </a:rPr>
                        <a:t>nx290pldo90l</a:t>
                      </a:r>
                      <a:endParaRPr lang="en-US" sz="1200" b="0" i="0" u="none" strike="noStrike" dirty="0">
                        <a:solidFill>
                          <a:srgbClr val="000000"/>
                        </a:solidFill>
                        <a:effectLst/>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tc>
                  <a:txBody>
                    <a:bodyPr/>
                    <a:lstStyle/>
                    <a:p>
                      <a:pPr algn="r" fontAlgn="b"/>
                      <a:r>
                        <a:rPr lang="en-US" sz="1200" dirty="0" smtClean="0">
                          <a:solidFill>
                            <a:srgbClr val="000000"/>
                          </a:solidFill>
                          <a:latin typeface="Segoe UI" panose="020B0502040204020203" pitchFamily="34" charset="0"/>
                          <a:cs typeface="Segoe UI" panose="020B0502040204020203" pitchFamily="34" charset="0"/>
                        </a:rPr>
                        <a:t>4/27/2005</a:t>
                      </a:r>
                      <a:endParaRPr lang="en-US" sz="1200" b="0" i="0" u="none" strike="noStrike" dirty="0">
                        <a:solidFill>
                          <a:srgbClr val="000000"/>
                        </a:solidFill>
                        <a:effectLst/>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chemeClr val="bg1">
                        <a:lumMod val="95000"/>
                      </a:schemeClr>
                    </a:solidFill>
                  </a:tcPr>
                </a:tc>
                <a:extLst>
                  <a:ext uri="{0D108BD9-81ED-4DB2-BD59-A6C34878D82A}">
                    <a16:rowId xmlns:a16="http://schemas.microsoft.com/office/drawing/2014/main" val="10005"/>
                  </a:ext>
                </a:extLst>
              </a:tr>
            </a:tbl>
          </a:graphicData>
        </a:graphic>
      </p:graphicFrame>
      <p:grpSp>
        <p:nvGrpSpPr>
          <p:cNvPr id="16" name="Group 15"/>
          <p:cNvGrpSpPr/>
          <p:nvPr/>
        </p:nvGrpSpPr>
        <p:grpSpPr>
          <a:xfrm>
            <a:off x="2011932" y="4675164"/>
            <a:ext cx="2152528" cy="1873394"/>
            <a:chOff x="1119622" y="4287112"/>
            <a:chExt cx="2152528" cy="1873394"/>
          </a:xfrm>
        </p:grpSpPr>
        <p:sp>
          <p:nvSpPr>
            <p:cNvPr id="15" name="Right Triangle 14"/>
            <p:cNvSpPr/>
            <p:nvPr/>
          </p:nvSpPr>
          <p:spPr>
            <a:xfrm rot="5400000">
              <a:off x="2892621" y="4648762"/>
              <a:ext cx="379529" cy="379529"/>
            </a:xfrm>
            <a:prstGeom prst="r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nvGrpSpPr>
            <p:cNvPr id="9" name="Group 8"/>
            <p:cNvGrpSpPr/>
            <p:nvPr/>
          </p:nvGrpSpPr>
          <p:grpSpPr>
            <a:xfrm>
              <a:off x="1119622" y="4287112"/>
              <a:ext cx="1920240" cy="1873394"/>
              <a:chOff x="3563690" y="4472143"/>
              <a:chExt cx="1920240" cy="1873394"/>
            </a:xfrm>
          </p:grpSpPr>
          <p:sp>
            <p:nvSpPr>
              <p:cNvPr id="3" name="Rectangle 2"/>
              <p:cNvSpPr/>
              <p:nvPr/>
            </p:nvSpPr>
            <p:spPr>
              <a:xfrm>
                <a:off x="3563690" y="4527408"/>
                <a:ext cx="1920240" cy="154979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black"/>
                  </a:solidFill>
                  <a:latin typeface="Segoe UI" panose="020B0502040204020203" pitchFamily="34" charset="0"/>
                  <a:cs typeface="Segoe UI" panose="020B0502040204020203" pitchFamily="34" charset="0"/>
                </a:endParaRPr>
              </a:p>
            </p:txBody>
          </p:sp>
          <p:sp>
            <p:nvSpPr>
              <p:cNvPr id="5" name="Rectangle 4"/>
              <p:cNvSpPr/>
              <p:nvPr/>
            </p:nvSpPr>
            <p:spPr>
              <a:xfrm>
                <a:off x="3689901" y="4963278"/>
                <a:ext cx="241014" cy="241014"/>
              </a:xfrm>
              <a:prstGeom prst="rect">
                <a:avLst/>
              </a:prstGeom>
              <a:solidFill>
                <a:schemeClr val="bg1">
                  <a:lumMod val="85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1" name="Rectangle 40"/>
              <p:cNvSpPr/>
              <p:nvPr/>
            </p:nvSpPr>
            <p:spPr>
              <a:xfrm>
                <a:off x="3689901" y="5306790"/>
                <a:ext cx="241014" cy="241014"/>
              </a:xfrm>
              <a:prstGeom prst="rect">
                <a:avLst/>
              </a:prstGeom>
              <a:solidFill>
                <a:schemeClr val="bg1">
                  <a:lumMod val="85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2" name="Rectangle 41"/>
              <p:cNvSpPr/>
              <p:nvPr/>
            </p:nvSpPr>
            <p:spPr>
              <a:xfrm>
                <a:off x="3689901" y="5664417"/>
                <a:ext cx="241014" cy="241014"/>
              </a:xfrm>
              <a:prstGeom prst="rect">
                <a:avLst/>
              </a:prstGeom>
              <a:solidFill>
                <a:schemeClr val="bg1">
                  <a:lumMod val="85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 name="TextBox 5"/>
              <p:cNvSpPr txBox="1"/>
              <p:nvPr/>
            </p:nvSpPr>
            <p:spPr>
              <a:xfrm>
                <a:off x="3909097" y="4960542"/>
                <a:ext cx="1192314" cy="1384995"/>
              </a:xfrm>
              <a:prstGeom prst="rect">
                <a:avLst/>
              </a:prstGeom>
              <a:noFill/>
            </p:spPr>
            <p:txBody>
              <a:bodyPr wrap="none" rtlCol="0">
                <a:spAutoFit/>
              </a:bodyPr>
              <a:lstStyle/>
              <a:p>
                <a:pPr algn="ctr"/>
                <a:r>
                  <a:rPr lang="en-US" sz="1200" dirty="0">
                    <a:solidFill>
                      <a:srgbClr val="5B9BD5">
                        <a:lumMod val="50000"/>
                      </a:srgbClr>
                    </a:solidFill>
                    <a:latin typeface="Segoe UI" panose="020B0502040204020203" pitchFamily="34" charset="0"/>
                    <a:cs typeface="Segoe UI" panose="020B0502040204020203" pitchFamily="34" charset="0"/>
                  </a:rPr>
                  <a:t>Customer </a:t>
                </a:r>
                <a:r>
                  <a:rPr lang="en-US" sz="1200" dirty="0" smtClean="0">
                    <a:solidFill>
                      <a:srgbClr val="5B9BD5">
                        <a:lumMod val="50000"/>
                      </a:srgbClr>
                    </a:solidFill>
                    <a:latin typeface="Segoe UI" panose="020B0502040204020203" pitchFamily="34" charset="0"/>
                    <a:cs typeface="Segoe UI" panose="020B0502040204020203" pitchFamily="34" charset="0"/>
                  </a:rPr>
                  <a:t>data</a:t>
                </a:r>
              </a:p>
              <a:p>
                <a:pPr algn="ctr"/>
                <a:endParaRPr lang="en-US" sz="1200" dirty="0">
                  <a:solidFill>
                    <a:srgbClr val="5B9BD5">
                      <a:lumMod val="50000"/>
                    </a:srgbClr>
                  </a:solidFill>
                  <a:latin typeface="Segoe UI" panose="020B0502040204020203" pitchFamily="34" charset="0"/>
                  <a:cs typeface="Segoe UI" panose="020B0502040204020203" pitchFamily="34" charset="0"/>
                </a:endParaRPr>
              </a:p>
              <a:p>
                <a:r>
                  <a:rPr lang="en-US" sz="1200" dirty="0" smtClean="0">
                    <a:solidFill>
                      <a:srgbClr val="5B9BD5">
                        <a:lumMod val="50000"/>
                      </a:srgbClr>
                    </a:solidFill>
                    <a:latin typeface="Segoe UI" panose="020B0502040204020203" pitchFamily="34" charset="0"/>
                    <a:cs typeface="Segoe UI" panose="020B0502040204020203" pitchFamily="34" charset="0"/>
                  </a:rPr>
                  <a:t>Product data</a:t>
                </a:r>
              </a:p>
              <a:p>
                <a:endParaRPr lang="en-US" sz="1200" dirty="0">
                  <a:solidFill>
                    <a:srgbClr val="5B9BD5">
                      <a:lumMod val="50000"/>
                    </a:srgbClr>
                  </a:solidFill>
                  <a:latin typeface="Segoe UI" panose="020B0502040204020203" pitchFamily="34" charset="0"/>
                  <a:cs typeface="Segoe UI" panose="020B0502040204020203" pitchFamily="34" charset="0"/>
                </a:endParaRPr>
              </a:p>
              <a:p>
                <a:r>
                  <a:rPr lang="en-US" sz="1200" dirty="0" smtClean="0">
                    <a:solidFill>
                      <a:srgbClr val="5B9BD5">
                        <a:lumMod val="50000"/>
                      </a:srgbClr>
                    </a:solidFill>
                    <a:latin typeface="Segoe UI" panose="020B0502040204020203" pitchFamily="34" charset="0"/>
                    <a:cs typeface="Segoe UI" panose="020B0502040204020203" pitchFamily="34" charset="0"/>
                  </a:rPr>
                  <a:t>Order History</a:t>
                </a:r>
                <a:endParaRPr lang="en-US" sz="1200" dirty="0">
                  <a:solidFill>
                    <a:srgbClr val="5B9BD5">
                      <a:lumMod val="50000"/>
                    </a:srgbClr>
                  </a:solidFill>
                  <a:latin typeface="Segoe UI" panose="020B0502040204020203" pitchFamily="34" charset="0"/>
                  <a:cs typeface="Segoe UI" panose="020B0502040204020203" pitchFamily="34" charset="0"/>
                </a:endParaRPr>
              </a:p>
              <a:p>
                <a:endParaRPr lang="en-US" dirty="0">
                  <a:solidFill>
                    <a:srgbClr val="5B9BD5">
                      <a:lumMod val="50000"/>
                    </a:srgbClr>
                  </a:solidFill>
                </a:endParaRPr>
              </a:p>
            </p:txBody>
          </p:sp>
          <p:sp>
            <p:nvSpPr>
              <p:cNvPr id="8" name="Rectangle 7"/>
              <p:cNvSpPr/>
              <p:nvPr/>
            </p:nvSpPr>
            <p:spPr>
              <a:xfrm>
                <a:off x="3563690" y="4472143"/>
                <a:ext cx="1920240" cy="361649"/>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smtClean="0">
                    <a:solidFill>
                      <a:prstClr val="white"/>
                    </a:solidFill>
                    <a:latin typeface="Segoe UI" panose="020B0502040204020203" pitchFamily="34" charset="0"/>
                    <a:cs typeface="Segoe UI" panose="020B0502040204020203" pitchFamily="34" charset="0"/>
                  </a:rPr>
                  <a:t>Stretch to cloud</a:t>
                </a:r>
                <a:endParaRPr lang="en-US" sz="1400" dirty="0">
                  <a:solidFill>
                    <a:prstClr val="white"/>
                  </a:solidFill>
                  <a:latin typeface="Segoe UI" panose="020B0502040204020203" pitchFamily="34" charset="0"/>
                  <a:cs typeface="Segoe UI" panose="020B0502040204020203" pitchFamily="34" charset="0"/>
                </a:endParaRPr>
              </a:p>
            </p:txBody>
          </p:sp>
        </p:grpSp>
      </p:grpSp>
      <p:sp>
        <p:nvSpPr>
          <p:cNvPr id="208" name="Freeform 207"/>
          <p:cNvSpPr>
            <a:spLocks/>
          </p:cNvSpPr>
          <p:nvPr/>
        </p:nvSpPr>
        <p:spPr bwMode="auto">
          <a:xfrm>
            <a:off x="4775115" y="1482496"/>
            <a:ext cx="2578965" cy="1584737"/>
          </a:xfrm>
          <a:custGeom>
            <a:avLst/>
            <a:gdLst>
              <a:gd name="T0" fmla="*/ 860 w 994"/>
              <a:gd name="T1" fmla="*/ 342 h 610"/>
              <a:gd name="T2" fmla="*/ 858 w 994"/>
              <a:gd name="T3" fmla="*/ 342 h 610"/>
              <a:gd name="T4" fmla="*/ 860 w 994"/>
              <a:gd name="T5" fmla="*/ 305 h 610"/>
              <a:gd name="T6" fmla="*/ 555 w 994"/>
              <a:gd name="T7" fmla="*/ 0 h 610"/>
              <a:gd name="T8" fmla="*/ 272 w 994"/>
              <a:gd name="T9" fmla="*/ 193 h 610"/>
              <a:gd name="T10" fmla="*/ 212 w 994"/>
              <a:gd name="T11" fmla="*/ 185 h 610"/>
              <a:gd name="T12" fmla="*/ 0 w 994"/>
              <a:gd name="T13" fmla="*/ 397 h 610"/>
              <a:gd name="T14" fmla="*/ 212 w 994"/>
              <a:gd name="T15" fmla="*/ 610 h 610"/>
              <a:gd name="T16" fmla="*/ 860 w 994"/>
              <a:gd name="T17" fmla="*/ 610 h 610"/>
              <a:gd name="T18" fmla="*/ 994 w 994"/>
              <a:gd name="T19" fmla="*/ 476 h 610"/>
              <a:gd name="T20" fmla="*/ 860 w 994"/>
              <a:gd name="T21" fmla="*/ 342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4" h="610">
                <a:moveTo>
                  <a:pt x="860" y="342"/>
                </a:moveTo>
                <a:cubicBezTo>
                  <a:pt x="859" y="342"/>
                  <a:pt x="858" y="342"/>
                  <a:pt x="858" y="342"/>
                </a:cubicBezTo>
                <a:cubicBezTo>
                  <a:pt x="859" y="330"/>
                  <a:pt x="860" y="318"/>
                  <a:pt x="860" y="305"/>
                </a:cubicBezTo>
                <a:cubicBezTo>
                  <a:pt x="860" y="137"/>
                  <a:pt x="723" y="0"/>
                  <a:pt x="555" y="0"/>
                </a:cubicBezTo>
                <a:cubicBezTo>
                  <a:pt x="426" y="0"/>
                  <a:pt x="316" y="80"/>
                  <a:pt x="272" y="193"/>
                </a:cubicBezTo>
                <a:cubicBezTo>
                  <a:pt x="253" y="188"/>
                  <a:pt x="233" y="185"/>
                  <a:pt x="212" y="185"/>
                </a:cubicBezTo>
                <a:cubicBezTo>
                  <a:pt x="95" y="185"/>
                  <a:pt x="0" y="280"/>
                  <a:pt x="0" y="397"/>
                </a:cubicBezTo>
                <a:cubicBezTo>
                  <a:pt x="0" y="515"/>
                  <a:pt x="95" y="610"/>
                  <a:pt x="212" y="610"/>
                </a:cubicBezTo>
                <a:cubicBezTo>
                  <a:pt x="860" y="610"/>
                  <a:pt x="860" y="610"/>
                  <a:pt x="860" y="610"/>
                </a:cubicBezTo>
                <a:cubicBezTo>
                  <a:pt x="934" y="610"/>
                  <a:pt x="994" y="550"/>
                  <a:pt x="994" y="476"/>
                </a:cubicBezTo>
                <a:cubicBezTo>
                  <a:pt x="994" y="402"/>
                  <a:pt x="934" y="342"/>
                  <a:pt x="860" y="342"/>
                </a:cubicBezTo>
                <a:close/>
              </a:path>
            </a:pathLst>
          </a:custGeom>
          <a:solidFill>
            <a:srgbClr val="C3E2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sz="1198" dirty="0">
              <a:solidFill>
                <a:srgbClr val="000000"/>
              </a:solidFill>
            </a:endParaRPr>
          </a:p>
        </p:txBody>
      </p:sp>
      <p:graphicFrame>
        <p:nvGraphicFramePr>
          <p:cNvPr id="26" name="Object 25" hidden="1"/>
          <p:cNvGraphicFramePr>
            <a:graphicFrameLocks noChangeAspect="1"/>
          </p:cNvGraphicFramePr>
          <p:nvPr>
            <p:custDataLst>
              <p:tags r:id="rId2"/>
            </p:custDataLst>
            <p:extLst/>
          </p:nvPr>
        </p:nvGraphicFramePr>
        <p:xfrm>
          <a:off x="3353" y="2581"/>
          <a:ext cx="1587" cy="1587"/>
        </p:xfrm>
        <a:graphic>
          <a:graphicData uri="http://schemas.openxmlformats.org/presentationml/2006/ole">
            <mc:AlternateContent xmlns:mc="http://schemas.openxmlformats.org/markup-compatibility/2006">
              <mc:Choice xmlns:v="urn:schemas-microsoft-com:vml" Requires="v">
                <p:oleObj spid="_x0000_s413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3353" y="2581"/>
                        <a:ext cx="1587" cy="1587"/>
                      </a:xfrm>
                      <a:prstGeom prst="rect">
                        <a:avLst/>
                      </a:prstGeom>
                    </p:spPr>
                  </p:pic>
                </p:oleObj>
              </mc:Fallback>
            </mc:AlternateContent>
          </a:graphicData>
        </a:graphic>
      </p:graphicFrame>
      <p:sp>
        <p:nvSpPr>
          <p:cNvPr id="4" name="Title 3"/>
          <p:cNvSpPr>
            <a:spLocks noGrp="1"/>
          </p:cNvSpPr>
          <p:nvPr>
            <p:ph type="title"/>
          </p:nvPr>
        </p:nvSpPr>
        <p:spPr/>
        <p:txBody>
          <a:bodyPr>
            <a:normAutofit fontScale="90000"/>
          </a:bodyPr>
          <a:lstStyle/>
          <a:p>
            <a:r>
              <a:rPr lang="en-US" dirty="0" smtClean="0">
                <a:latin typeface="Segoe UI Light" panose="020B0502040204020203" pitchFamily="34" charset="0"/>
                <a:cs typeface="Segoe UI Light" panose="020B0502040204020203" pitchFamily="34" charset="0"/>
              </a:rPr>
              <a:t>Stretch : SQL Server &amp; Azure</a:t>
            </a:r>
            <a:r>
              <a:rPr lang="en-US" dirty="0" smtClean="0"/>
              <a:t/>
            </a:r>
            <a:br>
              <a:rPr lang="en-US" dirty="0" smtClean="0"/>
            </a:br>
            <a:endParaRPr lang="en-US" sz="3598" dirty="0">
              <a:solidFill>
                <a:schemeClr val="accent1"/>
              </a:solidFill>
              <a:latin typeface="Segoe UI Light" panose="020B0502040204020203" pitchFamily="34" charset="0"/>
              <a:cs typeface="Segoe UI Light" panose="020B0502040204020203" pitchFamily="34" charset="0"/>
            </a:endParaRPr>
          </a:p>
        </p:txBody>
      </p:sp>
      <p:sp>
        <p:nvSpPr>
          <p:cNvPr id="11" name="Text Placeholder 10"/>
          <p:cNvSpPr>
            <a:spLocks noGrp="1"/>
          </p:cNvSpPr>
          <p:nvPr>
            <p:ph type="body" sz="quarter" idx="13"/>
          </p:nvPr>
        </p:nvSpPr>
        <p:spPr/>
        <p:txBody>
          <a:bodyPr/>
          <a:lstStyle/>
          <a:p>
            <a:endParaRPr lang="fr-FR"/>
          </a:p>
        </p:txBody>
      </p:sp>
      <p:sp>
        <p:nvSpPr>
          <p:cNvPr id="17" name="Text Placeholder 16"/>
          <p:cNvSpPr>
            <a:spLocks noGrp="1"/>
          </p:cNvSpPr>
          <p:nvPr>
            <p:ph type="body" sz="quarter" idx="15"/>
          </p:nvPr>
        </p:nvSpPr>
        <p:spPr/>
        <p:txBody>
          <a:bodyPr/>
          <a:lstStyle/>
          <a:p>
            <a:endParaRPr lang="fr-FR"/>
          </a:p>
        </p:txBody>
      </p:sp>
      <p:sp>
        <p:nvSpPr>
          <p:cNvPr id="7" name="Rectangle 6"/>
          <p:cNvSpPr/>
          <p:nvPr/>
        </p:nvSpPr>
        <p:spPr bwMode="auto">
          <a:xfrm>
            <a:off x="7943658" y="1931035"/>
            <a:ext cx="4254086" cy="418573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06" rIns="0" bIns="45706" numCol="1" spcCol="0" rtlCol="0" fromWordArt="0" anchor="t" anchorCtr="0" forceAA="0" compatLnSpc="1">
            <a:prstTxWarp prst="textNoShape">
              <a:avLst/>
            </a:prstTxWarp>
            <a:spAutoFit/>
          </a:bodyPr>
          <a:lstStyle/>
          <a:p>
            <a:pPr defTabSz="931776" fontAlgn="auto">
              <a:spcBef>
                <a:spcPts val="1198"/>
              </a:spcBef>
              <a:spcAft>
                <a:spcPts val="0"/>
              </a:spcAft>
            </a:pPr>
            <a:r>
              <a:rPr lang="en-US" sz="2800" dirty="0" err="1" smtClean="0">
                <a:ln>
                  <a:solidFill>
                    <a:srgbClr val="FFFFFF">
                      <a:alpha val="0"/>
                    </a:srgbClr>
                  </a:solidFill>
                </a:ln>
                <a:solidFill>
                  <a:srgbClr val="0072C6"/>
                </a:solidFill>
                <a:latin typeface="Segoe UI Light"/>
                <a:ea typeface="Segoe UI" pitchFamily="34" charset="0"/>
                <a:cs typeface="Segoe UI" pitchFamily="34" charset="0"/>
              </a:rPr>
              <a:t>Capacité</a:t>
            </a:r>
            <a:endParaRPr lang="en-US" sz="2800" dirty="0">
              <a:ln>
                <a:solidFill>
                  <a:srgbClr val="FFFFFF">
                    <a:alpha val="0"/>
                  </a:srgbClr>
                </a:solidFill>
              </a:ln>
              <a:solidFill>
                <a:srgbClr val="0072C6"/>
              </a:solidFill>
              <a:latin typeface="Segoe UI Light"/>
              <a:ea typeface="Segoe UI" pitchFamily="34" charset="0"/>
              <a:cs typeface="Segoe UI" pitchFamily="34" charset="0"/>
            </a:endParaRPr>
          </a:p>
          <a:p>
            <a:pPr defTabSz="931776" fontAlgn="auto">
              <a:spcBef>
                <a:spcPts val="600"/>
              </a:spcBef>
              <a:spcAft>
                <a:spcPts val="0"/>
              </a:spcAft>
            </a:pPr>
            <a:r>
              <a:rPr lang="en-US" sz="1800" dirty="0" err="1" smtClean="0">
                <a:ln>
                  <a:solidFill>
                    <a:srgbClr val="FFFFFF">
                      <a:alpha val="0"/>
                    </a:srgbClr>
                  </a:solidFill>
                </a:ln>
                <a:solidFill>
                  <a:srgbClr val="44546A"/>
                </a:solidFill>
                <a:latin typeface="Segoe UI" panose="020B0502040204020203" pitchFamily="34" charset="0"/>
                <a:ea typeface="Segoe UI" panose="020B0502040204020203" pitchFamily="34" charset="0"/>
                <a:cs typeface="Segoe UI" panose="020B0502040204020203" pitchFamily="34" charset="0"/>
              </a:rPr>
              <a:t>Pouvoir</a:t>
            </a:r>
            <a:r>
              <a:rPr lang="en-US" sz="1800" dirty="0" smtClean="0">
                <a:ln>
                  <a:solidFill>
                    <a:srgbClr val="FFFFFF">
                      <a:alpha val="0"/>
                    </a:srgbClr>
                  </a:solidFill>
                </a:ln>
                <a:solidFill>
                  <a:srgbClr val="44546A"/>
                </a:solidFill>
                <a:latin typeface="Segoe UI" panose="020B0502040204020203" pitchFamily="34" charset="0"/>
                <a:ea typeface="Segoe UI" panose="020B0502040204020203" pitchFamily="34" charset="0"/>
                <a:cs typeface="Segoe UI" panose="020B0502040204020203" pitchFamily="34" charset="0"/>
              </a:rPr>
              <a:t> </a:t>
            </a:r>
            <a:r>
              <a:rPr lang="en-US" sz="1800" dirty="0" err="1" smtClean="0">
                <a:ln>
                  <a:solidFill>
                    <a:srgbClr val="FFFFFF">
                      <a:alpha val="0"/>
                    </a:srgbClr>
                  </a:solidFill>
                </a:ln>
                <a:solidFill>
                  <a:srgbClr val="44546A"/>
                </a:solidFill>
                <a:latin typeface="Segoe UI" panose="020B0502040204020203" pitchFamily="34" charset="0"/>
                <a:ea typeface="Segoe UI" panose="020B0502040204020203" pitchFamily="34" charset="0"/>
                <a:cs typeface="Segoe UI" panose="020B0502040204020203" pitchFamily="34" charset="0"/>
              </a:rPr>
              <a:t>migrer</a:t>
            </a:r>
            <a:r>
              <a:rPr lang="en-US" sz="1800" dirty="0" smtClean="0">
                <a:ln>
                  <a:solidFill>
                    <a:srgbClr val="FFFFFF">
                      <a:alpha val="0"/>
                    </a:srgbClr>
                  </a:solidFill>
                </a:ln>
                <a:solidFill>
                  <a:srgbClr val="44546A"/>
                </a:solidFill>
                <a:latin typeface="Segoe UI" panose="020B0502040204020203" pitchFamily="34" charset="0"/>
                <a:ea typeface="Segoe UI" panose="020B0502040204020203" pitchFamily="34" charset="0"/>
                <a:cs typeface="Segoe UI" panose="020B0502040204020203" pitchFamily="34" charset="0"/>
              </a:rPr>
              <a:t> des </a:t>
            </a:r>
            <a:r>
              <a:rPr lang="en-US" sz="1800" dirty="0" err="1" smtClean="0">
                <a:ln>
                  <a:solidFill>
                    <a:srgbClr val="FFFFFF">
                      <a:alpha val="0"/>
                    </a:srgbClr>
                  </a:solidFill>
                </a:ln>
                <a:solidFill>
                  <a:srgbClr val="44546A"/>
                </a:solidFill>
                <a:latin typeface="Segoe UI" panose="020B0502040204020203" pitchFamily="34" charset="0"/>
                <a:ea typeface="Segoe UI" panose="020B0502040204020203" pitchFamily="34" charset="0"/>
                <a:cs typeface="Segoe UI" panose="020B0502040204020203" pitchFamily="34" charset="0"/>
              </a:rPr>
              <a:t>données</a:t>
            </a:r>
            <a:r>
              <a:rPr lang="en-US" sz="1800" dirty="0" smtClean="0">
                <a:ln>
                  <a:solidFill>
                    <a:srgbClr val="FFFFFF">
                      <a:alpha val="0"/>
                    </a:srgbClr>
                  </a:solidFill>
                </a:ln>
                <a:solidFill>
                  <a:srgbClr val="44546A"/>
                </a:solidFill>
                <a:latin typeface="Segoe UI" panose="020B0502040204020203" pitchFamily="34" charset="0"/>
                <a:ea typeface="Segoe UI" panose="020B0502040204020203" pitchFamily="34" charset="0"/>
                <a:cs typeface="Segoe UI" panose="020B0502040204020203" pitchFamily="34" charset="0"/>
              </a:rPr>
              <a:t> “</a:t>
            </a:r>
            <a:r>
              <a:rPr lang="en-US" sz="1800" dirty="0" err="1" smtClean="0">
                <a:ln>
                  <a:solidFill>
                    <a:srgbClr val="FFFFFF">
                      <a:alpha val="0"/>
                    </a:srgbClr>
                  </a:solidFill>
                </a:ln>
                <a:solidFill>
                  <a:srgbClr val="44546A"/>
                </a:solidFill>
                <a:latin typeface="Segoe UI" panose="020B0502040204020203" pitchFamily="34" charset="0"/>
                <a:ea typeface="Segoe UI" panose="020B0502040204020203" pitchFamily="34" charset="0"/>
                <a:cs typeface="Segoe UI" panose="020B0502040204020203" pitchFamily="34" charset="0"/>
              </a:rPr>
              <a:t>froides</a:t>
            </a:r>
            <a:r>
              <a:rPr lang="en-US" sz="1800" dirty="0" smtClean="0">
                <a:ln>
                  <a:solidFill>
                    <a:srgbClr val="FFFFFF">
                      <a:alpha val="0"/>
                    </a:srgbClr>
                  </a:solidFill>
                </a:ln>
                <a:solidFill>
                  <a:srgbClr val="44546A"/>
                </a:solidFill>
                <a:latin typeface="Segoe UI" panose="020B0502040204020203" pitchFamily="34" charset="0"/>
                <a:ea typeface="Segoe UI" panose="020B0502040204020203" pitchFamily="34" charset="0"/>
                <a:cs typeface="Segoe UI" panose="020B0502040204020203" pitchFamily="34" charset="0"/>
              </a:rPr>
              <a:t>” </a:t>
            </a:r>
            <a:r>
              <a:rPr lang="en-US" sz="1800" dirty="0" err="1" smtClean="0">
                <a:ln>
                  <a:solidFill>
                    <a:srgbClr val="FFFFFF">
                      <a:alpha val="0"/>
                    </a:srgbClr>
                  </a:solidFill>
                </a:ln>
                <a:solidFill>
                  <a:srgbClr val="44546A"/>
                </a:solidFill>
                <a:latin typeface="Segoe UI" panose="020B0502040204020203" pitchFamily="34" charset="0"/>
                <a:ea typeface="Segoe UI" panose="020B0502040204020203" pitchFamily="34" charset="0"/>
                <a:cs typeface="Segoe UI" panose="020B0502040204020203" pitchFamily="34" charset="0"/>
              </a:rPr>
              <a:t>d’une</a:t>
            </a:r>
            <a:r>
              <a:rPr lang="en-US" sz="1800" dirty="0" smtClean="0">
                <a:ln>
                  <a:solidFill>
                    <a:srgbClr val="FFFFFF">
                      <a:alpha val="0"/>
                    </a:srgbClr>
                  </a:solidFill>
                </a:ln>
                <a:solidFill>
                  <a:srgbClr val="44546A"/>
                </a:solidFill>
                <a:latin typeface="Segoe UI" panose="020B0502040204020203" pitchFamily="34" charset="0"/>
                <a:ea typeface="Segoe UI" panose="020B0502040204020203" pitchFamily="34" charset="0"/>
                <a:cs typeface="Segoe UI" panose="020B0502040204020203" pitchFamily="34" charset="0"/>
              </a:rPr>
              <a:t> base à </a:t>
            </a:r>
            <a:r>
              <a:rPr lang="en-US" sz="1800" dirty="0" err="1" smtClean="0">
                <a:ln>
                  <a:solidFill>
                    <a:srgbClr val="FFFFFF">
                      <a:alpha val="0"/>
                    </a:srgbClr>
                  </a:solidFill>
                </a:ln>
                <a:solidFill>
                  <a:srgbClr val="44546A"/>
                </a:solidFill>
                <a:latin typeface="Segoe UI" panose="020B0502040204020203" pitchFamily="34" charset="0"/>
                <a:ea typeface="Segoe UI" panose="020B0502040204020203" pitchFamily="34" charset="0"/>
                <a:cs typeface="Segoe UI" panose="020B0502040204020203" pitchFamily="34" charset="0"/>
              </a:rPr>
              <a:t>demeure</a:t>
            </a:r>
            <a:r>
              <a:rPr lang="en-US" sz="1800" dirty="0" smtClean="0">
                <a:ln>
                  <a:solidFill>
                    <a:srgbClr val="FFFFFF">
                      <a:alpha val="0"/>
                    </a:srgbClr>
                  </a:solidFill>
                </a:ln>
                <a:solidFill>
                  <a:srgbClr val="44546A"/>
                </a:solidFill>
                <a:latin typeface="Segoe UI" panose="020B0502040204020203" pitchFamily="34" charset="0"/>
                <a:ea typeface="Segoe UI" panose="020B0502040204020203" pitchFamily="34" charset="0"/>
                <a:cs typeface="Segoe UI" panose="020B0502040204020203" pitchFamily="34" charset="0"/>
              </a:rPr>
              <a:t> </a:t>
            </a:r>
            <a:r>
              <a:rPr lang="en-US" sz="1800" dirty="0" err="1" smtClean="0">
                <a:ln>
                  <a:solidFill>
                    <a:srgbClr val="FFFFFF">
                      <a:alpha val="0"/>
                    </a:srgbClr>
                  </a:solidFill>
                </a:ln>
                <a:solidFill>
                  <a:srgbClr val="44546A"/>
                </a:solidFill>
                <a:latin typeface="Segoe UI" panose="020B0502040204020203" pitchFamily="34" charset="0"/>
                <a:ea typeface="Segoe UI" panose="020B0502040204020203" pitchFamily="34" charset="0"/>
                <a:cs typeface="Segoe UI" panose="020B0502040204020203" pitchFamily="34" charset="0"/>
              </a:rPr>
              <a:t>vers</a:t>
            </a:r>
            <a:r>
              <a:rPr lang="en-US" sz="1800" dirty="0" smtClean="0">
                <a:ln>
                  <a:solidFill>
                    <a:srgbClr val="FFFFFF">
                      <a:alpha val="0"/>
                    </a:srgbClr>
                  </a:solidFill>
                </a:ln>
                <a:solidFill>
                  <a:srgbClr val="44546A"/>
                </a:solidFill>
                <a:latin typeface="Segoe UI" panose="020B0502040204020203" pitchFamily="34" charset="0"/>
                <a:ea typeface="Segoe UI" panose="020B0502040204020203" pitchFamily="34" charset="0"/>
                <a:cs typeface="Segoe UI" panose="020B0502040204020203" pitchFamily="34" charset="0"/>
              </a:rPr>
              <a:t> </a:t>
            </a:r>
            <a:r>
              <a:rPr lang="en-US" sz="1800" dirty="0" err="1" smtClean="0">
                <a:ln>
                  <a:solidFill>
                    <a:srgbClr val="FFFFFF">
                      <a:alpha val="0"/>
                    </a:srgbClr>
                  </a:solidFill>
                </a:ln>
                <a:solidFill>
                  <a:srgbClr val="44546A"/>
                </a:solidFill>
                <a:latin typeface="Segoe UI" panose="020B0502040204020203" pitchFamily="34" charset="0"/>
                <a:ea typeface="Segoe UI" panose="020B0502040204020203" pitchFamily="34" charset="0"/>
                <a:cs typeface="Segoe UI" panose="020B0502040204020203" pitchFamily="34" charset="0"/>
              </a:rPr>
              <a:t>une</a:t>
            </a:r>
            <a:r>
              <a:rPr lang="en-US" sz="1800" dirty="0" smtClean="0">
                <a:ln>
                  <a:solidFill>
                    <a:srgbClr val="FFFFFF">
                      <a:alpha val="0"/>
                    </a:srgbClr>
                  </a:solidFill>
                </a:ln>
                <a:solidFill>
                  <a:srgbClr val="44546A"/>
                </a:solidFill>
                <a:latin typeface="Segoe UI" panose="020B0502040204020203" pitchFamily="34" charset="0"/>
                <a:ea typeface="Segoe UI" panose="020B0502040204020203" pitchFamily="34" charset="0"/>
                <a:cs typeface="Segoe UI" panose="020B0502040204020203" pitchFamily="34" charset="0"/>
              </a:rPr>
              <a:t> base Azure, sans </a:t>
            </a:r>
            <a:r>
              <a:rPr lang="en-US" sz="1800" dirty="0" err="1" smtClean="0">
                <a:ln>
                  <a:solidFill>
                    <a:srgbClr val="FFFFFF">
                      <a:alpha val="0"/>
                    </a:srgbClr>
                  </a:solidFill>
                </a:ln>
                <a:solidFill>
                  <a:srgbClr val="44546A"/>
                </a:solidFill>
                <a:latin typeface="Segoe UI" panose="020B0502040204020203" pitchFamily="34" charset="0"/>
                <a:ea typeface="Segoe UI" panose="020B0502040204020203" pitchFamily="34" charset="0"/>
                <a:cs typeface="Segoe UI" panose="020B0502040204020203" pitchFamily="34" charset="0"/>
              </a:rPr>
              <a:t>avoir</a:t>
            </a:r>
            <a:r>
              <a:rPr lang="en-US" sz="1800" dirty="0" smtClean="0">
                <a:ln>
                  <a:solidFill>
                    <a:srgbClr val="FFFFFF">
                      <a:alpha val="0"/>
                    </a:srgbClr>
                  </a:solidFill>
                </a:ln>
                <a:solidFill>
                  <a:srgbClr val="44546A"/>
                </a:solidFill>
                <a:latin typeface="Segoe UI" panose="020B0502040204020203" pitchFamily="34" charset="0"/>
                <a:ea typeface="Segoe UI" panose="020B0502040204020203" pitchFamily="34" charset="0"/>
                <a:cs typeface="Segoe UI" panose="020B0502040204020203" pitchFamily="34" charset="0"/>
              </a:rPr>
              <a:t> à changer la </a:t>
            </a:r>
            <a:r>
              <a:rPr lang="en-US" sz="1800" dirty="0" err="1" smtClean="0">
                <a:ln>
                  <a:solidFill>
                    <a:srgbClr val="FFFFFF">
                      <a:alpha val="0"/>
                    </a:srgbClr>
                  </a:solidFill>
                </a:ln>
                <a:solidFill>
                  <a:srgbClr val="44546A"/>
                </a:solidFill>
                <a:latin typeface="Segoe UI" panose="020B0502040204020203" pitchFamily="34" charset="0"/>
                <a:ea typeface="Segoe UI" panose="020B0502040204020203" pitchFamily="34" charset="0"/>
                <a:cs typeface="Segoe UI" panose="020B0502040204020203" pitchFamily="34" charset="0"/>
              </a:rPr>
              <a:t>manière</a:t>
            </a:r>
            <a:r>
              <a:rPr lang="en-US" sz="1800" dirty="0" smtClean="0">
                <a:ln>
                  <a:solidFill>
                    <a:srgbClr val="FFFFFF">
                      <a:alpha val="0"/>
                    </a:srgbClr>
                  </a:solidFill>
                </a:ln>
                <a:solidFill>
                  <a:srgbClr val="44546A"/>
                </a:solidFill>
                <a:latin typeface="Segoe UI" panose="020B0502040204020203" pitchFamily="34" charset="0"/>
                <a:ea typeface="Segoe UI" panose="020B0502040204020203" pitchFamily="34" charset="0"/>
                <a:cs typeface="Segoe UI" panose="020B0502040204020203" pitchFamily="34" charset="0"/>
              </a:rPr>
              <a:t> de </a:t>
            </a:r>
            <a:r>
              <a:rPr lang="en-US" sz="1800" dirty="0" err="1" smtClean="0">
                <a:ln>
                  <a:solidFill>
                    <a:srgbClr val="FFFFFF">
                      <a:alpha val="0"/>
                    </a:srgbClr>
                  </a:solidFill>
                </a:ln>
                <a:solidFill>
                  <a:srgbClr val="44546A"/>
                </a:solidFill>
                <a:latin typeface="Segoe UI" panose="020B0502040204020203" pitchFamily="34" charset="0"/>
                <a:ea typeface="Segoe UI" panose="020B0502040204020203" pitchFamily="34" charset="0"/>
                <a:cs typeface="Segoe UI" panose="020B0502040204020203" pitchFamily="34" charset="0"/>
              </a:rPr>
              <a:t>requêter</a:t>
            </a:r>
            <a:r>
              <a:rPr lang="en-US" sz="1800" dirty="0" smtClean="0">
                <a:ln>
                  <a:solidFill>
                    <a:srgbClr val="FFFFFF">
                      <a:alpha val="0"/>
                    </a:srgbClr>
                  </a:solidFill>
                </a:ln>
                <a:solidFill>
                  <a:srgbClr val="44546A"/>
                </a:solidFill>
                <a:latin typeface="Segoe UI" panose="020B0502040204020203" pitchFamily="34" charset="0"/>
                <a:ea typeface="Segoe UI" panose="020B0502040204020203" pitchFamily="34" charset="0"/>
                <a:cs typeface="Segoe UI" panose="020B0502040204020203" pitchFamily="34" charset="0"/>
              </a:rPr>
              <a:t> les </a:t>
            </a:r>
            <a:r>
              <a:rPr lang="en-US" sz="1800" dirty="0" err="1" smtClean="0">
                <a:ln>
                  <a:solidFill>
                    <a:srgbClr val="FFFFFF">
                      <a:alpha val="0"/>
                    </a:srgbClr>
                  </a:solidFill>
                </a:ln>
                <a:solidFill>
                  <a:srgbClr val="44546A"/>
                </a:solidFill>
                <a:latin typeface="Segoe UI" panose="020B0502040204020203" pitchFamily="34" charset="0"/>
                <a:ea typeface="Segoe UI" panose="020B0502040204020203" pitchFamily="34" charset="0"/>
                <a:cs typeface="Segoe UI" panose="020B0502040204020203" pitchFamily="34" charset="0"/>
              </a:rPr>
              <a:t>données</a:t>
            </a:r>
            <a:r>
              <a:rPr lang="en-US" sz="1800" dirty="0" smtClean="0">
                <a:ln>
                  <a:solidFill>
                    <a:srgbClr val="FFFFFF">
                      <a:alpha val="0"/>
                    </a:srgbClr>
                  </a:solidFill>
                </a:ln>
                <a:solidFill>
                  <a:srgbClr val="44546A"/>
                </a:solidFill>
                <a:latin typeface="Segoe UI" panose="020B0502040204020203" pitchFamily="34" charset="0"/>
                <a:ea typeface="Segoe UI" panose="020B0502040204020203" pitchFamily="34" charset="0"/>
                <a:cs typeface="Segoe UI" panose="020B0502040204020203" pitchFamily="34" charset="0"/>
              </a:rPr>
              <a:t>.</a:t>
            </a:r>
            <a:endParaRPr lang="en-US" sz="1800" dirty="0">
              <a:ln>
                <a:solidFill>
                  <a:srgbClr val="FFFFFF">
                    <a:alpha val="0"/>
                  </a:srgbClr>
                </a:solidFill>
              </a:ln>
              <a:solidFill>
                <a:srgbClr val="44546A"/>
              </a:solidFill>
              <a:latin typeface="Segoe UI" panose="020B0502040204020203" pitchFamily="34" charset="0"/>
              <a:ea typeface="Segoe UI" panose="020B0502040204020203" pitchFamily="34" charset="0"/>
              <a:cs typeface="Segoe UI" panose="020B0502040204020203" pitchFamily="34" charset="0"/>
            </a:endParaRPr>
          </a:p>
          <a:p>
            <a:pPr defTabSz="931776" fontAlgn="auto">
              <a:spcBef>
                <a:spcPts val="1198"/>
              </a:spcBef>
              <a:spcAft>
                <a:spcPts val="0"/>
              </a:spcAft>
            </a:pPr>
            <a:r>
              <a:rPr lang="en-US" sz="2800" dirty="0">
                <a:ln>
                  <a:solidFill>
                    <a:srgbClr val="FFFFFF">
                      <a:alpha val="0"/>
                    </a:srgbClr>
                  </a:solidFill>
                </a:ln>
                <a:solidFill>
                  <a:srgbClr val="0072C6"/>
                </a:solidFill>
                <a:latin typeface="Segoe UI Light"/>
                <a:ea typeface="Segoe UI" pitchFamily="34" charset="0"/>
                <a:cs typeface="Segoe UI" pitchFamily="34" charset="0"/>
              </a:rPr>
              <a:t>Benefits</a:t>
            </a:r>
          </a:p>
          <a:p>
            <a:pPr marL="403070" indent="-349116" defTabSz="931776" fontAlgn="auto">
              <a:spcBef>
                <a:spcPts val="0"/>
              </a:spcBef>
              <a:spcAft>
                <a:spcPts val="600"/>
              </a:spcAft>
              <a:buClr>
                <a:srgbClr val="0072C6"/>
              </a:buClr>
              <a:buFont typeface="Wingdings 3" panose="05040102010807070707" pitchFamily="18" charset="2"/>
              <a:buChar char="Æ"/>
            </a:pPr>
            <a:r>
              <a:rPr lang="en-US" sz="1800" dirty="0" err="1" smtClean="0">
                <a:ln>
                  <a:solidFill>
                    <a:srgbClr val="FFFFFF">
                      <a:alpha val="0"/>
                    </a:srgbClr>
                  </a:solidFill>
                </a:ln>
                <a:solidFill>
                  <a:srgbClr val="44546A"/>
                </a:solidFill>
                <a:latin typeface="Segoe UI" panose="020B0502040204020203" pitchFamily="34" charset="0"/>
                <a:ea typeface="Segoe UI" pitchFamily="34" charset="0"/>
                <a:cs typeface="Segoe UI" panose="020B0502040204020203" pitchFamily="34" charset="0"/>
              </a:rPr>
              <a:t>Coût</a:t>
            </a:r>
            <a:r>
              <a:rPr lang="en-US" sz="1800" dirty="0" smtClean="0">
                <a:ln>
                  <a:solidFill>
                    <a:srgbClr val="FFFFFF">
                      <a:alpha val="0"/>
                    </a:srgbClr>
                  </a:solidFill>
                </a:ln>
                <a:solidFill>
                  <a:srgbClr val="44546A"/>
                </a:solidFill>
                <a:latin typeface="Segoe UI" panose="020B0502040204020203" pitchFamily="34" charset="0"/>
                <a:ea typeface="Segoe UI" pitchFamily="34" charset="0"/>
                <a:cs typeface="Segoe UI" panose="020B0502040204020203" pitchFamily="34" charset="0"/>
              </a:rPr>
              <a:t> du </a:t>
            </a:r>
            <a:r>
              <a:rPr lang="en-US" sz="1800" dirty="0" err="1" smtClean="0">
                <a:ln>
                  <a:solidFill>
                    <a:srgbClr val="FFFFFF">
                      <a:alpha val="0"/>
                    </a:srgbClr>
                  </a:solidFill>
                </a:ln>
                <a:solidFill>
                  <a:srgbClr val="44546A"/>
                </a:solidFill>
                <a:latin typeface="Segoe UI" panose="020B0502040204020203" pitchFamily="34" charset="0"/>
                <a:ea typeface="Segoe UI" pitchFamily="34" charset="0"/>
                <a:cs typeface="Segoe UI" panose="020B0502040204020203" pitchFamily="34" charset="0"/>
              </a:rPr>
              <a:t>stockage</a:t>
            </a:r>
            <a:endParaRPr lang="en-US" sz="1800" dirty="0">
              <a:ln>
                <a:solidFill>
                  <a:srgbClr val="FFFFFF">
                    <a:alpha val="0"/>
                  </a:srgbClr>
                </a:solidFill>
              </a:ln>
              <a:solidFill>
                <a:srgbClr val="44546A"/>
              </a:solidFill>
              <a:latin typeface="Segoe UI" panose="020B0502040204020203" pitchFamily="34" charset="0"/>
              <a:ea typeface="Segoe UI" pitchFamily="34" charset="0"/>
              <a:cs typeface="Segoe UI" panose="020B0502040204020203" pitchFamily="34" charset="0"/>
            </a:endParaRPr>
          </a:p>
          <a:p>
            <a:pPr marL="403070" indent="-349116" defTabSz="931776" fontAlgn="auto">
              <a:spcBef>
                <a:spcPts val="0"/>
              </a:spcBef>
              <a:spcAft>
                <a:spcPts val="600"/>
              </a:spcAft>
              <a:buClr>
                <a:srgbClr val="0072C6"/>
              </a:buClr>
              <a:buFont typeface="Wingdings 3" panose="05040102010807070707" pitchFamily="18" charset="2"/>
              <a:buChar char="Æ"/>
            </a:pPr>
            <a:r>
              <a:rPr lang="en-US" sz="1800" dirty="0" smtClean="0">
                <a:ln>
                  <a:solidFill>
                    <a:srgbClr val="FFFFFF">
                      <a:alpha val="0"/>
                    </a:srgbClr>
                  </a:solidFill>
                </a:ln>
                <a:solidFill>
                  <a:srgbClr val="44546A"/>
                </a:solidFill>
                <a:latin typeface="Segoe UI" panose="020B0502040204020203" pitchFamily="34" charset="0"/>
                <a:ea typeface="Segoe UI" pitchFamily="34" charset="0"/>
                <a:cs typeface="Segoe UI" panose="020B0502040204020203" pitchFamily="34" charset="0"/>
              </a:rPr>
              <a:t>La table entire </a:t>
            </a:r>
            <a:r>
              <a:rPr lang="en-US" sz="1800" dirty="0" err="1" smtClean="0">
                <a:ln>
                  <a:solidFill>
                    <a:srgbClr val="FFFFFF">
                      <a:alpha val="0"/>
                    </a:srgbClr>
                  </a:solidFill>
                </a:ln>
                <a:solidFill>
                  <a:srgbClr val="44546A"/>
                </a:solidFill>
                <a:latin typeface="Segoe UI" panose="020B0502040204020203" pitchFamily="34" charset="0"/>
                <a:ea typeface="Segoe UI" pitchFamily="34" charset="0"/>
                <a:cs typeface="Segoe UI" panose="020B0502040204020203" pitchFamily="34" charset="0"/>
              </a:rPr>
              <a:t>est</a:t>
            </a:r>
            <a:r>
              <a:rPr lang="en-US" sz="1800" dirty="0" smtClean="0">
                <a:ln>
                  <a:solidFill>
                    <a:srgbClr val="FFFFFF">
                      <a:alpha val="0"/>
                    </a:srgbClr>
                  </a:solidFill>
                </a:ln>
                <a:solidFill>
                  <a:srgbClr val="44546A"/>
                </a:solidFill>
                <a:latin typeface="Segoe UI" panose="020B0502040204020203" pitchFamily="34" charset="0"/>
                <a:ea typeface="Segoe UI" pitchFamily="34" charset="0"/>
                <a:cs typeface="Segoe UI" panose="020B0502040204020203" pitchFamily="34" charset="0"/>
              </a:rPr>
              <a:t> </a:t>
            </a:r>
            <a:r>
              <a:rPr lang="en-US" sz="1800" dirty="0" err="1" smtClean="0">
                <a:ln>
                  <a:solidFill>
                    <a:srgbClr val="FFFFFF">
                      <a:alpha val="0"/>
                    </a:srgbClr>
                  </a:solidFill>
                </a:ln>
                <a:solidFill>
                  <a:srgbClr val="44546A"/>
                </a:solidFill>
                <a:latin typeface="Segoe UI" panose="020B0502040204020203" pitchFamily="34" charset="0"/>
                <a:ea typeface="Segoe UI" pitchFamily="34" charset="0"/>
                <a:cs typeface="Segoe UI" panose="020B0502040204020203" pitchFamily="34" charset="0"/>
              </a:rPr>
              <a:t>vue</a:t>
            </a:r>
            <a:r>
              <a:rPr lang="en-US" sz="1800" dirty="0" smtClean="0">
                <a:ln>
                  <a:solidFill>
                    <a:srgbClr val="FFFFFF">
                      <a:alpha val="0"/>
                    </a:srgbClr>
                  </a:solidFill>
                </a:ln>
                <a:solidFill>
                  <a:srgbClr val="44546A"/>
                </a:solidFill>
                <a:latin typeface="Segoe UI" panose="020B0502040204020203" pitchFamily="34" charset="0"/>
                <a:ea typeface="Segoe UI" pitchFamily="34" charset="0"/>
                <a:cs typeface="Segoe UI" panose="020B0502040204020203" pitchFamily="34" charset="0"/>
              </a:rPr>
              <a:t> </a:t>
            </a:r>
            <a:r>
              <a:rPr lang="en-US" sz="1800" dirty="0" err="1" smtClean="0">
                <a:ln>
                  <a:solidFill>
                    <a:srgbClr val="FFFFFF">
                      <a:alpha val="0"/>
                    </a:srgbClr>
                  </a:solidFill>
                </a:ln>
                <a:solidFill>
                  <a:srgbClr val="44546A"/>
                </a:solidFill>
                <a:latin typeface="Segoe UI" panose="020B0502040204020203" pitchFamily="34" charset="0"/>
                <a:ea typeface="Segoe UI" pitchFamily="34" charset="0"/>
                <a:cs typeface="Segoe UI" panose="020B0502040204020203" pitchFamily="34" charset="0"/>
              </a:rPr>
              <a:t>comme</a:t>
            </a:r>
            <a:r>
              <a:rPr lang="en-US" sz="1800" dirty="0" smtClean="0">
                <a:ln>
                  <a:solidFill>
                    <a:srgbClr val="FFFFFF">
                      <a:alpha val="0"/>
                    </a:srgbClr>
                  </a:solidFill>
                </a:ln>
                <a:solidFill>
                  <a:srgbClr val="44546A"/>
                </a:solidFill>
                <a:latin typeface="Segoe UI" panose="020B0502040204020203" pitchFamily="34" charset="0"/>
                <a:ea typeface="Segoe UI" pitchFamily="34" charset="0"/>
                <a:cs typeface="Segoe UI" panose="020B0502040204020203" pitchFamily="34" charset="0"/>
              </a:rPr>
              <a:t> </a:t>
            </a:r>
            <a:r>
              <a:rPr lang="en-US" sz="1800" dirty="0" err="1" smtClean="0">
                <a:ln>
                  <a:solidFill>
                    <a:srgbClr val="FFFFFF">
                      <a:alpha val="0"/>
                    </a:srgbClr>
                  </a:solidFill>
                </a:ln>
                <a:solidFill>
                  <a:srgbClr val="44546A"/>
                </a:solidFill>
                <a:latin typeface="Segoe UI" panose="020B0502040204020203" pitchFamily="34" charset="0"/>
                <a:ea typeface="Segoe UI" pitchFamily="34" charset="0"/>
                <a:cs typeface="Segoe UI" panose="020B0502040204020203" pitchFamily="34" charset="0"/>
              </a:rPr>
              <a:t>une</a:t>
            </a:r>
            <a:r>
              <a:rPr lang="en-US" sz="1800" dirty="0" smtClean="0">
                <a:ln>
                  <a:solidFill>
                    <a:srgbClr val="FFFFFF">
                      <a:alpha val="0"/>
                    </a:srgbClr>
                  </a:solidFill>
                </a:ln>
                <a:solidFill>
                  <a:srgbClr val="44546A"/>
                </a:solidFill>
                <a:latin typeface="Segoe UI" panose="020B0502040204020203" pitchFamily="34" charset="0"/>
                <a:ea typeface="Segoe UI" pitchFamily="34" charset="0"/>
                <a:cs typeface="Segoe UI" panose="020B0502040204020203" pitchFamily="34" charset="0"/>
              </a:rPr>
              <a:t> </a:t>
            </a:r>
            <a:r>
              <a:rPr lang="en-US" sz="1800" dirty="0" err="1" smtClean="0">
                <a:ln>
                  <a:solidFill>
                    <a:srgbClr val="FFFFFF">
                      <a:alpha val="0"/>
                    </a:srgbClr>
                  </a:solidFill>
                </a:ln>
                <a:solidFill>
                  <a:srgbClr val="44546A"/>
                </a:solidFill>
                <a:latin typeface="Segoe UI" panose="020B0502040204020203" pitchFamily="34" charset="0"/>
                <a:ea typeface="Segoe UI" pitchFamily="34" charset="0"/>
                <a:cs typeface="Segoe UI" panose="020B0502040204020203" pitchFamily="34" charset="0"/>
              </a:rPr>
              <a:t>seule</a:t>
            </a:r>
            <a:r>
              <a:rPr lang="en-US" sz="1800" dirty="0" smtClean="0">
                <a:ln>
                  <a:solidFill>
                    <a:srgbClr val="FFFFFF">
                      <a:alpha val="0"/>
                    </a:srgbClr>
                  </a:solidFill>
                </a:ln>
                <a:solidFill>
                  <a:srgbClr val="44546A"/>
                </a:solidFill>
                <a:latin typeface="Segoe UI" panose="020B0502040204020203" pitchFamily="34" charset="0"/>
                <a:ea typeface="Segoe UI" pitchFamily="34" charset="0"/>
                <a:cs typeface="Segoe UI" panose="020B0502040204020203" pitchFamily="34" charset="0"/>
              </a:rPr>
              <a:t> table</a:t>
            </a:r>
            <a:endParaRPr lang="en-US" sz="1800" dirty="0">
              <a:ln>
                <a:solidFill>
                  <a:srgbClr val="FFFFFF">
                    <a:alpha val="0"/>
                  </a:srgbClr>
                </a:solidFill>
              </a:ln>
              <a:solidFill>
                <a:srgbClr val="44546A"/>
              </a:solidFill>
              <a:latin typeface="Segoe UI" panose="020B0502040204020203" pitchFamily="34" charset="0"/>
              <a:ea typeface="Segoe UI" pitchFamily="34" charset="0"/>
              <a:cs typeface="Segoe UI" panose="020B0502040204020203" pitchFamily="34" charset="0"/>
            </a:endParaRPr>
          </a:p>
          <a:p>
            <a:pPr marL="403070" indent="-349116" defTabSz="931776" fontAlgn="auto">
              <a:spcBef>
                <a:spcPts val="0"/>
              </a:spcBef>
              <a:spcAft>
                <a:spcPts val="600"/>
              </a:spcAft>
              <a:buClr>
                <a:srgbClr val="0072C6"/>
              </a:buClr>
              <a:buFont typeface="Wingdings 3" panose="05040102010807070707" pitchFamily="18" charset="2"/>
              <a:buChar char="Æ"/>
            </a:pPr>
            <a:r>
              <a:rPr lang="en-US" sz="1800" dirty="0">
                <a:ln>
                  <a:solidFill>
                    <a:srgbClr val="FFFFFF">
                      <a:alpha val="0"/>
                    </a:srgbClr>
                  </a:solidFill>
                </a:ln>
                <a:solidFill>
                  <a:srgbClr val="44546A"/>
                </a:solidFill>
                <a:latin typeface="Segoe UI" panose="020B0502040204020203" pitchFamily="34" charset="0"/>
                <a:ea typeface="Segoe UI" pitchFamily="34" charset="0"/>
                <a:cs typeface="Segoe UI" panose="020B0502040204020203" pitchFamily="34" charset="0"/>
              </a:rPr>
              <a:t>Transparent </a:t>
            </a:r>
            <a:r>
              <a:rPr lang="en-US" sz="1800" dirty="0" smtClean="0">
                <a:ln>
                  <a:solidFill>
                    <a:srgbClr val="FFFFFF">
                      <a:alpha val="0"/>
                    </a:srgbClr>
                  </a:solidFill>
                </a:ln>
                <a:solidFill>
                  <a:srgbClr val="44546A"/>
                </a:solidFill>
                <a:latin typeface="Segoe UI" panose="020B0502040204020203" pitchFamily="34" charset="0"/>
                <a:ea typeface="Segoe UI" pitchFamily="34" charset="0"/>
                <a:cs typeface="Segoe UI" panose="020B0502040204020203" pitchFamily="34" charset="0"/>
              </a:rPr>
              <a:t>pour les applications</a:t>
            </a:r>
            <a:endParaRPr lang="en-US" sz="1800" dirty="0">
              <a:ln>
                <a:solidFill>
                  <a:srgbClr val="FFFFFF">
                    <a:alpha val="0"/>
                  </a:srgbClr>
                </a:solidFill>
              </a:ln>
              <a:solidFill>
                <a:srgbClr val="44546A"/>
              </a:solidFill>
              <a:latin typeface="Segoe UI" panose="020B0502040204020203" pitchFamily="34" charset="0"/>
              <a:ea typeface="Segoe UI" pitchFamily="34" charset="0"/>
              <a:cs typeface="Segoe UI" panose="020B0502040204020203" pitchFamily="34" charset="0"/>
            </a:endParaRPr>
          </a:p>
          <a:p>
            <a:pPr marL="403070" indent="-349116" defTabSz="931776" fontAlgn="auto">
              <a:spcBef>
                <a:spcPts val="0"/>
              </a:spcBef>
              <a:spcAft>
                <a:spcPts val="600"/>
              </a:spcAft>
              <a:buClr>
                <a:srgbClr val="0072C6"/>
              </a:buClr>
              <a:buFont typeface="Wingdings 3" panose="05040102010807070707" pitchFamily="18" charset="2"/>
              <a:buChar char="Æ"/>
            </a:pPr>
            <a:r>
              <a:rPr lang="en-US" sz="1800" dirty="0" smtClean="0">
                <a:ln>
                  <a:solidFill>
                    <a:srgbClr val="FFFFFF">
                      <a:alpha val="0"/>
                    </a:srgbClr>
                  </a:solidFill>
                </a:ln>
                <a:solidFill>
                  <a:srgbClr val="44546A"/>
                </a:solidFill>
                <a:latin typeface="Segoe UI" panose="020B0502040204020203" pitchFamily="34" charset="0"/>
                <a:ea typeface="Segoe UI" pitchFamily="34" charset="0"/>
                <a:cs typeface="Segoe UI" panose="020B0502040204020203" pitchFamily="34" charset="0"/>
              </a:rPr>
              <a:t>Support de  “Always Encrypted” </a:t>
            </a:r>
            <a:r>
              <a:rPr lang="en-US" sz="1800" b="1" dirty="0" smtClean="0">
                <a:ln>
                  <a:solidFill>
                    <a:srgbClr val="FFFFFF">
                      <a:alpha val="0"/>
                    </a:srgbClr>
                  </a:solidFill>
                </a:ln>
                <a:solidFill>
                  <a:srgbClr val="5B9BD5">
                    <a:lumMod val="75000"/>
                  </a:srgbClr>
                </a:solidFill>
                <a:latin typeface="Segoe UI" panose="020B0502040204020203" pitchFamily="34" charset="0"/>
                <a:ea typeface="Segoe UI" panose="020B0502040204020203" pitchFamily="34" charset="0"/>
                <a:cs typeface="Segoe UI" panose="020B0502040204020203" pitchFamily="34" charset="0"/>
              </a:rPr>
              <a:t>&amp; </a:t>
            </a:r>
            <a:br>
              <a:rPr lang="en-US" sz="1800" b="1" dirty="0" smtClean="0">
                <a:ln>
                  <a:solidFill>
                    <a:srgbClr val="FFFFFF">
                      <a:alpha val="0"/>
                    </a:srgbClr>
                  </a:solidFill>
                </a:ln>
                <a:solidFill>
                  <a:srgbClr val="5B9BD5">
                    <a:lumMod val="75000"/>
                  </a:srgbClr>
                </a:solidFill>
                <a:latin typeface="Segoe UI" panose="020B0502040204020203" pitchFamily="34" charset="0"/>
                <a:ea typeface="Segoe UI" panose="020B0502040204020203" pitchFamily="34" charset="0"/>
                <a:cs typeface="Segoe UI" panose="020B0502040204020203" pitchFamily="34" charset="0"/>
              </a:rPr>
            </a:br>
            <a:r>
              <a:rPr lang="en-US" sz="1800" b="1" dirty="0" smtClean="0">
                <a:ln>
                  <a:solidFill>
                    <a:srgbClr val="FFFFFF">
                      <a:alpha val="0"/>
                    </a:srgbClr>
                  </a:solidFill>
                </a:ln>
                <a:solidFill>
                  <a:srgbClr val="5B9BD5">
                    <a:lumMod val="75000"/>
                  </a:srgbClr>
                </a:solidFill>
                <a:latin typeface="Segoe UI" panose="020B0502040204020203" pitchFamily="34" charset="0"/>
                <a:ea typeface="Segoe UI" panose="020B0502040204020203" pitchFamily="34" charset="0"/>
                <a:cs typeface="Segoe UI" panose="020B0502040204020203" pitchFamily="34" charset="0"/>
              </a:rPr>
              <a:t>“</a:t>
            </a:r>
            <a:r>
              <a:rPr lang="en-US" sz="1800" dirty="0" smtClean="0">
                <a:ln>
                  <a:solidFill>
                    <a:srgbClr val="FFFFFF">
                      <a:alpha val="0"/>
                    </a:srgbClr>
                  </a:solidFill>
                </a:ln>
                <a:solidFill>
                  <a:srgbClr val="44546A"/>
                </a:solidFill>
                <a:latin typeface="Segoe UI" panose="020B0502040204020203" pitchFamily="34" charset="0"/>
                <a:ea typeface="Segoe UI" panose="020B0502040204020203" pitchFamily="34" charset="0"/>
                <a:cs typeface="Segoe UI" panose="020B0502040204020203" pitchFamily="34" charset="0"/>
              </a:rPr>
              <a:t>Row Level Security”</a:t>
            </a:r>
            <a:endParaRPr lang="en-US" sz="1800" b="1" dirty="0">
              <a:ln>
                <a:solidFill>
                  <a:srgbClr val="FFFFFF">
                    <a:alpha val="0"/>
                  </a:srgbClr>
                </a:solidFill>
              </a:ln>
              <a:solidFill>
                <a:srgbClr val="5B9BD5">
                  <a:lumMod val="75000"/>
                </a:srgbClr>
              </a:solidFill>
              <a:latin typeface="Segoe UI" panose="020B0502040204020203" pitchFamily="34" charset="0"/>
              <a:ea typeface="Segoe UI" panose="020B0502040204020203" pitchFamily="34" charset="0"/>
              <a:cs typeface="Segoe UI" panose="020B0502040204020203" pitchFamily="34" charset="0"/>
            </a:endParaRPr>
          </a:p>
        </p:txBody>
      </p:sp>
      <p:sp>
        <p:nvSpPr>
          <p:cNvPr id="12" name="Rectangle 11"/>
          <p:cNvSpPr/>
          <p:nvPr/>
        </p:nvSpPr>
        <p:spPr bwMode="auto">
          <a:xfrm>
            <a:off x="4420109" y="6453183"/>
            <a:ext cx="8014602" cy="548484"/>
          </a:xfrm>
          <a:prstGeom prst="rect">
            <a:avLst/>
          </a:prstGeom>
          <a:solidFill>
            <a:srgbClr val="2E75B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auto">
              <a:lnSpc>
                <a:spcPct val="90000"/>
              </a:lnSpc>
              <a:spcBef>
                <a:spcPts val="0"/>
              </a:spcBef>
              <a:spcAft>
                <a:spcPts val="0"/>
              </a:spcAft>
            </a:pPr>
            <a:endParaRPr lang="en-US" sz="2000" b="1" dirty="0">
              <a:solidFill>
                <a:srgbClr val="FFFFFF"/>
              </a:solidFill>
              <a:latin typeface="Segoe UI Light"/>
              <a:ea typeface="Segoe UI" pitchFamily="34" charset="0"/>
              <a:cs typeface="Segoe UI" pitchFamily="34" charset="0"/>
            </a:endParaRPr>
          </a:p>
        </p:txBody>
      </p:sp>
      <p:grpSp>
        <p:nvGrpSpPr>
          <p:cNvPr id="24" name="Group 23"/>
          <p:cNvGrpSpPr>
            <a:grpSpLocks noChangeAspect="1"/>
          </p:cNvGrpSpPr>
          <p:nvPr/>
        </p:nvGrpSpPr>
        <p:grpSpPr>
          <a:xfrm>
            <a:off x="4227362" y="4785224"/>
            <a:ext cx="914400" cy="1187440"/>
            <a:chOff x="1545413" y="5096400"/>
            <a:chExt cx="822960" cy="1068695"/>
          </a:xfrm>
        </p:grpSpPr>
        <p:sp>
          <p:nvSpPr>
            <p:cNvPr id="27" name="Rectangle 26"/>
            <p:cNvSpPr/>
            <p:nvPr/>
          </p:nvSpPr>
          <p:spPr bwMode="auto">
            <a:xfrm>
              <a:off x="1557008" y="5172501"/>
              <a:ext cx="790012" cy="90757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a:lnSpc>
                  <a:spcPct val="90000"/>
                </a:lnSpc>
                <a:buFont typeface="Wingdings 3" panose="05040102010807070707" pitchFamily="18" charset="2"/>
                <a:buChar char="Æ"/>
              </a:pPr>
              <a:endParaRPr lang="en-US" sz="2000" b="1" dirty="0" err="1" smtClean="0">
                <a:solidFill>
                  <a:srgbClr val="C00000"/>
                </a:solidFill>
                <a:latin typeface="Calibri Light" panose="020F0302020204030204"/>
                <a:ea typeface="Segoe UI" pitchFamily="34" charset="0"/>
                <a:cs typeface="Segoe UI" pitchFamily="34" charset="0"/>
              </a:endParaRPr>
            </a:p>
          </p:txBody>
        </p:sp>
        <p:grpSp>
          <p:nvGrpSpPr>
            <p:cNvPr id="28" name="Group 27"/>
            <p:cNvGrpSpPr/>
            <p:nvPr/>
          </p:nvGrpSpPr>
          <p:grpSpPr>
            <a:xfrm>
              <a:off x="1545413" y="5096400"/>
              <a:ext cx="822960" cy="1068695"/>
              <a:chOff x="862365" y="2464581"/>
              <a:chExt cx="822960" cy="1068695"/>
            </a:xfrm>
          </p:grpSpPr>
          <p:sp>
            <p:nvSpPr>
              <p:cNvPr id="29" name="Oval 28"/>
              <p:cNvSpPr>
                <a:spLocks noChangeArrowheads="1"/>
              </p:cNvSpPr>
              <p:nvPr/>
            </p:nvSpPr>
            <p:spPr bwMode="auto">
              <a:xfrm>
                <a:off x="876444" y="2464581"/>
                <a:ext cx="794803" cy="151025"/>
              </a:xfrm>
              <a:prstGeom prst="ellipse">
                <a:avLst/>
              </a:prstGeom>
              <a:solidFill>
                <a:schemeClr val="accent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fontAlgn="auto">
                  <a:spcBef>
                    <a:spcPts val="0"/>
                  </a:spcBef>
                  <a:spcAft>
                    <a:spcPts val="0"/>
                  </a:spcAft>
                  <a:defRPr/>
                </a:pPr>
                <a:endParaRPr lang="en-US" sz="1800" kern="0">
                  <a:solidFill>
                    <a:srgbClr val="C00000"/>
                  </a:solidFill>
                  <a:latin typeface="Segoe UI"/>
                  <a:cs typeface="+mn-cs"/>
                </a:endParaRPr>
              </a:p>
            </p:txBody>
          </p:sp>
          <p:sp>
            <p:nvSpPr>
              <p:cNvPr id="30" name="Freeform 123"/>
              <p:cNvSpPr>
                <a:spLocks noEditPoints="1"/>
              </p:cNvSpPr>
              <p:nvPr/>
            </p:nvSpPr>
            <p:spPr bwMode="auto">
              <a:xfrm>
                <a:off x="862365" y="2569533"/>
                <a:ext cx="822960" cy="963743"/>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fontAlgn="auto">
                  <a:spcBef>
                    <a:spcPts val="0"/>
                  </a:spcBef>
                  <a:spcAft>
                    <a:spcPts val="0"/>
                  </a:spcAft>
                  <a:defRPr/>
                </a:pPr>
                <a:endParaRPr lang="en-US" sz="1800" kern="0" dirty="0" smtClean="0">
                  <a:solidFill>
                    <a:srgbClr val="C00000"/>
                  </a:solidFill>
                  <a:latin typeface="Segoe UI"/>
                  <a:cs typeface="+mn-cs"/>
                </a:endParaRPr>
              </a:p>
            </p:txBody>
          </p:sp>
        </p:grpSp>
      </p:grpSp>
      <p:sp>
        <p:nvSpPr>
          <p:cNvPr id="25" name="Rectangle 24"/>
          <p:cNvSpPr/>
          <p:nvPr/>
        </p:nvSpPr>
        <p:spPr>
          <a:xfrm>
            <a:off x="4021047" y="5987648"/>
            <a:ext cx="1327030" cy="369332"/>
          </a:xfrm>
          <a:prstGeom prst="rect">
            <a:avLst/>
          </a:prstGeom>
        </p:spPr>
        <p:txBody>
          <a:bodyPr wrap="none">
            <a:spAutoFit/>
          </a:bodyPr>
          <a:lstStyle/>
          <a:p>
            <a:pPr defTabSz="931684"/>
            <a:r>
              <a:rPr lang="en-US" sz="1800" dirty="0" smtClean="0">
                <a:ln>
                  <a:solidFill>
                    <a:srgbClr val="FFFFFF">
                      <a:alpha val="0"/>
                    </a:srgbClr>
                  </a:solidFill>
                </a:ln>
                <a:solidFill>
                  <a:srgbClr val="C00000"/>
                </a:solidFill>
                <a:latin typeface="Segoe UI Semibold" panose="020B0702040204020203" pitchFamily="34" charset="0"/>
                <a:cs typeface="Segoe UI Semibold" panose="020B0702040204020203" pitchFamily="34" charset="0"/>
              </a:rPr>
              <a:t>SQL Server</a:t>
            </a:r>
            <a:endParaRPr lang="en-US" sz="1800" dirty="0">
              <a:ln>
                <a:solidFill>
                  <a:srgbClr val="FFFFFF">
                    <a:alpha val="0"/>
                  </a:srgbClr>
                </a:solidFill>
              </a:ln>
              <a:solidFill>
                <a:srgbClr val="C00000"/>
              </a:solidFill>
              <a:latin typeface="Segoe UI Semibold" panose="020B0702040204020203" pitchFamily="34" charset="0"/>
              <a:cs typeface="Segoe UI Semibold" panose="020B0702040204020203" pitchFamily="34" charset="0"/>
            </a:endParaRPr>
          </a:p>
        </p:txBody>
      </p:sp>
      <p:grpSp>
        <p:nvGrpSpPr>
          <p:cNvPr id="32" name="Group 31"/>
          <p:cNvGrpSpPr>
            <a:grpSpLocks noChangeAspect="1"/>
          </p:cNvGrpSpPr>
          <p:nvPr/>
        </p:nvGrpSpPr>
        <p:grpSpPr>
          <a:xfrm>
            <a:off x="4227362" y="1998421"/>
            <a:ext cx="914401" cy="1187440"/>
            <a:chOff x="1615697" y="5096400"/>
            <a:chExt cx="822960" cy="1068695"/>
          </a:xfrm>
        </p:grpSpPr>
        <p:sp>
          <p:nvSpPr>
            <p:cNvPr id="34" name="Rectangle 33"/>
            <p:cNvSpPr/>
            <p:nvPr/>
          </p:nvSpPr>
          <p:spPr bwMode="auto">
            <a:xfrm>
              <a:off x="1632171" y="5172501"/>
              <a:ext cx="790012" cy="90757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a:lnSpc>
                  <a:spcPct val="90000"/>
                </a:lnSpc>
                <a:buFont typeface="Wingdings 3" panose="05040102010807070707" pitchFamily="18" charset="2"/>
                <a:buChar char="Æ"/>
              </a:pPr>
              <a:endParaRPr lang="en-US" sz="2000" b="1" dirty="0" err="1" smtClean="0">
                <a:solidFill>
                  <a:prstClr val="white"/>
                </a:solidFill>
                <a:latin typeface="Calibri Light" panose="020F0302020204030204"/>
                <a:ea typeface="Segoe UI" pitchFamily="34" charset="0"/>
                <a:cs typeface="Segoe UI" pitchFamily="34" charset="0"/>
              </a:endParaRPr>
            </a:p>
          </p:txBody>
        </p:sp>
        <p:grpSp>
          <p:nvGrpSpPr>
            <p:cNvPr id="35" name="Group 34"/>
            <p:cNvGrpSpPr/>
            <p:nvPr/>
          </p:nvGrpSpPr>
          <p:grpSpPr>
            <a:xfrm>
              <a:off x="1615697" y="5096400"/>
              <a:ext cx="822960" cy="1068695"/>
              <a:chOff x="932649" y="2464581"/>
              <a:chExt cx="822960" cy="1068695"/>
            </a:xfrm>
          </p:grpSpPr>
          <p:sp>
            <p:nvSpPr>
              <p:cNvPr id="36" name="Oval 35"/>
              <p:cNvSpPr>
                <a:spLocks noChangeArrowheads="1"/>
              </p:cNvSpPr>
              <p:nvPr/>
            </p:nvSpPr>
            <p:spPr bwMode="auto">
              <a:xfrm>
                <a:off x="946728" y="2464581"/>
                <a:ext cx="794803" cy="151025"/>
              </a:xfrm>
              <a:prstGeom prst="ellipse">
                <a:avLst/>
              </a:pr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fontAlgn="auto">
                  <a:spcBef>
                    <a:spcPts val="0"/>
                  </a:spcBef>
                  <a:spcAft>
                    <a:spcPts val="0"/>
                  </a:spcAft>
                  <a:defRPr/>
                </a:pPr>
                <a:endParaRPr lang="en-US" sz="1800" kern="0" dirty="0">
                  <a:solidFill>
                    <a:srgbClr val="FFFFFF"/>
                  </a:solidFill>
                  <a:latin typeface="Segoe UI"/>
                  <a:cs typeface="+mn-cs"/>
                </a:endParaRPr>
              </a:p>
            </p:txBody>
          </p:sp>
          <p:sp>
            <p:nvSpPr>
              <p:cNvPr id="37" name="Freeform 123"/>
              <p:cNvSpPr>
                <a:spLocks noEditPoints="1"/>
              </p:cNvSpPr>
              <p:nvPr/>
            </p:nvSpPr>
            <p:spPr bwMode="auto">
              <a:xfrm>
                <a:off x="932649" y="2569533"/>
                <a:ext cx="822960" cy="963743"/>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fontAlgn="auto">
                  <a:spcBef>
                    <a:spcPts val="0"/>
                  </a:spcBef>
                  <a:spcAft>
                    <a:spcPts val="0"/>
                  </a:spcAft>
                  <a:defRPr/>
                </a:pPr>
                <a:endParaRPr lang="en-US" sz="1800" kern="0" dirty="0" smtClean="0">
                  <a:solidFill>
                    <a:srgbClr val="FFFFFF"/>
                  </a:solidFill>
                  <a:latin typeface="Segoe UI"/>
                  <a:cs typeface="+mn-cs"/>
                </a:endParaRPr>
              </a:p>
            </p:txBody>
          </p:sp>
        </p:grpSp>
      </p:grpSp>
      <p:sp>
        <p:nvSpPr>
          <p:cNvPr id="46" name="TextBox 45"/>
          <p:cNvSpPr txBox="1"/>
          <p:nvPr/>
        </p:nvSpPr>
        <p:spPr>
          <a:xfrm>
            <a:off x="5859376" y="6068262"/>
            <a:ext cx="1367562" cy="249299"/>
          </a:xfrm>
          <a:prstGeom prst="rect">
            <a:avLst/>
          </a:prstGeom>
          <a:noFill/>
        </p:spPr>
        <p:txBody>
          <a:bodyPr wrap="square" lIns="0" tIns="0" rIns="0" bIns="0" rtlCol="0">
            <a:spAutoFit/>
          </a:bodyPr>
          <a:lstStyle/>
          <a:p>
            <a:pPr algn="ctr" defTabSz="931684">
              <a:lnSpc>
                <a:spcPct val="90000"/>
              </a:lnSpc>
              <a:spcAft>
                <a:spcPts val="600"/>
              </a:spcAft>
            </a:pPr>
            <a:r>
              <a:rPr lang="en-US" sz="1800" dirty="0" smtClean="0">
                <a:solidFill>
                  <a:srgbClr val="505050"/>
                </a:solidFill>
                <a:latin typeface="Segoe UI Semibold" panose="020B0702040204020203" pitchFamily="34" charset="0"/>
                <a:cs typeface="Segoe UI Semibold" panose="020B0702040204020203" pitchFamily="34" charset="0"/>
              </a:rPr>
              <a:t>App</a:t>
            </a:r>
            <a:endParaRPr lang="en-US" sz="1800" dirty="0">
              <a:solidFill>
                <a:srgbClr val="505050"/>
              </a:solidFill>
              <a:latin typeface="Segoe UI Semibold" panose="020B0702040204020203" pitchFamily="34" charset="0"/>
              <a:cs typeface="Segoe UI Semibold" panose="020B0702040204020203" pitchFamily="34" charset="0"/>
            </a:endParaRPr>
          </a:p>
        </p:txBody>
      </p:sp>
      <p:grpSp>
        <p:nvGrpSpPr>
          <p:cNvPr id="10" name="Group 9"/>
          <p:cNvGrpSpPr>
            <a:grpSpLocks noChangeAspect="1"/>
          </p:cNvGrpSpPr>
          <p:nvPr/>
        </p:nvGrpSpPr>
        <p:grpSpPr>
          <a:xfrm>
            <a:off x="5994517" y="5146458"/>
            <a:ext cx="1097280" cy="826206"/>
            <a:chOff x="6095398" y="4015536"/>
            <a:chExt cx="1081845" cy="814583"/>
          </a:xfrm>
        </p:grpSpPr>
        <p:sp>
          <p:nvSpPr>
            <p:cNvPr id="47" name="Freeform 46"/>
            <p:cNvSpPr>
              <a:spLocks noChangeAspect="1"/>
            </p:cNvSpPr>
            <p:nvPr/>
          </p:nvSpPr>
          <p:spPr bwMode="auto">
            <a:xfrm>
              <a:off x="6154323" y="4155729"/>
              <a:ext cx="1022710" cy="664101"/>
            </a:xfrm>
            <a:custGeom>
              <a:avLst/>
              <a:gdLst>
                <a:gd name="connsiteX0" fmla="*/ 678350 w 1481959"/>
                <a:gd name="connsiteY0" fmla="*/ 258990 h 962317"/>
                <a:gd name="connsiteX1" fmla="*/ 688805 w 1481959"/>
                <a:gd name="connsiteY1" fmla="*/ 259224 h 962317"/>
                <a:gd name="connsiteX2" fmla="*/ 971484 w 1481959"/>
                <a:gd name="connsiteY2" fmla="*/ 259224 h 962317"/>
                <a:gd name="connsiteX3" fmla="*/ 1006067 w 1481959"/>
                <a:gd name="connsiteY3" fmla="*/ 292305 h 962317"/>
                <a:gd name="connsiteX4" fmla="*/ 1006067 w 1481959"/>
                <a:gd name="connsiteY4" fmla="*/ 576488 h 962317"/>
                <a:gd name="connsiteX5" fmla="*/ 1004269 w 1481959"/>
                <a:gd name="connsiteY5" fmla="*/ 595185 h 962317"/>
                <a:gd name="connsiteX6" fmla="*/ 996845 w 1481959"/>
                <a:gd name="connsiteY6" fmla="*/ 596703 h 962317"/>
                <a:gd name="connsiteX7" fmla="*/ 946477 w 1481959"/>
                <a:gd name="connsiteY7" fmla="*/ 546841 h 962317"/>
                <a:gd name="connsiteX8" fmla="*/ 903068 w 1481959"/>
                <a:gd name="connsiteY8" fmla="*/ 547059 h 962317"/>
                <a:gd name="connsiteX9" fmla="*/ 711725 w 1481959"/>
                <a:gd name="connsiteY9" fmla="*/ 740344 h 962317"/>
                <a:gd name="connsiteX10" fmla="*/ 661739 w 1481959"/>
                <a:gd name="connsiteY10" fmla="*/ 719332 h 962317"/>
                <a:gd name="connsiteX11" fmla="*/ 535436 w 1481959"/>
                <a:gd name="connsiteY11" fmla="*/ 593028 h 962317"/>
                <a:gd name="connsiteX12" fmla="*/ 520710 w 1481959"/>
                <a:gd name="connsiteY12" fmla="*/ 557602 h 962317"/>
                <a:gd name="connsiteX13" fmla="*/ 597984 w 1481959"/>
                <a:gd name="connsiteY13" fmla="*/ 478826 h 962317"/>
                <a:gd name="connsiteX14" fmla="*/ 709855 w 1481959"/>
                <a:gd name="connsiteY14" fmla="*/ 368988 h 962317"/>
                <a:gd name="connsiteX15" fmla="*/ 720565 w 1481959"/>
                <a:gd name="connsiteY15" fmla="*/ 351055 h 962317"/>
                <a:gd name="connsiteX16" fmla="*/ 722022 w 1481959"/>
                <a:gd name="connsiteY16" fmla="*/ 347917 h 962317"/>
                <a:gd name="connsiteX17" fmla="*/ 723721 w 1481959"/>
                <a:gd name="connsiteY17" fmla="*/ 338718 h 962317"/>
                <a:gd name="connsiteX18" fmla="*/ 723262 w 1481959"/>
                <a:gd name="connsiteY18" fmla="*/ 334338 h 962317"/>
                <a:gd name="connsiteX19" fmla="*/ 723111 w 1481959"/>
                <a:gd name="connsiteY19" fmla="*/ 333602 h 962317"/>
                <a:gd name="connsiteX20" fmla="*/ 714729 w 1481959"/>
                <a:gd name="connsiteY20" fmla="*/ 315979 h 962317"/>
                <a:gd name="connsiteX21" fmla="*/ 678087 w 1481959"/>
                <a:gd name="connsiteY21" fmla="*/ 280035 h 962317"/>
                <a:gd name="connsiteX22" fmla="*/ 668098 w 1481959"/>
                <a:gd name="connsiteY22" fmla="*/ 262301 h 962317"/>
                <a:gd name="connsiteX23" fmla="*/ 678350 w 1481959"/>
                <a:gd name="connsiteY23" fmla="*/ 258990 h 962317"/>
                <a:gd name="connsiteX24" fmla="*/ 72174 w 1481959"/>
                <a:gd name="connsiteY24" fmla="*/ 72174 h 962317"/>
                <a:gd name="connsiteX25" fmla="*/ 72174 w 1481959"/>
                <a:gd name="connsiteY25" fmla="*/ 887737 h 962317"/>
                <a:gd name="connsiteX26" fmla="*/ 1402569 w 1481959"/>
                <a:gd name="connsiteY26" fmla="*/ 887737 h 962317"/>
                <a:gd name="connsiteX27" fmla="*/ 1402569 w 1481959"/>
                <a:gd name="connsiteY27" fmla="*/ 72174 h 962317"/>
                <a:gd name="connsiteX28" fmla="*/ 65620 w 1481959"/>
                <a:gd name="connsiteY28" fmla="*/ 0 h 962317"/>
                <a:gd name="connsiteX29" fmla="*/ 1416339 w 1481959"/>
                <a:gd name="connsiteY29" fmla="*/ 0 h 962317"/>
                <a:gd name="connsiteX30" fmla="*/ 1481959 w 1481959"/>
                <a:gd name="connsiteY30" fmla="*/ 65621 h 962317"/>
                <a:gd name="connsiteX31" fmla="*/ 1481959 w 1481959"/>
                <a:gd name="connsiteY31" fmla="*/ 896697 h 962317"/>
                <a:gd name="connsiteX32" fmla="*/ 1416339 w 1481959"/>
                <a:gd name="connsiteY32" fmla="*/ 962317 h 962317"/>
                <a:gd name="connsiteX33" fmla="*/ 65620 w 1481959"/>
                <a:gd name="connsiteY33" fmla="*/ 962317 h 962317"/>
                <a:gd name="connsiteX34" fmla="*/ 0 w 1481959"/>
                <a:gd name="connsiteY34" fmla="*/ 896697 h 962317"/>
                <a:gd name="connsiteX35" fmla="*/ 0 w 1481959"/>
                <a:gd name="connsiteY35" fmla="*/ 65621 h 962317"/>
                <a:gd name="connsiteX36" fmla="*/ 65620 w 1481959"/>
                <a:gd name="connsiteY36" fmla="*/ 0 h 962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481959" h="962317">
                  <a:moveTo>
                    <a:pt x="678350" y="258990"/>
                  </a:moveTo>
                  <a:cubicBezTo>
                    <a:pt x="681742" y="259020"/>
                    <a:pt x="685484" y="259288"/>
                    <a:pt x="688805" y="259224"/>
                  </a:cubicBezTo>
                  <a:lnTo>
                    <a:pt x="971484" y="259224"/>
                  </a:lnTo>
                  <a:cubicBezTo>
                    <a:pt x="1000302" y="256718"/>
                    <a:pt x="1008071" y="270753"/>
                    <a:pt x="1006067" y="292305"/>
                  </a:cubicBezTo>
                  <a:lnTo>
                    <a:pt x="1006067" y="576488"/>
                  </a:lnTo>
                  <a:lnTo>
                    <a:pt x="1004269" y="595185"/>
                  </a:lnTo>
                  <a:cubicBezTo>
                    <a:pt x="1002451" y="598026"/>
                    <a:pt x="999695" y="598003"/>
                    <a:pt x="996845" y="596703"/>
                  </a:cubicBezTo>
                  <a:lnTo>
                    <a:pt x="946477" y="546841"/>
                  </a:lnTo>
                  <a:cubicBezTo>
                    <a:pt x="934430" y="534914"/>
                    <a:pt x="914995" y="535011"/>
                    <a:pt x="903068" y="547059"/>
                  </a:cubicBezTo>
                  <a:lnTo>
                    <a:pt x="711725" y="740344"/>
                  </a:lnTo>
                  <a:cubicBezTo>
                    <a:pt x="699360" y="748226"/>
                    <a:pt x="689313" y="744295"/>
                    <a:pt x="661739" y="719332"/>
                  </a:cubicBezTo>
                  <a:lnTo>
                    <a:pt x="535436" y="593028"/>
                  </a:lnTo>
                  <a:cubicBezTo>
                    <a:pt x="524870" y="579553"/>
                    <a:pt x="516830" y="569445"/>
                    <a:pt x="520710" y="557602"/>
                  </a:cubicBezTo>
                  <a:lnTo>
                    <a:pt x="597984" y="478826"/>
                  </a:lnTo>
                  <a:lnTo>
                    <a:pt x="709855" y="368988"/>
                  </a:lnTo>
                  <a:cubicBezTo>
                    <a:pt x="715078" y="361976"/>
                    <a:pt x="718582" y="356117"/>
                    <a:pt x="720565" y="351055"/>
                  </a:cubicBezTo>
                  <a:cubicBezTo>
                    <a:pt x="721405" y="350159"/>
                    <a:pt x="721848" y="349083"/>
                    <a:pt x="722022" y="347917"/>
                  </a:cubicBezTo>
                  <a:cubicBezTo>
                    <a:pt x="723326" y="344409"/>
                    <a:pt x="723862" y="341379"/>
                    <a:pt x="723721" y="338718"/>
                  </a:cubicBezTo>
                  <a:cubicBezTo>
                    <a:pt x="723959" y="337241"/>
                    <a:pt x="723892" y="335759"/>
                    <a:pt x="723262" y="334338"/>
                  </a:cubicBezTo>
                  <a:cubicBezTo>
                    <a:pt x="723291" y="334071"/>
                    <a:pt x="723225" y="333829"/>
                    <a:pt x="723111" y="333602"/>
                  </a:cubicBezTo>
                  <a:cubicBezTo>
                    <a:pt x="722700" y="327088"/>
                    <a:pt x="719734" y="320887"/>
                    <a:pt x="714729" y="315979"/>
                  </a:cubicBezTo>
                  <a:lnTo>
                    <a:pt x="678087" y="280035"/>
                  </a:lnTo>
                  <a:lnTo>
                    <a:pt x="668098" y="262301"/>
                  </a:lnTo>
                  <a:cubicBezTo>
                    <a:pt x="669005" y="259420"/>
                    <a:pt x="673283" y="258942"/>
                    <a:pt x="678350" y="258990"/>
                  </a:cubicBezTo>
                  <a:close/>
                  <a:moveTo>
                    <a:pt x="72174" y="72174"/>
                  </a:moveTo>
                  <a:lnTo>
                    <a:pt x="72174" y="887737"/>
                  </a:lnTo>
                  <a:lnTo>
                    <a:pt x="1402569" y="887737"/>
                  </a:lnTo>
                  <a:lnTo>
                    <a:pt x="1402569" y="72174"/>
                  </a:lnTo>
                  <a:close/>
                  <a:moveTo>
                    <a:pt x="65620" y="0"/>
                  </a:moveTo>
                  <a:lnTo>
                    <a:pt x="1416339" y="0"/>
                  </a:lnTo>
                  <a:cubicBezTo>
                    <a:pt x="1452581" y="0"/>
                    <a:pt x="1481959" y="29379"/>
                    <a:pt x="1481959" y="65621"/>
                  </a:cubicBezTo>
                  <a:lnTo>
                    <a:pt x="1481959" y="896697"/>
                  </a:lnTo>
                  <a:cubicBezTo>
                    <a:pt x="1481959" y="932938"/>
                    <a:pt x="1452581" y="962317"/>
                    <a:pt x="1416339" y="962317"/>
                  </a:cubicBezTo>
                  <a:lnTo>
                    <a:pt x="65620" y="962317"/>
                  </a:lnTo>
                  <a:cubicBezTo>
                    <a:pt x="29379" y="962317"/>
                    <a:pt x="0" y="932938"/>
                    <a:pt x="0" y="896697"/>
                  </a:cubicBezTo>
                  <a:lnTo>
                    <a:pt x="0" y="65621"/>
                  </a:lnTo>
                  <a:cubicBezTo>
                    <a:pt x="0" y="29379"/>
                    <a:pt x="29379" y="0"/>
                    <a:pt x="65620" y="0"/>
                  </a:cubicBezTo>
                  <a:close/>
                </a:path>
              </a:pathLst>
            </a:custGeom>
            <a:solidFill>
              <a:schemeClr val="accent1"/>
            </a:solidFill>
            <a:ln w="9525" cap="flat" cmpd="sng" algn="ctr">
              <a:noFill/>
              <a:prstDash val="soli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3">
                <a:defRPr/>
              </a:pPr>
              <a:endParaRPr lang="en-US" sz="1399" kern="0" spc="-50" dirty="0">
                <a:ln>
                  <a:solidFill>
                    <a:srgbClr val="FFFFFF">
                      <a:alpha val="0"/>
                    </a:srgbClr>
                  </a:solidFill>
                </a:ln>
                <a:solidFill>
                  <a:srgbClr val="000000"/>
                </a:solidFill>
                <a:latin typeface="Segoe UI"/>
                <a:ea typeface="Segoe UI" pitchFamily="34" charset="0"/>
                <a:cs typeface="Segoe UI" pitchFamily="34" charset="0"/>
              </a:endParaRPr>
            </a:p>
          </p:txBody>
        </p:sp>
        <p:sp>
          <p:nvSpPr>
            <p:cNvPr id="48" name="Freeform 47"/>
            <p:cNvSpPr>
              <a:spLocks noChangeAspect="1"/>
            </p:cNvSpPr>
            <p:nvPr/>
          </p:nvSpPr>
          <p:spPr bwMode="auto">
            <a:xfrm>
              <a:off x="6152873" y="4015536"/>
              <a:ext cx="1024370" cy="120202"/>
            </a:xfrm>
            <a:custGeom>
              <a:avLst/>
              <a:gdLst>
                <a:gd name="connsiteX0" fmla="*/ 1126907 w 1484366"/>
                <a:gd name="connsiteY0" fmla="*/ 92222 h 174178"/>
                <a:gd name="connsiteX1" fmla="*/ 1126907 w 1484366"/>
                <a:gd name="connsiteY1" fmla="*/ 100883 h 174178"/>
                <a:gd name="connsiteX2" fmla="*/ 1184646 w 1484366"/>
                <a:gd name="connsiteY2" fmla="*/ 100883 h 174178"/>
                <a:gd name="connsiteX3" fmla="*/ 1184646 w 1484366"/>
                <a:gd name="connsiteY3" fmla="*/ 92222 h 174178"/>
                <a:gd name="connsiteX4" fmla="*/ 1229754 w 1484366"/>
                <a:gd name="connsiteY4" fmla="*/ 51724 h 174178"/>
                <a:gd name="connsiteX5" fmla="*/ 1276267 w 1484366"/>
                <a:gd name="connsiteY5" fmla="*/ 51724 h 174178"/>
                <a:gd name="connsiteX6" fmla="*/ 1276267 w 1484366"/>
                <a:gd name="connsiteY6" fmla="*/ 98237 h 174178"/>
                <a:gd name="connsiteX7" fmla="*/ 1229754 w 1484366"/>
                <a:gd name="connsiteY7" fmla="*/ 98237 h 174178"/>
                <a:gd name="connsiteX8" fmla="*/ 1224142 w 1484366"/>
                <a:gd name="connsiteY8" fmla="*/ 46112 h 174178"/>
                <a:gd name="connsiteX9" fmla="*/ 1224142 w 1484366"/>
                <a:gd name="connsiteY9" fmla="*/ 103850 h 174178"/>
                <a:gd name="connsiteX10" fmla="*/ 1281879 w 1484366"/>
                <a:gd name="connsiteY10" fmla="*/ 103850 h 174178"/>
                <a:gd name="connsiteX11" fmla="*/ 1281879 w 1484366"/>
                <a:gd name="connsiteY11" fmla="*/ 46112 h 174178"/>
                <a:gd name="connsiteX12" fmla="*/ 1335992 w 1484366"/>
                <a:gd name="connsiteY12" fmla="*/ 45213 h 174178"/>
                <a:gd name="connsiteX13" fmla="*/ 1328262 w 1484366"/>
                <a:gd name="connsiteY13" fmla="*/ 54101 h 174178"/>
                <a:gd name="connsiteX14" fmla="*/ 1352498 w 1484366"/>
                <a:gd name="connsiteY14" fmla="*/ 75181 h 174178"/>
                <a:gd name="connsiteX15" fmla="*/ 1328262 w 1484366"/>
                <a:gd name="connsiteY15" fmla="*/ 96262 h 174178"/>
                <a:gd name="connsiteX16" fmla="*/ 1335992 w 1484366"/>
                <a:gd name="connsiteY16" fmla="*/ 105149 h 174178"/>
                <a:gd name="connsiteX17" fmla="*/ 1361471 w 1484366"/>
                <a:gd name="connsiteY17" fmla="*/ 82986 h 174178"/>
                <a:gd name="connsiteX18" fmla="*/ 1386951 w 1484366"/>
                <a:gd name="connsiteY18" fmla="*/ 105149 h 174178"/>
                <a:gd name="connsiteX19" fmla="*/ 1394681 w 1484366"/>
                <a:gd name="connsiteY19" fmla="*/ 96262 h 174178"/>
                <a:gd name="connsiteX20" fmla="*/ 1370445 w 1484366"/>
                <a:gd name="connsiteY20" fmla="*/ 75181 h 174178"/>
                <a:gd name="connsiteX21" fmla="*/ 1394681 w 1484366"/>
                <a:gd name="connsiteY21" fmla="*/ 54101 h 174178"/>
                <a:gd name="connsiteX22" fmla="*/ 1386951 w 1484366"/>
                <a:gd name="connsiteY22" fmla="*/ 45213 h 174178"/>
                <a:gd name="connsiteX23" fmla="*/ 1361471 w 1484366"/>
                <a:gd name="connsiteY23" fmla="*/ 67375 h 174178"/>
                <a:gd name="connsiteX24" fmla="*/ 63432 w 1484366"/>
                <a:gd name="connsiteY24" fmla="*/ 0 h 174178"/>
                <a:gd name="connsiteX25" fmla="*/ 83802 w 1484366"/>
                <a:gd name="connsiteY25" fmla="*/ 0 h 174178"/>
                <a:gd name="connsiteX26" fmla="*/ 1420934 w 1484366"/>
                <a:gd name="connsiteY26" fmla="*/ 0 h 174178"/>
                <a:gd name="connsiteX27" fmla="*/ 1484366 w 1484366"/>
                <a:gd name="connsiteY27" fmla="*/ 63432 h 174178"/>
                <a:gd name="connsiteX28" fmla="*/ 1484366 w 1484366"/>
                <a:gd name="connsiteY28" fmla="*/ 150684 h 174178"/>
                <a:gd name="connsiteX29" fmla="*/ 1479753 w 1484366"/>
                <a:gd name="connsiteY29" fmla="*/ 174178 h 174178"/>
                <a:gd name="connsiteX30" fmla="*/ 1430558 w 1484366"/>
                <a:gd name="connsiteY30" fmla="*/ 149160 h 174178"/>
                <a:gd name="connsiteX31" fmla="*/ 49548 w 1484366"/>
                <a:gd name="connsiteY31" fmla="*/ 149661 h 174178"/>
                <a:gd name="connsiteX32" fmla="*/ 1505 w 1484366"/>
                <a:gd name="connsiteY32" fmla="*/ 161689 h 174178"/>
                <a:gd name="connsiteX33" fmla="*/ 0 w 1484366"/>
                <a:gd name="connsiteY33" fmla="*/ 63432 h 174178"/>
                <a:gd name="connsiteX34" fmla="*/ 1289 w 1484366"/>
                <a:gd name="connsiteY34" fmla="*/ 50648 h 174178"/>
                <a:gd name="connsiteX35" fmla="*/ 4985 w 1484366"/>
                <a:gd name="connsiteY35" fmla="*/ 38742 h 174178"/>
                <a:gd name="connsiteX36" fmla="*/ 18580 w 1484366"/>
                <a:gd name="connsiteY36" fmla="*/ 18578 h 174178"/>
                <a:gd name="connsiteX37" fmla="*/ 38741 w 1484366"/>
                <a:gd name="connsiteY37" fmla="*/ 4985 h 174178"/>
                <a:gd name="connsiteX38" fmla="*/ 50648 w 1484366"/>
                <a:gd name="connsiteY38" fmla="*/ 1289 h 174178"/>
                <a:gd name="connsiteX39" fmla="*/ 63432 w 1484366"/>
                <a:gd name="connsiteY39" fmla="*/ 0 h 174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484366" h="174178">
                  <a:moveTo>
                    <a:pt x="1126907" y="92222"/>
                  </a:moveTo>
                  <a:lnTo>
                    <a:pt x="1126907" y="100883"/>
                  </a:lnTo>
                  <a:lnTo>
                    <a:pt x="1184646" y="100883"/>
                  </a:lnTo>
                  <a:lnTo>
                    <a:pt x="1184646" y="92222"/>
                  </a:lnTo>
                  <a:close/>
                  <a:moveTo>
                    <a:pt x="1229754" y="51724"/>
                  </a:moveTo>
                  <a:lnTo>
                    <a:pt x="1276267" y="51724"/>
                  </a:lnTo>
                  <a:lnTo>
                    <a:pt x="1276267" y="98237"/>
                  </a:lnTo>
                  <a:lnTo>
                    <a:pt x="1229754" y="98237"/>
                  </a:lnTo>
                  <a:close/>
                  <a:moveTo>
                    <a:pt x="1224142" y="46112"/>
                  </a:moveTo>
                  <a:lnTo>
                    <a:pt x="1224142" y="103850"/>
                  </a:lnTo>
                  <a:lnTo>
                    <a:pt x="1281879" y="103850"/>
                  </a:lnTo>
                  <a:lnTo>
                    <a:pt x="1281879" y="46112"/>
                  </a:lnTo>
                  <a:close/>
                  <a:moveTo>
                    <a:pt x="1335992" y="45213"/>
                  </a:moveTo>
                  <a:lnTo>
                    <a:pt x="1328262" y="54101"/>
                  </a:lnTo>
                  <a:lnTo>
                    <a:pt x="1352498" y="75181"/>
                  </a:lnTo>
                  <a:lnTo>
                    <a:pt x="1328262" y="96262"/>
                  </a:lnTo>
                  <a:lnTo>
                    <a:pt x="1335992" y="105149"/>
                  </a:lnTo>
                  <a:lnTo>
                    <a:pt x="1361471" y="82986"/>
                  </a:lnTo>
                  <a:lnTo>
                    <a:pt x="1386951" y="105149"/>
                  </a:lnTo>
                  <a:lnTo>
                    <a:pt x="1394681" y="96262"/>
                  </a:lnTo>
                  <a:lnTo>
                    <a:pt x="1370445" y="75181"/>
                  </a:lnTo>
                  <a:lnTo>
                    <a:pt x="1394681" y="54101"/>
                  </a:lnTo>
                  <a:lnTo>
                    <a:pt x="1386951" y="45213"/>
                  </a:lnTo>
                  <a:lnTo>
                    <a:pt x="1361471" y="67375"/>
                  </a:lnTo>
                  <a:close/>
                  <a:moveTo>
                    <a:pt x="63432" y="0"/>
                  </a:moveTo>
                  <a:lnTo>
                    <a:pt x="83802" y="0"/>
                  </a:lnTo>
                  <a:lnTo>
                    <a:pt x="1420934" y="0"/>
                  </a:lnTo>
                  <a:cubicBezTo>
                    <a:pt x="1455967" y="0"/>
                    <a:pt x="1484366" y="28399"/>
                    <a:pt x="1484366" y="63432"/>
                  </a:cubicBezTo>
                  <a:lnTo>
                    <a:pt x="1484366" y="150684"/>
                  </a:lnTo>
                  <a:cubicBezTo>
                    <a:pt x="1484366" y="159000"/>
                    <a:pt x="1482766" y="166943"/>
                    <a:pt x="1479753" y="174178"/>
                  </a:cubicBezTo>
                  <a:cubicBezTo>
                    <a:pt x="1468946" y="158703"/>
                    <a:pt x="1450867" y="149160"/>
                    <a:pt x="1430558" y="149160"/>
                  </a:cubicBezTo>
                  <a:lnTo>
                    <a:pt x="49548" y="149661"/>
                  </a:lnTo>
                  <a:cubicBezTo>
                    <a:pt x="33534" y="148156"/>
                    <a:pt x="13509" y="150663"/>
                    <a:pt x="1505" y="161689"/>
                  </a:cubicBezTo>
                  <a:cubicBezTo>
                    <a:pt x="1002" y="128937"/>
                    <a:pt x="501" y="96184"/>
                    <a:pt x="0" y="63432"/>
                  </a:cubicBezTo>
                  <a:cubicBezTo>
                    <a:pt x="0" y="59053"/>
                    <a:pt x="444" y="54777"/>
                    <a:pt x="1289" y="50648"/>
                  </a:cubicBezTo>
                  <a:cubicBezTo>
                    <a:pt x="2135" y="46519"/>
                    <a:pt x="3380" y="42536"/>
                    <a:pt x="4985" y="38742"/>
                  </a:cubicBezTo>
                  <a:cubicBezTo>
                    <a:pt x="8195" y="31153"/>
                    <a:pt x="12839" y="24319"/>
                    <a:pt x="18580" y="18578"/>
                  </a:cubicBezTo>
                  <a:cubicBezTo>
                    <a:pt x="24319" y="12839"/>
                    <a:pt x="31152" y="8195"/>
                    <a:pt x="38741" y="4985"/>
                  </a:cubicBezTo>
                  <a:cubicBezTo>
                    <a:pt x="42536" y="3380"/>
                    <a:pt x="46519" y="2133"/>
                    <a:pt x="50648" y="1289"/>
                  </a:cubicBezTo>
                  <a:cubicBezTo>
                    <a:pt x="54778" y="444"/>
                    <a:pt x="59053" y="0"/>
                    <a:pt x="63432" y="0"/>
                  </a:cubicBezTo>
                  <a:close/>
                </a:path>
              </a:pathLst>
            </a:custGeom>
            <a:solidFill>
              <a:schemeClr val="accent1">
                <a:lumMod val="50000"/>
              </a:schemeClr>
            </a:solidFill>
            <a:ln w="9525" cap="flat" cmpd="sng" algn="ctr">
              <a:noFill/>
              <a:prstDash val="soli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3">
                <a:defRPr/>
              </a:pPr>
              <a:endParaRPr lang="en-US" sz="1399" kern="0" spc="-50" dirty="0">
                <a:ln>
                  <a:solidFill>
                    <a:srgbClr val="FFFFFF">
                      <a:alpha val="0"/>
                    </a:srgbClr>
                  </a:solidFill>
                </a:ln>
                <a:solidFill>
                  <a:srgbClr val="000000"/>
                </a:solidFill>
                <a:latin typeface="Segoe UI"/>
                <a:ea typeface="Segoe UI" pitchFamily="34" charset="0"/>
                <a:cs typeface="Segoe UI" pitchFamily="34" charset="0"/>
              </a:endParaRPr>
            </a:p>
          </p:txBody>
        </p:sp>
        <p:sp>
          <p:nvSpPr>
            <p:cNvPr id="49" name="Freeform 48"/>
            <p:cNvSpPr>
              <a:spLocks noChangeAspect="1"/>
            </p:cNvSpPr>
            <p:nvPr/>
          </p:nvSpPr>
          <p:spPr bwMode="auto">
            <a:xfrm>
              <a:off x="6095398" y="4166018"/>
              <a:ext cx="1005823" cy="664101"/>
            </a:xfrm>
            <a:custGeom>
              <a:avLst/>
              <a:gdLst>
                <a:gd name="connsiteX0" fmla="*/ 65139 w 1457489"/>
                <a:gd name="connsiteY0" fmla="*/ 0 h 962317"/>
                <a:gd name="connsiteX1" fmla="*/ 1416820 w 1457489"/>
                <a:gd name="connsiteY1" fmla="*/ 0 h 962317"/>
                <a:gd name="connsiteX2" fmla="*/ 1442175 w 1457489"/>
                <a:gd name="connsiteY2" fmla="*/ 5119 h 962317"/>
                <a:gd name="connsiteX3" fmla="*/ 1457489 w 1457489"/>
                <a:gd name="connsiteY3" fmla="*/ 15444 h 962317"/>
                <a:gd name="connsiteX4" fmla="*/ 181174 w 1457489"/>
                <a:gd name="connsiteY4" fmla="*/ 962317 h 962317"/>
                <a:gd name="connsiteX5" fmla="*/ 65139 w 1457489"/>
                <a:gd name="connsiteY5" fmla="*/ 962317 h 962317"/>
                <a:gd name="connsiteX6" fmla="*/ 0 w 1457489"/>
                <a:gd name="connsiteY6" fmla="*/ 897178 h 962317"/>
                <a:gd name="connsiteX7" fmla="*/ 0 w 1457489"/>
                <a:gd name="connsiteY7" fmla="*/ 65139 h 962317"/>
                <a:gd name="connsiteX8" fmla="*/ 65139 w 1457489"/>
                <a:gd name="connsiteY8" fmla="*/ 0 h 962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57489" h="962317">
                  <a:moveTo>
                    <a:pt x="65139" y="0"/>
                  </a:moveTo>
                  <a:lnTo>
                    <a:pt x="1416820" y="0"/>
                  </a:lnTo>
                  <a:cubicBezTo>
                    <a:pt x="1425814" y="0"/>
                    <a:pt x="1434382" y="1823"/>
                    <a:pt x="1442175" y="5119"/>
                  </a:cubicBezTo>
                  <a:lnTo>
                    <a:pt x="1457489" y="15444"/>
                  </a:lnTo>
                  <a:lnTo>
                    <a:pt x="181174" y="962317"/>
                  </a:lnTo>
                  <a:lnTo>
                    <a:pt x="65139" y="962317"/>
                  </a:lnTo>
                  <a:cubicBezTo>
                    <a:pt x="29164" y="962317"/>
                    <a:pt x="0" y="933153"/>
                    <a:pt x="0" y="897178"/>
                  </a:cubicBezTo>
                  <a:lnTo>
                    <a:pt x="0" y="65139"/>
                  </a:lnTo>
                  <a:cubicBezTo>
                    <a:pt x="0" y="29164"/>
                    <a:pt x="29164" y="0"/>
                    <a:pt x="65139" y="0"/>
                  </a:cubicBezTo>
                  <a:close/>
                </a:path>
              </a:pathLst>
            </a:custGeom>
            <a:solidFill>
              <a:schemeClr val="bg1">
                <a:alpha val="18000"/>
              </a:schemeClr>
            </a:solidFill>
            <a:ln w="9525" cap="flat" cmpd="sng" algn="ctr">
              <a:noFill/>
              <a:prstDash val="soli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3">
                <a:defRPr/>
              </a:pPr>
              <a:endParaRPr lang="en-US" sz="1399" kern="0" spc="-50" dirty="0">
                <a:ln>
                  <a:solidFill>
                    <a:srgbClr val="FFFFFF">
                      <a:alpha val="0"/>
                    </a:srgbClr>
                  </a:solidFill>
                </a:ln>
                <a:solidFill>
                  <a:srgbClr val="000000"/>
                </a:solidFill>
                <a:latin typeface="Segoe UI"/>
                <a:ea typeface="Segoe UI" pitchFamily="34" charset="0"/>
                <a:cs typeface="Segoe UI" pitchFamily="34" charset="0"/>
              </a:endParaRPr>
            </a:p>
          </p:txBody>
        </p:sp>
      </p:grpSp>
      <p:grpSp>
        <p:nvGrpSpPr>
          <p:cNvPr id="51" name="Group 50"/>
          <p:cNvGrpSpPr/>
          <p:nvPr/>
        </p:nvGrpSpPr>
        <p:grpSpPr>
          <a:xfrm>
            <a:off x="5262690" y="5232157"/>
            <a:ext cx="1010587" cy="428066"/>
            <a:chOff x="4229919" y="3030591"/>
            <a:chExt cx="1010587" cy="428066"/>
          </a:xfrm>
        </p:grpSpPr>
        <p:sp>
          <p:nvSpPr>
            <p:cNvPr id="52" name="TextBox 51"/>
            <p:cNvSpPr txBox="1"/>
            <p:nvPr/>
          </p:nvSpPr>
          <p:spPr>
            <a:xfrm>
              <a:off x="4324882" y="3030591"/>
              <a:ext cx="915624" cy="184251"/>
            </a:xfrm>
            <a:prstGeom prst="rect">
              <a:avLst/>
            </a:prstGeom>
            <a:noFill/>
          </p:spPr>
          <p:txBody>
            <a:bodyPr wrap="square" lIns="182854" tIns="146283" rIns="182854" bIns="146283" rtlCol="0">
              <a:noAutofit/>
            </a:bodyPr>
            <a:lstStyle/>
            <a:p>
              <a:pPr defTabSz="931684">
                <a:lnSpc>
                  <a:spcPct val="90000"/>
                </a:lnSpc>
                <a:spcAft>
                  <a:spcPts val="600"/>
                </a:spcAft>
              </a:pPr>
              <a:r>
                <a:rPr lang="en-US" sz="1200" dirty="0" smtClean="0">
                  <a:solidFill>
                    <a:srgbClr val="FF8C00"/>
                  </a:solidFill>
                  <a:latin typeface="Segoe UI Semibold" panose="020B0702040204020203" pitchFamily="34" charset="0"/>
                  <a:cs typeface="Segoe UI Semibold" panose="020B0702040204020203" pitchFamily="34" charset="0"/>
                </a:rPr>
                <a:t>Query</a:t>
              </a:r>
              <a:endParaRPr lang="en-US" sz="1200" dirty="0">
                <a:solidFill>
                  <a:srgbClr val="FF8C00"/>
                </a:solidFill>
                <a:latin typeface="Segoe UI Semibold" panose="020B0702040204020203" pitchFamily="34" charset="0"/>
                <a:cs typeface="Segoe UI Semibold" panose="020B0702040204020203" pitchFamily="34" charset="0"/>
              </a:endParaRPr>
            </a:p>
          </p:txBody>
        </p:sp>
        <p:sp>
          <p:nvSpPr>
            <p:cNvPr id="53" name="Right Arrow 52"/>
            <p:cNvSpPr/>
            <p:nvPr/>
          </p:nvSpPr>
          <p:spPr bwMode="auto">
            <a:xfrm flipH="1">
              <a:off x="4229919" y="3264391"/>
              <a:ext cx="731520" cy="194266"/>
            </a:xfrm>
            <a:prstGeom prst="rightArrow">
              <a:avLst>
                <a:gd name="adj1" fmla="val 50000"/>
                <a:gd name="adj2" fmla="val 42077"/>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342834" indent="-342834" algn="ctr" defTabSz="932293">
                <a:lnSpc>
                  <a:spcPct val="90000"/>
                </a:lnSpc>
                <a:buFont typeface="Wingdings 3" panose="05040102010807070707" pitchFamily="18" charset="2"/>
                <a:buChar char="Æ"/>
              </a:pPr>
              <a:endParaRPr lang="en-IN" sz="2000" b="1" dirty="0" err="1">
                <a:solidFill>
                  <a:srgbClr val="FFFFFF"/>
                </a:solidFill>
                <a:latin typeface="Segoe UI Light"/>
                <a:ea typeface="Segoe UI" pitchFamily="34" charset="0"/>
                <a:cs typeface="Segoe UI" pitchFamily="34" charset="0"/>
              </a:endParaRPr>
            </a:p>
          </p:txBody>
        </p:sp>
      </p:grpSp>
      <p:sp>
        <p:nvSpPr>
          <p:cNvPr id="55" name="Rectangle 54"/>
          <p:cNvSpPr/>
          <p:nvPr/>
        </p:nvSpPr>
        <p:spPr>
          <a:xfrm>
            <a:off x="5208556" y="2425296"/>
            <a:ext cx="1857753" cy="369332"/>
          </a:xfrm>
          <a:prstGeom prst="rect">
            <a:avLst/>
          </a:prstGeom>
        </p:spPr>
        <p:txBody>
          <a:bodyPr wrap="none">
            <a:spAutoFit/>
          </a:bodyPr>
          <a:lstStyle/>
          <a:p>
            <a:pPr defTabSz="932239" fontAlgn="auto">
              <a:spcBef>
                <a:spcPts val="0"/>
              </a:spcBef>
              <a:spcAft>
                <a:spcPts val="0"/>
              </a:spcAft>
            </a:pPr>
            <a:r>
              <a:rPr lang="en-US" sz="1800" dirty="0" smtClean="0">
                <a:solidFill>
                  <a:srgbClr val="5B9BD5">
                    <a:lumMod val="50000"/>
                  </a:srgbClr>
                </a:solidFill>
                <a:latin typeface="Segoe UI" panose="020B0502040204020203" pitchFamily="34" charset="0"/>
                <a:cs typeface="Segoe UI" panose="020B0502040204020203" pitchFamily="34" charset="0"/>
              </a:rPr>
              <a:t>Microsoft Azure</a:t>
            </a:r>
            <a:endParaRPr lang="en-US" sz="1800" dirty="0">
              <a:solidFill>
                <a:srgbClr val="5B9BD5">
                  <a:lumMod val="50000"/>
                </a:srgbClr>
              </a:solidFill>
              <a:latin typeface="Segoe UI" panose="020B0502040204020203" pitchFamily="34" charset="0"/>
              <a:ea typeface="Segoe UI Black" panose="020B0A02040204020203" pitchFamily="34" charset="0"/>
              <a:cs typeface="Segoe UI" panose="020B0502040204020203" pitchFamily="34" charset="0"/>
            </a:endParaRPr>
          </a:p>
        </p:txBody>
      </p:sp>
      <p:sp>
        <p:nvSpPr>
          <p:cNvPr id="57" name="Right Arrow 56"/>
          <p:cNvSpPr/>
          <p:nvPr/>
        </p:nvSpPr>
        <p:spPr bwMode="auto">
          <a:xfrm rot="16200000" flipH="1">
            <a:off x="3998762" y="3894433"/>
            <a:ext cx="1371600" cy="182880"/>
          </a:xfrm>
          <a:prstGeom prst="rightArrow">
            <a:avLst>
              <a:gd name="adj1" fmla="val 50000"/>
              <a:gd name="adj2" fmla="val 42077"/>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342834" indent="-342834" algn="ctr" defTabSz="932293">
              <a:lnSpc>
                <a:spcPct val="90000"/>
              </a:lnSpc>
              <a:buFont typeface="Wingdings 3" panose="05040102010807070707" pitchFamily="18" charset="2"/>
              <a:buChar char="Æ"/>
            </a:pPr>
            <a:endParaRPr lang="en-IN" sz="2000" b="1" dirty="0" err="1">
              <a:solidFill>
                <a:srgbClr val="FFFFFF"/>
              </a:solidFill>
              <a:latin typeface="Segoe UI Light"/>
              <a:ea typeface="Segoe UI" pitchFamily="34" charset="0"/>
              <a:cs typeface="Segoe UI" pitchFamily="34" charset="0"/>
            </a:endParaRPr>
          </a:p>
        </p:txBody>
      </p:sp>
      <p:sp>
        <p:nvSpPr>
          <p:cNvPr id="45" name="TextBox 44"/>
          <p:cNvSpPr txBox="1"/>
          <p:nvPr/>
        </p:nvSpPr>
        <p:spPr>
          <a:xfrm>
            <a:off x="1903657" y="5818073"/>
            <a:ext cx="765399" cy="387798"/>
          </a:xfrm>
          <a:prstGeom prst="rect">
            <a:avLst/>
          </a:prstGeom>
          <a:noFill/>
        </p:spPr>
        <p:txBody>
          <a:bodyPr wrap="square" lIns="0" tIns="0" rIns="0" bIns="0" rtlCol="0">
            <a:spAutoFit/>
          </a:bodyPr>
          <a:lstStyle/>
          <a:p>
            <a:pPr algn="ctr" defTabSz="932046" fontAlgn="auto">
              <a:lnSpc>
                <a:spcPct val="90000"/>
              </a:lnSpc>
              <a:spcBef>
                <a:spcPts val="0"/>
              </a:spcBef>
              <a:spcAft>
                <a:spcPts val="0"/>
              </a:spcAft>
              <a:defRPr/>
            </a:pPr>
            <a:r>
              <a:rPr lang="en-US" sz="2800" b="1" kern="0" dirty="0">
                <a:solidFill>
                  <a:srgbClr val="C00000"/>
                </a:solidFill>
                <a:latin typeface="Segoe UI"/>
                <a:cs typeface="+mn-cs"/>
                <a:sym typeface="Wingdings" panose="05000000000000000000" pitchFamily="2" charset="2"/>
              </a:rPr>
              <a:t></a:t>
            </a:r>
            <a:endParaRPr lang="en-US" sz="2800" b="1" kern="0" dirty="0">
              <a:solidFill>
                <a:srgbClr val="C00000"/>
              </a:solidFill>
              <a:latin typeface="Segoe UI"/>
              <a:cs typeface="+mn-cs"/>
            </a:endParaRPr>
          </a:p>
        </p:txBody>
      </p:sp>
      <p:sp>
        <p:nvSpPr>
          <p:cNvPr id="20" name="Rectangle 19"/>
          <p:cNvSpPr/>
          <p:nvPr/>
        </p:nvSpPr>
        <p:spPr>
          <a:xfrm>
            <a:off x="2426935" y="4359389"/>
            <a:ext cx="184731" cy="307777"/>
          </a:xfrm>
          <a:prstGeom prst="rect">
            <a:avLst/>
          </a:prstGeom>
        </p:spPr>
        <p:txBody>
          <a:bodyPr wrap="none">
            <a:spAutoFit/>
          </a:bodyPr>
          <a:lstStyle/>
          <a:p>
            <a:endParaRPr lang="en-US" sz="1400" dirty="0">
              <a:solidFill>
                <a:srgbClr val="44546A"/>
              </a:solidFill>
              <a:latin typeface="Segoe UI" panose="020B0502040204020203" pitchFamily="34" charset="0"/>
              <a:cs typeface="Segoe UI" panose="020B0502040204020203" pitchFamily="34" charset="0"/>
            </a:endParaRPr>
          </a:p>
        </p:txBody>
      </p:sp>
      <p:sp>
        <p:nvSpPr>
          <p:cNvPr id="13" name="Rectangle 12"/>
          <p:cNvSpPr/>
          <p:nvPr/>
        </p:nvSpPr>
        <p:spPr bwMode="auto">
          <a:xfrm>
            <a:off x="1765" y="6453183"/>
            <a:ext cx="4418346" cy="54848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ctr" anchorCtr="0" forceAA="0" compatLnSpc="1">
            <a:prstTxWarp prst="textNoShape">
              <a:avLst/>
            </a:prstTxWarp>
            <a:noAutofit/>
          </a:bodyPr>
          <a:lstStyle/>
          <a:p>
            <a:pPr defTabSz="776478" fontAlgn="auto">
              <a:lnSpc>
                <a:spcPct val="90000"/>
              </a:lnSpc>
              <a:spcBef>
                <a:spcPts val="0"/>
              </a:spcBef>
              <a:spcAft>
                <a:spcPts val="0"/>
              </a:spcAft>
              <a:defRPr/>
            </a:pPr>
            <a:r>
              <a:rPr lang="en-US" kern="0" dirty="0">
                <a:ln>
                  <a:solidFill>
                    <a:srgbClr val="FFFFFF">
                      <a:alpha val="0"/>
                    </a:srgbClr>
                  </a:solidFill>
                </a:ln>
                <a:solidFill>
                  <a:srgbClr val="FFFFFF"/>
                </a:solidFill>
                <a:latin typeface="Segoe UI Light" panose="020B0502040204020203" pitchFamily="34" charset="0"/>
                <a:ea typeface="MS PGothic" charset="0"/>
                <a:cs typeface="Segoe UI Light" panose="020B0502040204020203" pitchFamily="34" charset="0"/>
              </a:rPr>
              <a:t>Hyperscale cloud</a:t>
            </a:r>
          </a:p>
        </p:txBody>
      </p:sp>
      <p:graphicFrame>
        <p:nvGraphicFramePr>
          <p:cNvPr id="18" name="Table 17"/>
          <p:cNvGraphicFramePr>
            <a:graphicFrameLocks noGrp="1"/>
          </p:cNvGraphicFramePr>
          <p:nvPr>
            <p:extLst/>
          </p:nvPr>
        </p:nvGraphicFramePr>
        <p:xfrm>
          <a:off x="524059" y="3252534"/>
          <a:ext cx="3412911" cy="254518"/>
        </p:xfrm>
        <a:graphic>
          <a:graphicData uri="http://schemas.openxmlformats.org/drawingml/2006/table">
            <a:tbl>
              <a:tblPr/>
              <a:tblGrid>
                <a:gridCol w="1318389">
                  <a:extLst>
                    <a:ext uri="{9D8B030D-6E8A-4147-A177-3AD203B41FA5}">
                      <a16:colId xmlns:a16="http://schemas.microsoft.com/office/drawing/2014/main" val="20000"/>
                    </a:ext>
                  </a:extLst>
                </a:gridCol>
                <a:gridCol w="1201003">
                  <a:extLst>
                    <a:ext uri="{9D8B030D-6E8A-4147-A177-3AD203B41FA5}">
                      <a16:colId xmlns:a16="http://schemas.microsoft.com/office/drawing/2014/main" val="20001"/>
                    </a:ext>
                  </a:extLst>
                </a:gridCol>
                <a:gridCol w="893519">
                  <a:extLst>
                    <a:ext uri="{9D8B030D-6E8A-4147-A177-3AD203B41FA5}">
                      <a16:colId xmlns:a16="http://schemas.microsoft.com/office/drawing/2014/main" val="20002"/>
                    </a:ext>
                  </a:extLst>
                </a:gridCol>
              </a:tblGrid>
              <a:tr h="254518">
                <a:tc>
                  <a:txBody>
                    <a:bodyPr/>
                    <a:lstStyle/>
                    <a:p>
                      <a:pPr algn="l" defTabSz="932384" fontAlgn="auto">
                        <a:spcBef>
                          <a:spcPts val="0"/>
                        </a:spcBef>
                        <a:spcAft>
                          <a:spcPts val="0"/>
                        </a:spcAft>
                      </a:pPr>
                      <a:r>
                        <a:rPr lang="en-US" sz="1200" dirty="0" smtClean="0">
                          <a:solidFill>
                            <a:srgbClr val="000000"/>
                          </a:solidFill>
                          <a:latin typeface="Segoe UI" panose="020B0502040204020203" pitchFamily="34" charset="0"/>
                          <a:cs typeface="Segoe UI" panose="020B0502040204020203" pitchFamily="34" charset="0"/>
                        </a:rPr>
                        <a:t>Jim Gray</a:t>
                      </a:r>
                      <a:endParaRPr lang="en-US" sz="1200" dirty="0">
                        <a:solidFill>
                          <a:srgbClr val="000000"/>
                        </a:solidFill>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rgbClr val="FFC000"/>
                    </a:solidFill>
                  </a:tcPr>
                </a:tc>
                <a:tc>
                  <a:txBody>
                    <a:bodyPr/>
                    <a:lstStyle/>
                    <a:p>
                      <a:pPr algn="r" fontAlgn="b"/>
                      <a:r>
                        <a:rPr lang="en-US" sz="1200" dirty="0" smtClean="0">
                          <a:solidFill>
                            <a:srgbClr val="000000"/>
                          </a:solidFill>
                          <a:latin typeface="Segoe UI" panose="020B0502040204020203" pitchFamily="34" charset="0"/>
                          <a:cs typeface="Segoe UI" panose="020B0502040204020203" pitchFamily="34" charset="0"/>
                        </a:rPr>
                        <a:t>ox7ff654ae6d</a:t>
                      </a:r>
                      <a:endParaRPr lang="en-US" sz="1200" b="0" i="0" u="none" strike="noStrike" dirty="0">
                        <a:solidFill>
                          <a:srgbClr val="000000"/>
                        </a:solidFill>
                        <a:effectLst/>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rgbClr val="FFC000"/>
                    </a:solidFill>
                  </a:tcPr>
                </a:tc>
                <a:tc>
                  <a:txBody>
                    <a:bodyPr/>
                    <a:lstStyle/>
                    <a:p>
                      <a:pPr algn="r" fontAlgn="b"/>
                      <a:r>
                        <a:rPr lang="en-US" sz="1200" dirty="0" smtClean="0">
                          <a:solidFill>
                            <a:srgbClr val="000000"/>
                          </a:solidFill>
                          <a:latin typeface="Segoe UI" panose="020B0502040204020203" pitchFamily="34" charset="0"/>
                          <a:cs typeface="Segoe UI" panose="020B0502040204020203" pitchFamily="34" charset="0"/>
                        </a:rPr>
                        <a:t>3/18/2005</a:t>
                      </a:r>
                      <a:endParaRPr lang="en-US" sz="1200" b="0" i="0" u="none" strike="noStrike" dirty="0">
                        <a:solidFill>
                          <a:srgbClr val="000000"/>
                        </a:solidFill>
                        <a:effectLst/>
                        <a:latin typeface="Segoe UI" panose="020B0502040204020203" pitchFamily="34" charset="0"/>
                        <a:cs typeface="Segoe UI" panose="020B0502040204020203" pitchFamily="34" charset="0"/>
                      </a:endParaRPr>
                    </a:p>
                  </a:txBody>
                  <a:tcPr marT="13442" marB="0" anchor="ctr">
                    <a:lnL>
                      <a:noFill/>
                    </a:lnL>
                    <a:lnR>
                      <a:noFill/>
                    </a:lnR>
                    <a:lnT>
                      <a:noFill/>
                    </a:lnT>
                    <a:lnB>
                      <a:noFill/>
                    </a:lnB>
                    <a:solidFill>
                      <a:srgbClr val="FFC000"/>
                    </a:solidFill>
                  </a:tcPr>
                </a:tc>
                <a:extLst>
                  <a:ext uri="{0D108BD9-81ED-4DB2-BD59-A6C34878D82A}">
                    <a16:rowId xmlns:a16="http://schemas.microsoft.com/office/drawing/2014/main" val="10000"/>
                  </a:ext>
                </a:extLst>
              </a:tr>
            </a:tbl>
          </a:graphicData>
        </a:graphic>
      </p:graphicFrame>
      <p:sp>
        <p:nvSpPr>
          <p:cNvPr id="65" name="Right Arrow 64"/>
          <p:cNvSpPr/>
          <p:nvPr/>
        </p:nvSpPr>
        <p:spPr bwMode="auto">
          <a:xfrm rot="10800000" flipH="1">
            <a:off x="5244491" y="5465957"/>
            <a:ext cx="731520" cy="194266"/>
          </a:xfrm>
          <a:prstGeom prst="rightArrow">
            <a:avLst>
              <a:gd name="adj1" fmla="val 50000"/>
              <a:gd name="adj2" fmla="val 42077"/>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342834" indent="-342834" algn="ctr" defTabSz="932293">
              <a:lnSpc>
                <a:spcPct val="90000"/>
              </a:lnSpc>
              <a:buFont typeface="Wingdings 3" panose="05040102010807070707" pitchFamily="18" charset="2"/>
              <a:buChar char="Æ"/>
            </a:pPr>
            <a:endParaRPr lang="en-IN" sz="2000" b="1" dirty="0" err="1">
              <a:solidFill>
                <a:srgbClr val="FFFFFF"/>
              </a:solidFill>
              <a:latin typeface="Segoe UI Light"/>
              <a:ea typeface="Segoe UI" pitchFamily="34" charset="0"/>
              <a:cs typeface="Segoe UI" pitchFamily="34" charset="0"/>
            </a:endParaRPr>
          </a:p>
        </p:txBody>
      </p:sp>
    </p:spTree>
    <p:extLst>
      <p:ext uri="{BB962C8B-B14F-4D97-AF65-F5344CB8AC3E}">
        <p14:creationId xmlns:p14="http://schemas.microsoft.com/office/powerpoint/2010/main" val="18931298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5"/>
                                        </p:tgtEl>
                                        <p:attrNameLst>
                                          <p:attrName>style.visibility</p:attrName>
                                        </p:attrNameLst>
                                      </p:cBhvr>
                                      <p:to>
                                        <p:strVal val="visible"/>
                                      </p:to>
                                    </p:set>
                                  </p:childTnLst>
                                </p:cTn>
                              </p:par>
                            </p:childTnLst>
                          </p:cTn>
                        </p:par>
                        <p:par>
                          <p:cTn id="11" fill="hold">
                            <p:stCondLst>
                              <p:cond delay="0"/>
                            </p:stCondLst>
                            <p:childTnLst>
                              <p:par>
                                <p:cTn id="12" presetID="10" presetClass="exit" presetSubtype="0" fill="hold" nodeType="afterEffect">
                                  <p:stCondLst>
                                    <p:cond delay="500"/>
                                  </p:stCondLst>
                                  <p:childTnLst>
                                    <p:animEffect transition="out" filter="fade">
                                      <p:cBhvr>
                                        <p:cTn id="13" dur="250"/>
                                        <p:tgtEl>
                                          <p:spTgt spid="16"/>
                                        </p:tgtEl>
                                      </p:cBhvr>
                                    </p:animEffect>
                                    <p:set>
                                      <p:cBhvr>
                                        <p:cTn id="14" dur="1" fill="hold">
                                          <p:stCondLst>
                                            <p:cond delay="249"/>
                                          </p:stCondLst>
                                        </p:cTn>
                                        <p:tgtEl>
                                          <p:spTgt spid="16"/>
                                        </p:tgtEl>
                                        <p:attrNameLst>
                                          <p:attrName>style.visibility</p:attrName>
                                        </p:attrNameLst>
                                      </p:cBhvr>
                                      <p:to>
                                        <p:strVal val="hidden"/>
                                      </p:to>
                                    </p:set>
                                  </p:childTnLst>
                                </p:cTn>
                              </p:par>
                              <p:par>
                                <p:cTn id="15" presetID="10" presetClass="exit" presetSubtype="0" fill="hold" grpId="1" nodeType="withEffect">
                                  <p:stCondLst>
                                    <p:cond delay="500"/>
                                  </p:stCondLst>
                                  <p:childTnLst>
                                    <p:animEffect transition="out" filter="fade">
                                      <p:cBhvr>
                                        <p:cTn id="16" dur="250"/>
                                        <p:tgtEl>
                                          <p:spTgt spid="45"/>
                                        </p:tgtEl>
                                      </p:cBhvr>
                                    </p:animEffect>
                                    <p:set>
                                      <p:cBhvr>
                                        <p:cTn id="17" dur="1" fill="hold">
                                          <p:stCondLst>
                                            <p:cond delay="249"/>
                                          </p:stCondLst>
                                        </p:cTn>
                                        <p:tgtEl>
                                          <p:spTgt spid="45"/>
                                        </p:tgtEl>
                                        <p:attrNameLst>
                                          <p:attrName>style.visibility</p:attrName>
                                        </p:attrNameLst>
                                      </p:cBhvr>
                                      <p:to>
                                        <p:strVal val="hidden"/>
                                      </p:to>
                                    </p:set>
                                  </p:childTnLst>
                                </p:cTn>
                              </p:par>
                              <p:par>
                                <p:cTn id="18" presetID="10" presetClass="exit" presetSubtype="0" fill="hold" nodeType="withEffect">
                                  <p:stCondLst>
                                    <p:cond delay="500"/>
                                  </p:stCondLst>
                                  <p:childTnLst>
                                    <p:animEffect transition="out" filter="fade">
                                      <p:cBhvr>
                                        <p:cTn id="19" dur="250"/>
                                        <p:tgtEl>
                                          <p:spTgt spid="64"/>
                                        </p:tgtEl>
                                      </p:cBhvr>
                                    </p:animEffect>
                                    <p:set>
                                      <p:cBhvr>
                                        <p:cTn id="20" dur="1" fill="hold">
                                          <p:stCondLst>
                                            <p:cond delay="249"/>
                                          </p:stCondLst>
                                        </p:cTn>
                                        <p:tgtEl>
                                          <p:spTgt spid="64"/>
                                        </p:tgtEl>
                                        <p:attrNameLst>
                                          <p:attrName>style.visibility</p:attrName>
                                        </p:attrNameLst>
                                      </p:cBhvr>
                                      <p:to>
                                        <p:strVal val="hidden"/>
                                      </p:to>
                                    </p:set>
                                  </p:childTnLst>
                                </p:cTn>
                              </p:par>
                              <p:par>
                                <p:cTn id="21" presetID="10" presetClass="entr" presetSubtype="0" fill="hold" nodeType="withEffect">
                                  <p:stCondLst>
                                    <p:cond delay="500"/>
                                  </p:stCondLst>
                                  <p:childTnLst>
                                    <p:set>
                                      <p:cBhvr>
                                        <p:cTn id="22" dur="1" fill="hold">
                                          <p:stCondLst>
                                            <p:cond delay="0"/>
                                          </p:stCondLst>
                                        </p:cTn>
                                        <p:tgtEl>
                                          <p:spTgt spid="2"/>
                                        </p:tgtEl>
                                        <p:attrNameLst>
                                          <p:attrName>style.visibility</p:attrName>
                                        </p:attrNameLst>
                                      </p:cBhvr>
                                      <p:to>
                                        <p:strVal val="visible"/>
                                      </p:to>
                                    </p:set>
                                    <p:animEffect transition="in" filter="fade">
                                      <p:cBhvr>
                                        <p:cTn id="23" dur="500"/>
                                        <p:tgtEl>
                                          <p:spTgt spid="2"/>
                                        </p:tgtEl>
                                      </p:cBhvr>
                                    </p:animEffect>
                                  </p:childTnLst>
                                </p:cTn>
                              </p:par>
                              <p:par>
                                <p:cTn id="24" presetID="64" presetClass="path" presetSubtype="0" accel="50000" decel="50000" fill="hold" nodeType="withEffect">
                                  <p:stCondLst>
                                    <p:cond delay="750"/>
                                  </p:stCondLst>
                                  <p:childTnLst>
                                    <p:animMotion origin="layout" path="M -3.49247E-6 -4.53019E-6 L -3.49247E-6 -0.32387 " pathEditMode="relative" rAng="0" ptsTypes="AA">
                                      <p:cBhvr>
                                        <p:cTn id="25" dur="1750" fill="hold"/>
                                        <p:tgtEl>
                                          <p:spTgt spid="2"/>
                                        </p:tgtEl>
                                        <p:attrNameLst>
                                          <p:attrName>ppt_x</p:attrName>
                                          <p:attrName>ppt_y</p:attrName>
                                        </p:attrNameLst>
                                      </p:cBhvr>
                                      <p:rCtr x="0" y="-16205"/>
                                    </p:animMotion>
                                  </p:childTnLst>
                                </p:cTn>
                              </p:par>
                            </p:childTnLst>
                          </p:cTn>
                        </p:par>
                      </p:childTnLst>
                    </p:cTn>
                  </p:par>
                  <p:par>
                    <p:cTn id="26" fill="hold">
                      <p:stCondLst>
                        <p:cond delay="indefinite"/>
                      </p:stCondLst>
                      <p:childTnLst>
                        <p:par>
                          <p:cTn id="27" fill="hold">
                            <p:stCondLst>
                              <p:cond delay="0"/>
                            </p:stCondLst>
                            <p:childTnLst>
                              <p:par>
                                <p:cTn id="28" presetID="22" presetClass="entr" presetSubtype="2" fill="hold" nodeType="clickEffect">
                                  <p:stCondLst>
                                    <p:cond delay="0"/>
                                  </p:stCondLst>
                                  <p:childTnLst>
                                    <p:set>
                                      <p:cBhvr>
                                        <p:cTn id="29" dur="1" fill="hold">
                                          <p:stCondLst>
                                            <p:cond delay="0"/>
                                          </p:stCondLst>
                                        </p:cTn>
                                        <p:tgtEl>
                                          <p:spTgt spid="51"/>
                                        </p:tgtEl>
                                        <p:attrNameLst>
                                          <p:attrName>style.visibility</p:attrName>
                                        </p:attrNameLst>
                                      </p:cBhvr>
                                      <p:to>
                                        <p:strVal val="visible"/>
                                      </p:to>
                                    </p:set>
                                    <p:animEffect transition="in" filter="wipe(right)">
                                      <p:cBhvr>
                                        <p:cTn id="30" dur="500"/>
                                        <p:tgtEl>
                                          <p:spTgt spid="51"/>
                                        </p:tgtEl>
                                      </p:cBhvr>
                                    </p:animEffect>
                                  </p:childTnLst>
                                </p:cTn>
                              </p:par>
                            </p:childTnLst>
                          </p:cTn>
                        </p:par>
                        <p:par>
                          <p:cTn id="31" fill="hold">
                            <p:stCondLst>
                              <p:cond delay="500"/>
                            </p:stCondLst>
                            <p:childTnLst>
                              <p:par>
                                <p:cTn id="32" presetID="22" presetClass="entr" presetSubtype="8" fill="hold" nodeType="afterEffect">
                                  <p:stCondLst>
                                    <p:cond delay="500"/>
                                  </p:stCondLst>
                                  <p:childTnLst>
                                    <p:set>
                                      <p:cBhvr>
                                        <p:cTn id="33" dur="1" fill="hold">
                                          <p:stCondLst>
                                            <p:cond delay="0"/>
                                          </p:stCondLst>
                                        </p:cTn>
                                        <p:tgtEl>
                                          <p:spTgt spid="18"/>
                                        </p:tgtEl>
                                        <p:attrNameLst>
                                          <p:attrName>style.visibility</p:attrName>
                                        </p:attrNameLst>
                                      </p:cBhvr>
                                      <p:to>
                                        <p:strVal val="visible"/>
                                      </p:to>
                                    </p:set>
                                    <p:animEffect transition="in" filter="wipe(left)">
                                      <p:cBhvr>
                                        <p:cTn id="34" dur="1000"/>
                                        <p:tgtEl>
                                          <p:spTgt spid="18"/>
                                        </p:tgtEl>
                                      </p:cBhvr>
                                    </p:animEffect>
                                  </p:childTnLst>
                                </p:cTn>
                              </p:par>
                            </p:childTnLst>
                          </p:cTn>
                        </p:par>
                        <p:par>
                          <p:cTn id="35" fill="hold">
                            <p:stCondLst>
                              <p:cond delay="2000"/>
                            </p:stCondLst>
                            <p:childTnLst>
                              <p:par>
                                <p:cTn id="36" presetID="22" presetClass="entr" presetSubtype="1" fill="hold" grpId="0" nodeType="afterEffect">
                                  <p:stCondLst>
                                    <p:cond delay="250"/>
                                  </p:stCondLst>
                                  <p:childTnLst>
                                    <p:set>
                                      <p:cBhvr>
                                        <p:cTn id="37" dur="1" fill="hold">
                                          <p:stCondLst>
                                            <p:cond delay="0"/>
                                          </p:stCondLst>
                                        </p:cTn>
                                        <p:tgtEl>
                                          <p:spTgt spid="57"/>
                                        </p:tgtEl>
                                        <p:attrNameLst>
                                          <p:attrName>style.visibility</p:attrName>
                                        </p:attrNameLst>
                                      </p:cBhvr>
                                      <p:to>
                                        <p:strVal val="visible"/>
                                      </p:to>
                                    </p:set>
                                    <p:animEffect transition="in" filter="wipe(up)">
                                      <p:cBhvr>
                                        <p:cTn id="38" dur="750"/>
                                        <p:tgtEl>
                                          <p:spTgt spid="57"/>
                                        </p:tgtEl>
                                      </p:cBhvr>
                                    </p:animEffect>
                                  </p:childTnLst>
                                </p:cTn>
                              </p:par>
                            </p:childTnLst>
                          </p:cTn>
                        </p:par>
                        <p:par>
                          <p:cTn id="39" fill="hold">
                            <p:stCondLst>
                              <p:cond delay="3000"/>
                            </p:stCondLst>
                            <p:childTnLst>
                              <p:par>
                                <p:cTn id="40" presetID="10" presetClass="exit" presetSubtype="0" fill="hold" nodeType="afterEffect">
                                  <p:stCondLst>
                                    <p:cond delay="0"/>
                                  </p:stCondLst>
                                  <p:childTnLst>
                                    <p:animEffect transition="out" filter="fade">
                                      <p:cBhvr>
                                        <p:cTn id="41" dur="250"/>
                                        <p:tgtEl>
                                          <p:spTgt spid="51"/>
                                        </p:tgtEl>
                                      </p:cBhvr>
                                    </p:animEffect>
                                    <p:set>
                                      <p:cBhvr>
                                        <p:cTn id="42" dur="1" fill="hold">
                                          <p:stCondLst>
                                            <p:cond delay="249"/>
                                          </p:stCondLst>
                                        </p:cTn>
                                        <p:tgtEl>
                                          <p:spTgt spid="51"/>
                                        </p:tgtEl>
                                        <p:attrNameLst>
                                          <p:attrName>style.visibility</p:attrName>
                                        </p:attrNameLst>
                                      </p:cBhvr>
                                      <p:to>
                                        <p:strVal val="hidden"/>
                                      </p:to>
                                    </p:set>
                                  </p:childTnLst>
                                </p:cTn>
                              </p:par>
                            </p:childTnLst>
                          </p:cTn>
                        </p:par>
                        <p:par>
                          <p:cTn id="43" fill="hold">
                            <p:stCondLst>
                              <p:cond delay="3250"/>
                            </p:stCondLst>
                            <p:childTnLst>
                              <p:par>
                                <p:cTn id="44" presetID="22" presetClass="entr" presetSubtype="8" fill="hold" grpId="0" nodeType="afterEffect">
                                  <p:stCondLst>
                                    <p:cond delay="0"/>
                                  </p:stCondLst>
                                  <p:childTnLst>
                                    <p:set>
                                      <p:cBhvr>
                                        <p:cTn id="45" dur="1" fill="hold">
                                          <p:stCondLst>
                                            <p:cond delay="0"/>
                                          </p:stCondLst>
                                        </p:cTn>
                                        <p:tgtEl>
                                          <p:spTgt spid="65"/>
                                        </p:tgtEl>
                                        <p:attrNameLst>
                                          <p:attrName>style.visibility</p:attrName>
                                        </p:attrNameLst>
                                      </p:cBhvr>
                                      <p:to>
                                        <p:strVal val="visible"/>
                                      </p:to>
                                    </p:set>
                                    <p:animEffect transition="in" filter="wipe(left)">
                                      <p:cBhvr>
                                        <p:cTn id="46" dur="500"/>
                                        <p:tgtEl>
                                          <p:spTgt spid="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7" grpId="0" animBg="1"/>
      <p:bldP spid="45" grpId="0"/>
      <p:bldP spid="45" grpId="1"/>
      <p:bldP spid="65"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p:txBody>
          <a:bodyPr/>
          <a:lstStyle/>
          <a:p>
            <a:r>
              <a:rPr lang="fr-FR" dirty="0" smtClean="0"/>
              <a:t>Démonstration</a:t>
            </a:r>
            <a:endParaRPr lang="fr-FR" dirty="0"/>
          </a:p>
        </p:txBody>
      </p:sp>
      <p:sp>
        <p:nvSpPr>
          <p:cNvPr id="8" name="Text Placeholder 7"/>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sp>
        <p:nvSpPr>
          <p:cNvPr id="6" name="Title 5"/>
          <p:cNvSpPr>
            <a:spLocks noGrp="1"/>
          </p:cNvSpPr>
          <p:nvPr>
            <p:ph type="title"/>
          </p:nvPr>
        </p:nvSpPr>
        <p:spPr/>
        <p:txBody>
          <a:bodyPr/>
          <a:lstStyle/>
          <a:p>
            <a:r>
              <a:rPr lang="fr-FR" dirty="0" smtClean="0"/>
              <a:t>Stretch </a:t>
            </a:r>
            <a:r>
              <a:rPr lang="fr-FR" dirty="0" err="1" smtClean="0"/>
              <a:t>Database</a:t>
            </a:r>
            <a:endParaRPr lang="fr-FR" dirty="0"/>
          </a:p>
        </p:txBody>
      </p:sp>
    </p:spTree>
    <p:extLst>
      <p:ext uri="{BB962C8B-B14F-4D97-AF65-F5344CB8AC3E}">
        <p14:creationId xmlns:p14="http://schemas.microsoft.com/office/powerpoint/2010/main" val="46297620"/>
      </p:ext>
    </p:extLst>
  </p:cSld>
  <p:clrMapOvr>
    <a:masterClrMapping/>
  </p:clrMapOvr>
  <p:transition>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sp>
        <p:nvSpPr>
          <p:cNvPr id="2" name="Title 1"/>
          <p:cNvSpPr>
            <a:spLocks noGrp="1"/>
          </p:cNvSpPr>
          <p:nvPr>
            <p:ph type="title"/>
          </p:nvPr>
        </p:nvSpPr>
        <p:spPr/>
        <p:txBody>
          <a:bodyPr/>
          <a:lstStyle/>
          <a:p>
            <a:r>
              <a:rPr lang="fr-FR" dirty="0" smtClean="0"/>
              <a:t>Temporal et Stretch : La killer </a:t>
            </a:r>
            <a:r>
              <a:rPr lang="fr-FR" dirty="0" err="1" smtClean="0"/>
              <a:t>feature</a:t>
            </a:r>
            <a:r>
              <a:rPr lang="fr-FR" dirty="0" smtClean="0"/>
              <a:t> que les autres ont pas</a:t>
            </a:r>
            <a:endParaRPr lang="fr-FR" dirty="0"/>
          </a:p>
        </p:txBody>
      </p:sp>
      <p:sp>
        <p:nvSpPr>
          <p:cNvPr id="4" name="Can 3"/>
          <p:cNvSpPr/>
          <p:nvPr/>
        </p:nvSpPr>
        <p:spPr bwMode="auto">
          <a:xfrm>
            <a:off x="1901311" y="1835091"/>
            <a:ext cx="3848838" cy="3226646"/>
          </a:xfrm>
          <a:prstGeom prst="can">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55" tIns="46627" rIns="46627" bIns="93255"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202" fontAlgn="base">
              <a:spcBef>
                <a:spcPct val="0"/>
              </a:spcBef>
              <a:spcAft>
                <a:spcPct val="0"/>
              </a:spcAft>
            </a:pPr>
            <a:endParaRPr lang="en-US" sz="1836" spc="-51" dirty="0">
              <a:gradFill>
                <a:gsLst>
                  <a:gs pos="0">
                    <a:srgbClr val="FFFFFF"/>
                  </a:gs>
                  <a:gs pos="100000">
                    <a:srgbClr val="FFFFFF"/>
                  </a:gs>
                </a:gsLst>
                <a:lin ang="5400000" scaled="0"/>
              </a:gradFill>
              <a:ea typeface="Segoe UI" pitchFamily="34" charset="0"/>
              <a:cs typeface="Segoe UI" pitchFamily="34" charset="0"/>
            </a:endParaRPr>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012019" y="3956762"/>
            <a:ext cx="557412" cy="557332"/>
          </a:xfrm>
          <a:prstGeom prst="rect">
            <a:avLst/>
          </a:prstGeom>
        </p:spPr>
      </p:pic>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138751" y="3628401"/>
            <a:ext cx="1067757" cy="1067606"/>
          </a:xfrm>
          <a:prstGeom prst="rect">
            <a:avLst/>
          </a:prstGeom>
        </p:spPr>
      </p:pic>
      <p:sp>
        <p:nvSpPr>
          <p:cNvPr id="7" name="Striped Right Arrow 6"/>
          <p:cNvSpPr/>
          <p:nvPr/>
        </p:nvSpPr>
        <p:spPr bwMode="auto">
          <a:xfrm>
            <a:off x="2927043" y="3841263"/>
            <a:ext cx="786495" cy="779569"/>
          </a:xfrm>
          <a:prstGeom prst="stripedRightArrow">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55" tIns="46627" rIns="46627" bIns="93255"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202" fontAlgn="base">
              <a:spcBef>
                <a:spcPct val="0"/>
              </a:spcBef>
              <a:spcAft>
                <a:spcPct val="0"/>
              </a:spcAft>
            </a:pPr>
            <a:endParaRPr lang="en-US" sz="1836" spc="-51" dirty="0">
              <a:gradFill>
                <a:gsLst>
                  <a:gs pos="0">
                    <a:srgbClr val="FFFFFF"/>
                  </a:gs>
                  <a:gs pos="100000">
                    <a:srgbClr val="FFFFFF"/>
                  </a:gs>
                </a:gsLst>
                <a:lin ang="5400000" scaled="0"/>
              </a:gradFill>
              <a:ea typeface="Segoe UI" pitchFamily="34" charset="0"/>
              <a:cs typeface="Segoe UI" pitchFamily="34" charset="0"/>
            </a:endParaRPr>
          </a:p>
        </p:txBody>
      </p:sp>
      <p:sp>
        <p:nvSpPr>
          <p:cNvPr id="8" name="Right Arrow 7"/>
          <p:cNvSpPr/>
          <p:nvPr/>
        </p:nvSpPr>
        <p:spPr bwMode="auto">
          <a:xfrm>
            <a:off x="810437" y="3983944"/>
            <a:ext cx="997886" cy="494209"/>
          </a:xfrm>
          <a:prstGeom prst="rightArrow">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55" tIns="46627" rIns="46627" bIns="93255"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202" fontAlgn="base">
              <a:spcBef>
                <a:spcPct val="0"/>
              </a:spcBef>
              <a:spcAft>
                <a:spcPct val="0"/>
              </a:spcAft>
            </a:pPr>
            <a:endParaRPr lang="en-US" sz="1836" spc="-51" dirty="0">
              <a:gradFill>
                <a:gsLst>
                  <a:gs pos="0">
                    <a:srgbClr val="FFFFFF"/>
                  </a:gs>
                  <a:gs pos="100000">
                    <a:srgbClr val="FFFFFF"/>
                  </a:gs>
                </a:gsLst>
                <a:lin ang="5400000" scaled="0"/>
              </a:gradFill>
              <a:ea typeface="Segoe UI" pitchFamily="34" charset="0"/>
              <a:cs typeface="Segoe UI" pitchFamily="34" charset="0"/>
            </a:endParaRPr>
          </a:p>
        </p:txBody>
      </p:sp>
      <p:sp>
        <p:nvSpPr>
          <p:cNvPr id="9" name="Can 8"/>
          <p:cNvSpPr/>
          <p:nvPr/>
        </p:nvSpPr>
        <p:spPr bwMode="auto">
          <a:xfrm>
            <a:off x="1927366" y="1771911"/>
            <a:ext cx="8508971" cy="3410049"/>
          </a:xfrm>
          <a:prstGeom prst="can">
            <a:avLst/>
          </a:prstGeom>
          <a:gradFill flip="none" rotWithShape="1">
            <a:gsLst>
              <a:gs pos="35406">
                <a:srgbClr val="FFFF00"/>
              </a:gs>
              <a:gs pos="9000">
                <a:srgbClr val="FFC000"/>
              </a:gs>
              <a:gs pos="0">
                <a:schemeClr val="accent1">
                  <a:lumMod val="5000"/>
                  <a:lumOff val="95000"/>
                </a:schemeClr>
              </a:gs>
              <a:gs pos="63000">
                <a:schemeClr val="accent1">
                  <a:lumMod val="45000"/>
                  <a:lumOff val="55000"/>
                </a:schemeClr>
              </a:gs>
              <a:gs pos="83000">
                <a:schemeClr val="accent1">
                  <a:lumMod val="20000"/>
                  <a:lumOff val="80000"/>
                </a:schemeClr>
              </a:gs>
              <a:gs pos="100000">
                <a:schemeClr val="tx1"/>
              </a:gs>
            </a:gsLst>
            <a:path path="circle">
              <a:fillToRect r="100000" b="100000"/>
            </a:path>
            <a:tileRect l="-100000" t="-10000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55" tIns="46627" rIns="46627" bIns="93255"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202" fontAlgn="base">
              <a:spcBef>
                <a:spcPct val="0"/>
              </a:spcBef>
              <a:spcAft>
                <a:spcPct val="0"/>
              </a:spcAft>
            </a:pPr>
            <a:endParaRPr lang="en-US" sz="1836" spc="-51" dirty="0">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963918" y="4022087"/>
            <a:ext cx="557412" cy="557332"/>
          </a:xfrm>
          <a:prstGeom prst="rect">
            <a:avLst/>
          </a:prstGeom>
        </p:spPr>
      </p:pic>
      <p:pic>
        <p:nvPicPr>
          <p:cNvPr id="11" name="Picture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016634" y="3693728"/>
            <a:ext cx="1067757" cy="1067606"/>
          </a:xfrm>
          <a:prstGeom prst="rect">
            <a:avLst/>
          </a:prstGeom>
        </p:spPr>
      </p:pic>
      <p:sp>
        <p:nvSpPr>
          <p:cNvPr id="12" name="Striped Right Arrow 11"/>
          <p:cNvSpPr/>
          <p:nvPr/>
        </p:nvSpPr>
        <p:spPr bwMode="auto">
          <a:xfrm>
            <a:off x="2878942" y="3906590"/>
            <a:ext cx="786495" cy="779569"/>
          </a:xfrm>
          <a:prstGeom prst="stripedRightArrow">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55" tIns="46627" rIns="46627" bIns="93255"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202" fontAlgn="base">
              <a:spcBef>
                <a:spcPct val="0"/>
              </a:spcBef>
              <a:spcAft>
                <a:spcPct val="0"/>
              </a:spcAft>
            </a:pPr>
            <a:endParaRPr lang="en-US" sz="1836" spc="-51" dirty="0">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590634" y="3277640"/>
            <a:ext cx="1469102" cy="1468893"/>
          </a:xfrm>
          <a:prstGeom prst="rect">
            <a:avLst/>
          </a:prstGeom>
        </p:spPr>
      </p:pic>
      <p:sp>
        <p:nvSpPr>
          <p:cNvPr id="14" name="Striped Right Arrow 13"/>
          <p:cNvSpPr/>
          <p:nvPr/>
        </p:nvSpPr>
        <p:spPr bwMode="auto">
          <a:xfrm>
            <a:off x="5677068" y="3906590"/>
            <a:ext cx="2158991" cy="724445"/>
          </a:xfrm>
          <a:prstGeom prst="stripedRightArrow">
            <a:avLst/>
          </a:prstGeom>
          <a:solidFill>
            <a:schemeClr val="accent6"/>
          </a:solidFill>
          <a:ln w="25400" cmpd="sng">
            <a:solidFill>
              <a:schemeClr val="accent1">
                <a:shade val="95000"/>
                <a:satMod val="105000"/>
              </a:schemeClr>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55" tIns="46627" rIns="46627" bIns="93255"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202" fontAlgn="base">
              <a:spcBef>
                <a:spcPct val="0"/>
              </a:spcBef>
              <a:spcAft>
                <a:spcPct val="0"/>
              </a:spcAft>
            </a:pPr>
            <a:endParaRPr lang="en-US" sz="1836" spc="-51" dirty="0">
              <a:gradFill>
                <a:gsLst>
                  <a:gs pos="0">
                    <a:srgbClr val="FFFFFF"/>
                  </a:gs>
                  <a:gs pos="100000">
                    <a:srgbClr val="FFFFFF"/>
                  </a:gs>
                </a:gsLst>
                <a:lin ang="5400000" scaled="0"/>
              </a:gradFill>
              <a:ea typeface="Segoe UI" pitchFamily="34" charset="0"/>
              <a:cs typeface="Segoe UI" pitchFamily="34" charset="0"/>
            </a:endParaRPr>
          </a:p>
        </p:txBody>
      </p:sp>
      <p:sp>
        <p:nvSpPr>
          <p:cNvPr id="15" name="Rounded Rectangle 14"/>
          <p:cNvSpPr/>
          <p:nvPr/>
        </p:nvSpPr>
        <p:spPr bwMode="auto">
          <a:xfrm>
            <a:off x="5172423" y="1136483"/>
            <a:ext cx="7006876" cy="4721560"/>
          </a:xfrm>
          <a:prstGeom prst="roundRect">
            <a:avLst/>
          </a:prstGeom>
          <a:solidFill>
            <a:srgbClr val="FFFFFF">
              <a:alpha val="0"/>
            </a:srgbClr>
          </a:solidFill>
          <a:ln w="31750">
            <a:solidFill>
              <a:schemeClr val="tx2">
                <a:lumMod val="40000"/>
                <a:lumOff val="60000"/>
              </a:schemeClr>
            </a:solidFill>
            <a:prstDash val="dash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55" tIns="46627" rIns="46627" bIns="93255"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r" defTabSz="932202" fontAlgn="base">
              <a:spcBef>
                <a:spcPct val="0"/>
              </a:spcBef>
              <a:spcAft>
                <a:spcPct val="0"/>
              </a:spcAft>
            </a:pPr>
            <a:r>
              <a:rPr lang="en-US" sz="2448" spc="-51" dirty="0">
                <a:solidFill>
                  <a:schemeClr val="tx1"/>
                </a:solidFill>
                <a:ea typeface="Segoe UI" pitchFamily="34" charset="0"/>
                <a:cs typeface="Segoe UI" pitchFamily="34" charset="0"/>
              </a:rPr>
              <a:t>Azure SQL Database</a:t>
            </a:r>
          </a:p>
        </p:txBody>
      </p:sp>
      <p:sp>
        <p:nvSpPr>
          <p:cNvPr id="16" name="Freeform 15"/>
          <p:cNvSpPr/>
          <p:nvPr/>
        </p:nvSpPr>
        <p:spPr>
          <a:xfrm>
            <a:off x="1944781" y="3430987"/>
            <a:ext cx="612970" cy="581100"/>
          </a:xfrm>
          <a:custGeom>
            <a:avLst/>
            <a:gdLst>
              <a:gd name="connsiteX0" fmla="*/ 711059 w 723010"/>
              <a:gd name="connsiteY0" fmla="*/ 0 h 685518"/>
              <a:gd name="connsiteX1" fmla="*/ 723010 w 723010"/>
              <a:gd name="connsiteY1" fmla="*/ 21794 h 685518"/>
              <a:gd name="connsiteX2" fmla="*/ 495948 w 723010"/>
              <a:gd name="connsiteY2" fmla="*/ 261172 h 685518"/>
              <a:gd name="connsiteX3" fmla="*/ 495948 w 723010"/>
              <a:gd name="connsiteY3" fmla="*/ 275793 h 685518"/>
              <a:gd name="connsiteX4" fmla="*/ 444503 w 723010"/>
              <a:gd name="connsiteY4" fmla="*/ 318664 h 685518"/>
              <a:gd name="connsiteX5" fmla="*/ 441083 w 723010"/>
              <a:gd name="connsiteY5" fmla="*/ 329412 h 685518"/>
              <a:gd name="connsiteX6" fmla="*/ 351142 w 723010"/>
              <a:gd name="connsiteY6" fmla="*/ 455167 h 685518"/>
              <a:gd name="connsiteX7" fmla="*/ 270880 w 723010"/>
              <a:gd name="connsiteY7" fmla="*/ 606267 h 685518"/>
              <a:gd name="connsiteX8" fmla="*/ 159341 w 723010"/>
              <a:gd name="connsiteY8" fmla="*/ 685518 h 685518"/>
              <a:gd name="connsiteX9" fmla="*/ 0 w 723010"/>
              <a:gd name="connsiteY9" fmla="*/ 408140 h 685518"/>
              <a:gd name="connsiteX10" fmla="*/ 91621 w 723010"/>
              <a:gd name="connsiteY10" fmla="*/ 354646 h 685518"/>
              <a:gd name="connsiteX11" fmla="*/ 207143 w 723010"/>
              <a:gd name="connsiteY11" fmla="*/ 497297 h 685518"/>
              <a:gd name="connsiteX12" fmla="*/ 411963 w 723010"/>
              <a:gd name="connsiteY12" fmla="*/ 238484 h 685518"/>
              <a:gd name="connsiteX13" fmla="*/ 333474 w 723010"/>
              <a:gd name="connsiteY13" fmla="*/ 238484 h 685518"/>
              <a:gd name="connsiteX14" fmla="*/ 394052 w 723010"/>
              <a:gd name="connsiteY14" fmla="*/ 191519 h 685518"/>
              <a:gd name="connsiteX15" fmla="*/ 459749 w 723010"/>
              <a:gd name="connsiteY15" fmla="*/ 191519 h 685518"/>
              <a:gd name="connsiteX16" fmla="*/ 711059 w 723010"/>
              <a:gd name="connsiteY16" fmla="*/ 0 h 685518"/>
              <a:gd name="connsiteX0" fmla="*/ 711059 w 723010"/>
              <a:gd name="connsiteY0" fmla="*/ 0 h 685518"/>
              <a:gd name="connsiteX1" fmla="*/ 723010 w 723010"/>
              <a:gd name="connsiteY1" fmla="*/ 21794 h 685518"/>
              <a:gd name="connsiteX2" fmla="*/ 495948 w 723010"/>
              <a:gd name="connsiteY2" fmla="*/ 261172 h 685518"/>
              <a:gd name="connsiteX3" fmla="*/ 495948 w 723010"/>
              <a:gd name="connsiteY3" fmla="*/ 275793 h 685518"/>
              <a:gd name="connsiteX4" fmla="*/ 444503 w 723010"/>
              <a:gd name="connsiteY4" fmla="*/ 318664 h 685518"/>
              <a:gd name="connsiteX5" fmla="*/ 441083 w 723010"/>
              <a:gd name="connsiteY5" fmla="*/ 329412 h 685518"/>
              <a:gd name="connsiteX6" fmla="*/ 351142 w 723010"/>
              <a:gd name="connsiteY6" fmla="*/ 455167 h 685518"/>
              <a:gd name="connsiteX7" fmla="*/ 270880 w 723010"/>
              <a:gd name="connsiteY7" fmla="*/ 606267 h 685518"/>
              <a:gd name="connsiteX8" fmla="*/ 159341 w 723010"/>
              <a:gd name="connsiteY8" fmla="*/ 685518 h 685518"/>
              <a:gd name="connsiteX9" fmla="*/ 0 w 723010"/>
              <a:gd name="connsiteY9" fmla="*/ 408140 h 685518"/>
              <a:gd name="connsiteX10" fmla="*/ 91621 w 723010"/>
              <a:gd name="connsiteY10" fmla="*/ 354646 h 685518"/>
              <a:gd name="connsiteX11" fmla="*/ 207143 w 723010"/>
              <a:gd name="connsiteY11" fmla="*/ 497297 h 685518"/>
              <a:gd name="connsiteX12" fmla="*/ 411963 w 723010"/>
              <a:gd name="connsiteY12" fmla="*/ 238484 h 685518"/>
              <a:gd name="connsiteX13" fmla="*/ 394052 w 723010"/>
              <a:gd name="connsiteY13" fmla="*/ 191519 h 685518"/>
              <a:gd name="connsiteX14" fmla="*/ 459749 w 723010"/>
              <a:gd name="connsiteY14" fmla="*/ 191519 h 685518"/>
              <a:gd name="connsiteX15" fmla="*/ 711059 w 723010"/>
              <a:gd name="connsiteY15" fmla="*/ 0 h 685518"/>
              <a:gd name="connsiteX0" fmla="*/ 711059 w 723010"/>
              <a:gd name="connsiteY0" fmla="*/ 0 h 685518"/>
              <a:gd name="connsiteX1" fmla="*/ 723010 w 723010"/>
              <a:gd name="connsiteY1" fmla="*/ 21794 h 685518"/>
              <a:gd name="connsiteX2" fmla="*/ 495948 w 723010"/>
              <a:gd name="connsiteY2" fmla="*/ 261172 h 685518"/>
              <a:gd name="connsiteX3" fmla="*/ 495948 w 723010"/>
              <a:gd name="connsiteY3" fmla="*/ 275793 h 685518"/>
              <a:gd name="connsiteX4" fmla="*/ 444503 w 723010"/>
              <a:gd name="connsiteY4" fmla="*/ 318664 h 685518"/>
              <a:gd name="connsiteX5" fmla="*/ 441083 w 723010"/>
              <a:gd name="connsiteY5" fmla="*/ 329412 h 685518"/>
              <a:gd name="connsiteX6" fmla="*/ 351142 w 723010"/>
              <a:gd name="connsiteY6" fmla="*/ 455167 h 685518"/>
              <a:gd name="connsiteX7" fmla="*/ 270880 w 723010"/>
              <a:gd name="connsiteY7" fmla="*/ 606267 h 685518"/>
              <a:gd name="connsiteX8" fmla="*/ 159341 w 723010"/>
              <a:gd name="connsiteY8" fmla="*/ 685518 h 685518"/>
              <a:gd name="connsiteX9" fmla="*/ 0 w 723010"/>
              <a:gd name="connsiteY9" fmla="*/ 408140 h 685518"/>
              <a:gd name="connsiteX10" fmla="*/ 91621 w 723010"/>
              <a:gd name="connsiteY10" fmla="*/ 354646 h 685518"/>
              <a:gd name="connsiteX11" fmla="*/ 207143 w 723010"/>
              <a:gd name="connsiteY11" fmla="*/ 497297 h 685518"/>
              <a:gd name="connsiteX12" fmla="*/ 411963 w 723010"/>
              <a:gd name="connsiteY12" fmla="*/ 238484 h 685518"/>
              <a:gd name="connsiteX13" fmla="*/ 459749 w 723010"/>
              <a:gd name="connsiteY13" fmla="*/ 191519 h 685518"/>
              <a:gd name="connsiteX14" fmla="*/ 711059 w 723010"/>
              <a:gd name="connsiteY14" fmla="*/ 0 h 685518"/>
              <a:gd name="connsiteX0" fmla="*/ 711059 w 723010"/>
              <a:gd name="connsiteY0" fmla="*/ 0 h 685518"/>
              <a:gd name="connsiteX1" fmla="*/ 723010 w 723010"/>
              <a:gd name="connsiteY1" fmla="*/ 21794 h 685518"/>
              <a:gd name="connsiteX2" fmla="*/ 495948 w 723010"/>
              <a:gd name="connsiteY2" fmla="*/ 261172 h 685518"/>
              <a:gd name="connsiteX3" fmla="*/ 444503 w 723010"/>
              <a:gd name="connsiteY3" fmla="*/ 318664 h 685518"/>
              <a:gd name="connsiteX4" fmla="*/ 441083 w 723010"/>
              <a:gd name="connsiteY4" fmla="*/ 329412 h 685518"/>
              <a:gd name="connsiteX5" fmla="*/ 351142 w 723010"/>
              <a:gd name="connsiteY5" fmla="*/ 455167 h 685518"/>
              <a:gd name="connsiteX6" fmla="*/ 270880 w 723010"/>
              <a:gd name="connsiteY6" fmla="*/ 606267 h 685518"/>
              <a:gd name="connsiteX7" fmla="*/ 159341 w 723010"/>
              <a:gd name="connsiteY7" fmla="*/ 685518 h 685518"/>
              <a:gd name="connsiteX8" fmla="*/ 0 w 723010"/>
              <a:gd name="connsiteY8" fmla="*/ 408140 h 685518"/>
              <a:gd name="connsiteX9" fmla="*/ 91621 w 723010"/>
              <a:gd name="connsiteY9" fmla="*/ 354646 h 685518"/>
              <a:gd name="connsiteX10" fmla="*/ 207143 w 723010"/>
              <a:gd name="connsiteY10" fmla="*/ 497297 h 685518"/>
              <a:gd name="connsiteX11" fmla="*/ 411963 w 723010"/>
              <a:gd name="connsiteY11" fmla="*/ 238484 h 685518"/>
              <a:gd name="connsiteX12" fmla="*/ 459749 w 723010"/>
              <a:gd name="connsiteY12" fmla="*/ 191519 h 685518"/>
              <a:gd name="connsiteX13" fmla="*/ 711059 w 723010"/>
              <a:gd name="connsiteY13" fmla="*/ 0 h 685518"/>
              <a:gd name="connsiteX0" fmla="*/ 711059 w 723010"/>
              <a:gd name="connsiteY0" fmla="*/ 0 h 685518"/>
              <a:gd name="connsiteX1" fmla="*/ 723010 w 723010"/>
              <a:gd name="connsiteY1" fmla="*/ 21794 h 685518"/>
              <a:gd name="connsiteX2" fmla="*/ 495948 w 723010"/>
              <a:gd name="connsiteY2" fmla="*/ 261172 h 685518"/>
              <a:gd name="connsiteX3" fmla="*/ 444503 w 723010"/>
              <a:gd name="connsiteY3" fmla="*/ 318664 h 685518"/>
              <a:gd name="connsiteX4" fmla="*/ 351142 w 723010"/>
              <a:gd name="connsiteY4" fmla="*/ 455167 h 685518"/>
              <a:gd name="connsiteX5" fmla="*/ 270880 w 723010"/>
              <a:gd name="connsiteY5" fmla="*/ 606267 h 685518"/>
              <a:gd name="connsiteX6" fmla="*/ 159341 w 723010"/>
              <a:gd name="connsiteY6" fmla="*/ 685518 h 685518"/>
              <a:gd name="connsiteX7" fmla="*/ 0 w 723010"/>
              <a:gd name="connsiteY7" fmla="*/ 408140 h 685518"/>
              <a:gd name="connsiteX8" fmla="*/ 91621 w 723010"/>
              <a:gd name="connsiteY8" fmla="*/ 354646 h 685518"/>
              <a:gd name="connsiteX9" fmla="*/ 207143 w 723010"/>
              <a:gd name="connsiteY9" fmla="*/ 497297 h 685518"/>
              <a:gd name="connsiteX10" fmla="*/ 411963 w 723010"/>
              <a:gd name="connsiteY10" fmla="*/ 238484 h 685518"/>
              <a:gd name="connsiteX11" fmla="*/ 459749 w 723010"/>
              <a:gd name="connsiteY11" fmla="*/ 191519 h 685518"/>
              <a:gd name="connsiteX12" fmla="*/ 711059 w 723010"/>
              <a:gd name="connsiteY12" fmla="*/ 0 h 685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23010" h="685518">
                <a:moveTo>
                  <a:pt x="711059" y="0"/>
                </a:moveTo>
                <a:lnTo>
                  <a:pt x="723010" y="21794"/>
                </a:lnTo>
                <a:cubicBezTo>
                  <a:pt x="642190" y="100164"/>
                  <a:pt x="564806" y="178154"/>
                  <a:pt x="495948" y="261172"/>
                </a:cubicBezTo>
                <a:lnTo>
                  <a:pt x="444503" y="318664"/>
                </a:lnTo>
                <a:lnTo>
                  <a:pt x="351142" y="455167"/>
                </a:lnTo>
                <a:cubicBezTo>
                  <a:pt x="321171" y="503145"/>
                  <a:pt x="294261" y="553324"/>
                  <a:pt x="270880" y="606267"/>
                </a:cubicBezTo>
                <a:lnTo>
                  <a:pt x="159341" y="685518"/>
                </a:lnTo>
                <a:cubicBezTo>
                  <a:pt x="132119" y="571264"/>
                  <a:pt x="80998" y="480786"/>
                  <a:pt x="0" y="408140"/>
                </a:cubicBezTo>
                <a:cubicBezTo>
                  <a:pt x="20581" y="382385"/>
                  <a:pt x="45147" y="364552"/>
                  <a:pt x="91621" y="354646"/>
                </a:cubicBezTo>
                <a:cubicBezTo>
                  <a:pt x="146063" y="360590"/>
                  <a:pt x="196520" y="443803"/>
                  <a:pt x="207143" y="497297"/>
                </a:cubicBezTo>
                <a:cubicBezTo>
                  <a:pt x="268211" y="397578"/>
                  <a:pt x="339176" y="311314"/>
                  <a:pt x="411963" y="238484"/>
                </a:cubicBezTo>
                <a:lnTo>
                  <a:pt x="459749" y="191519"/>
                </a:lnTo>
                <a:cubicBezTo>
                  <a:pt x="549474" y="108091"/>
                  <a:pt x="638583" y="44519"/>
                  <a:pt x="711059" y="0"/>
                </a:cubicBezTo>
                <a:close/>
              </a:path>
            </a:pathLst>
          </a:custGeom>
          <a:solidFill>
            <a:srgbClr val="0078D7"/>
          </a:solidFill>
        </p:spPr>
        <p:txBody>
          <a:bodyPr wrap="square" lIns="95112" tIns="47555" rIns="95112" bIns="47555" rtlCol="0" anchor="t">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lvl="2">
              <a:spcBef>
                <a:spcPts val="936"/>
              </a:spcBef>
              <a:buClr>
                <a:srgbClr val="505050"/>
              </a:buClr>
              <a:defRPr/>
            </a:pPr>
            <a:endParaRPr lang="en-US" sz="2448" dirty="0">
              <a:solidFill>
                <a:srgbClr val="FFFFFF"/>
              </a:solidFill>
              <a:cs typeface="Calibri" pitchFamily="34" charset="0"/>
            </a:endParaRPr>
          </a:p>
        </p:txBody>
      </p:sp>
      <p:sp>
        <p:nvSpPr>
          <p:cNvPr id="17" name="Freeform 16"/>
          <p:cNvSpPr/>
          <p:nvPr/>
        </p:nvSpPr>
        <p:spPr>
          <a:xfrm>
            <a:off x="4016636" y="3102775"/>
            <a:ext cx="612970" cy="581100"/>
          </a:xfrm>
          <a:custGeom>
            <a:avLst/>
            <a:gdLst>
              <a:gd name="connsiteX0" fmla="*/ 711059 w 723010"/>
              <a:gd name="connsiteY0" fmla="*/ 0 h 685518"/>
              <a:gd name="connsiteX1" fmla="*/ 723010 w 723010"/>
              <a:gd name="connsiteY1" fmla="*/ 21794 h 685518"/>
              <a:gd name="connsiteX2" fmla="*/ 495948 w 723010"/>
              <a:gd name="connsiteY2" fmla="*/ 261172 h 685518"/>
              <a:gd name="connsiteX3" fmla="*/ 495948 w 723010"/>
              <a:gd name="connsiteY3" fmla="*/ 275793 h 685518"/>
              <a:gd name="connsiteX4" fmla="*/ 444503 w 723010"/>
              <a:gd name="connsiteY4" fmla="*/ 318664 h 685518"/>
              <a:gd name="connsiteX5" fmla="*/ 441083 w 723010"/>
              <a:gd name="connsiteY5" fmla="*/ 329412 h 685518"/>
              <a:gd name="connsiteX6" fmla="*/ 351142 w 723010"/>
              <a:gd name="connsiteY6" fmla="*/ 455167 h 685518"/>
              <a:gd name="connsiteX7" fmla="*/ 270880 w 723010"/>
              <a:gd name="connsiteY7" fmla="*/ 606267 h 685518"/>
              <a:gd name="connsiteX8" fmla="*/ 159341 w 723010"/>
              <a:gd name="connsiteY8" fmla="*/ 685518 h 685518"/>
              <a:gd name="connsiteX9" fmla="*/ 0 w 723010"/>
              <a:gd name="connsiteY9" fmla="*/ 408140 h 685518"/>
              <a:gd name="connsiteX10" fmla="*/ 91621 w 723010"/>
              <a:gd name="connsiteY10" fmla="*/ 354646 h 685518"/>
              <a:gd name="connsiteX11" fmla="*/ 207143 w 723010"/>
              <a:gd name="connsiteY11" fmla="*/ 497297 h 685518"/>
              <a:gd name="connsiteX12" fmla="*/ 411963 w 723010"/>
              <a:gd name="connsiteY12" fmla="*/ 238484 h 685518"/>
              <a:gd name="connsiteX13" fmla="*/ 333474 w 723010"/>
              <a:gd name="connsiteY13" fmla="*/ 238484 h 685518"/>
              <a:gd name="connsiteX14" fmla="*/ 394052 w 723010"/>
              <a:gd name="connsiteY14" fmla="*/ 191519 h 685518"/>
              <a:gd name="connsiteX15" fmla="*/ 459749 w 723010"/>
              <a:gd name="connsiteY15" fmla="*/ 191519 h 685518"/>
              <a:gd name="connsiteX16" fmla="*/ 711059 w 723010"/>
              <a:gd name="connsiteY16" fmla="*/ 0 h 685518"/>
              <a:gd name="connsiteX0" fmla="*/ 711059 w 723010"/>
              <a:gd name="connsiteY0" fmla="*/ 0 h 685518"/>
              <a:gd name="connsiteX1" fmla="*/ 723010 w 723010"/>
              <a:gd name="connsiteY1" fmla="*/ 21794 h 685518"/>
              <a:gd name="connsiteX2" fmla="*/ 495948 w 723010"/>
              <a:gd name="connsiteY2" fmla="*/ 261172 h 685518"/>
              <a:gd name="connsiteX3" fmla="*/ 495948 w 723010"/>
              <a:gd name="connsiteY3" fmla="*/ 275793 h 685518"/>
              <a:gd name="connsiteX4" fmla="*/ 444503 w 723010"/>
              <a:gd name="connsiteY4" fmla="*/ 318664 h 685518"/>
              <a:gd name="connsiteX5" fmla="*/ 441083 w 723010"/>
              <a:gd name="connsiteY5" fmla="*/ 329412 h 685518"/>
              <a:gd name="connsiteX6" fmla="*/ 351142 w 723010"/>
              <a:gd name="connsiteY6" fmla="*/ 455167 h 685518"/>
              <a:gd name="connsiteX7" fmla="*/ 270880 w 723010"/>
              <a:gd name="connsiteY7" fmla="*/ 606267 h 685518"/>
              <a:gd name="connsiteX8" fmla="*/ 159341 w 723010"/>
              <a:gd name="connsiteY8" fmla="*/ 685518 h 685518"/>
              <a:gd name="connsiteX9" fmla="*/ 0 w 723010"/>
              <a:gd name="connsiteY9" fmla="*/ 408140 h 685518"/>
              <a:gd name="connsiteX10" fmla="*/ 91621 w 723010"/>
              <a:gd name="connsiteY10" fmla="*/ 354646 h 685518"/>
              <a:gd name="connsiteX11" fmla="*/ 207143 w 723010"/>
              <a:gd name="connsiteY11" fmla="*/ 497297 h 685518"/>
              <a:gd name="connsiteX12" fmla="*/ 411963 w 723010"/>
              <a:gd name="connsiteY12" fmla="*/ 238484 h 685518"/>
              <a:gd name="connsiteX13" fmla="*/ 394052 w 723010"/>
              <a:gd name="connsiteY13" fmla="*/ 191519 h 685518"/>
              <a:gd name="connsiteX14" fmla="*/ 459749 w 723010"/>
              <a:gd name="connsiteY14" fmla="*/ 191519 h 685518"/>
              <a:gd name="connsiteX15" fmla="*/ 711059 w 723010"/>
              <a:gd name="connsiteY15" fmla="*/ 0 h 685518"/>
              <a:gd name="connsiteX0" fmla="*/ 711059 w 723010"/>
              <a:gd name="connsiteY0" fmla="*/ 0 h 685518"/>
              <a:gd name="connsiteX1" fmla="*/ 723010 w 723010"/>
              <a:gd name="connsiteY1" fmla="*/ 21794 h 685518"/>
              <a:gd name="connsiteX2" fmla="*/ 495948 w 723010"/>
              <a:gd name="connsiteY2" fmla="*/ 261172 h 685518"/>
              <a:gd name="connsiteX3" fmla="*/ 495948 w 723010"/>
              <a:gd name="connsiteY3" fmla="*/ 275793 h 685518"/>
              <a:gd name="connsiteX4" fmla="*/ 444503 w 723010"/>
              <a:gd name="connsiteY4" fmla="*/ 318664 h 685518"/>
              <a:gd name="connsiteX5" fmla="*/ 441083 w 723010"/>
              <a:gd name="connsiteY5" fmla="*/ 329412 h 685518"/>
              <a:gd name="connsiteX6" fmla="*/ 351142 w 723010"/>
              <a:gd name="connsiteY6" fmla="*/ 455167 h 685518"/>
              <a:gd name="connsiteX7" fmla="*/ 270880 w 723010"/>
              <a:gd name="connsiteY7" fmla="*/ 606267 h 685518"/>
              <a:gd name="connsiteX8" fmla="*/ 159341 w 723010"/>
              <a:gd name="connsiteY8" fmla="*/ 685518 h 685518"/>
              <a:gd name="connsiteX9" fmla="*/ 0 w 723010"/>
              <a:gd name="connsiteY9" fmla="*/ 408140 h 685518"/>
              <a:gd name="connsiteX10" fmla="*/ 91621 w 723010"/>
              <a:gd name="connsiteY10" fmla="*/ 354646 h 685518"/>
              <a:gd name="connsiteX11" fmla="*/ 207143 w 723010"/>
              <a:gd name="connsiteY11" fmla="*/ 497297 h 685518"/>
              <a:gd name="connsiteX12" fmla="*/ 411963 w 723010"/>
              <a:gd name="connsiteY12" fmla="*/ 238484 h 685518"/>
              <a:gd name="connsiteX13" fmla="*/ 459749 w 723010"/>
              <a:gd name="connsiteY13" fmla="*/ 191519 h 685518"/>
              <a:gd name="connsiteX14" fmla="*/ 711059 w 723010"/>
              <a:gd name="connsiteY14" fmla="*/ 0 h 685518"/>
              <a:gd name="connsiteX0" fmla="*/ 711059 w 723010"/>
              <a:gd name="connsiteY0" fmla="*/ 0 h 685518"/>
              <a:gd name="connsiteX1" fmla="*/ 723010 w 723010"/>
              <a:gd name="connsiteY1" fmla="*/ 21794 h 685518"/>
              <a:gd name="connsiteX2" fmla="*/ 495948 w 723010"/>
              <a:gd name="connsiteY2" fmla="*/ 261172 h 685518"/>
              <a:gd name="connsiteX3" fmla="*/ 444503 w 723010"/>
              <a:gd name="connsiteY3" fmla="*/ 318664 h 685518"/>
              <a:gd name="connsiteX4" fmla="*/ 441083 w 723010"/>
              <a:gd name="connsiteY4" fmla="*/ 329412 h 685518"/>
              <a:gd name="connsiteX5" fmla="*/ 351142 w 723010"/>
              <a:gd name="connsiteY5" fmla="*/ 455167 h 685518"/>
              <a:gd name="connsiteX6" fmla="*/ 270880 w 723010"/>
              <a:gd name="connsiteY6" fmla="*/ 606267 h 685518"/>
              <a:gd name="connsiteX7" fmla="*/ 159341 w 723010"/>
              <a:gd name="connsiteY7" fmla="*/ 685518 h 685518"/>
              <a:gd name="connsiteX8" fmla="*/ 0 w 723010"/>
              <a:gd name="connsiteY8" fmla="*/ 408140 h 685518"/>
              <a:gd name="connsiteX9" fmla="*/ 91621 w 723010"/>
              <a:gd name="connsiteY9" fmla="*/ 354646 h 685518"/>
              <a:gd name="connsiteX10" fmla="*/ 207143 w 723010"/>
              <a:gd name="connsiteY10" fmla="*/ 497297 h 685518"/>
              <a:gd name="connsiteX11" fmla="*/ 411963 w 723010"/>
              <a:gd name="connsiteY11" fmla="*/ 238484 h 685518"/>
              <a:gd name="connsiteX12" fmla="*/ 459749 w 723010"/>
              <a:gd name="connsiteY12" fmla="*/ 191519 h 685518"/>
              <a:gd name="connsiteX13" fmla="*/ 711059 w 723010"/>
              <a:gd name="connsiteY13" fmla="*/ 0 h 685518"/>
              <a:gd name="connsiteX0" fmla="*/ 711059 w 723010"/>
              <a:gd name="connsiteY0" fmla="*/ 0 h 685518"/>
              <a:gd name="connsiteX1" fmla="*/ 723010 w 723010"/>
              <a:gd name="connsiteY1" fmla="*/ 21794 h 685518"/>
              <a:gd name="connsiteX2" fmla="*/ 495948 w 723010"/>
              <a:gd name="connsiteY2" fmla="*/ 261172 h 685518"/>
              <a:gd name="connsiteX3" fmla="*/ 444503 w 723010"/>
              <a:gd name="connsiteY3" fmla="*/ 318664 h 685518"/>
              <a:gd name="connsiteX4" fmla="*/ 351142 w 723010"/>
              <a:gd name="connsiteY4" fmla="*/ 455167 h 685518"/>
              <a:gd name="connsiteX5" fmla="*/ 270880 w 723010"/>
              <a:gd name="connsiteY5" fmla="*/ 606267 h 685518"/>
              <a:gd name="connsiteX6" fmla="*/ 159341 w 723010"/>
              <a:gd name="connsiteY6" fmla="*/ 685518 h 685518"/>
              <a:gd name="connsiteX7" fmla="*/ 0 w 723010"/>
              <a:gd name="connsiteY7" fmla="*/ 408140 h 685518"/>
              <a:gd name="connsiteX8" fmla="*/ 91621 w 723010"/>
              <a:gd name="connsiteY8" fmla="*/ 354646 h 685518"/>
              <a:gd name="connsiteX9" fmla="*/ 207143 w 723010"/>
              <a:gd name="connsiteY9" fmla="*/ 497297 h 685518"/>
              <a:gd name="connsiteX10" fmla="*/ 411963 w 723010"/>
              <a:gd name="connsiteY10" fmla="*/ 238484 h 685518"/>
              <a:gd name="connsiteX11" fmla="*/ 459749 w 723010"/>
              <a:gd name="connsiteY11" fmla="*/ 191519 h 685518"/>
              <a:gd name="connsiteX12" fmla="*/ 711059 w 723010"/>
              <a:gd name="connsiteY12" fmla="*/ 0 h 685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23010" h="685518">
                <a:moveTo>
                  <a:pt x="711059" y="0"/>
                </a:moveTo>
                <a:lnTo>
                  <a:pt x="723010" y="21794"/>
                </a:lnTo>
                <a:cubicBezTo>
                  <a:pt x="642190" y="100164"/>
                  <a:pt x="564806" y="178154"/>
                  <a:pt x="495948" y="261172"/>
                </a:cubicBezTo>
                <a:lnTo>
                  <a:pt x="444503" y="318664"/>
                </a:lnTo>
                <a:lnTo>
                  <a:pt x="351142" y="455167"/>
                </a:lnTo>
                <a:cubicBezTo>
                  <a:pt x="321171" y="503145"/>
                  <a:pt x="294261" y="553324"/>
                  <a:pt x="270880" y="606267"/>
                </a:cubicBezTo>
                <a:lnTo>
                  <a:pt x="159341" y="685518"/>
                </a:lnTo>
                <a:cubicBezTo>
                  <a:pt x="132119" y="571264"/>
                  <a:pt x="80998" y="480786"/>
                  <a:pt x="0" y="408140"/>
                </a:cubicBezTo>
                <a:cubicBezTo>
                  <a:pt x="20581" y="382385"/>
                  <a:pt x="45147" y="364552"/>
                  <a:pt x="91621" y="354646"/>
                </a:cubicBezTo>
                <a:cubicBezTo>
                  <a:pt x="146063" y="360590"/>
                  <a:pt x="196520" y="443803"/>
                  <a:pt x="207143" y="497297"/>
                </a:cubicBezTo>
                <a:cubicBezTo>
                  <a:pt x="268211" y="397578"/>
                  <a:pt x="339176" y="311314"/>
                  <a:pt x="411963" y="238484"/>
                </a:cubicBezTo>
                <a:lnTo>
                  <a:pt x="459749" y="191519"/>
                </a:lnTo>
                <a:cubicBezTo>
                  <a:pt x="549474" y="108091"/>
                  <a:pt x="638583" y="44519"/>
                  <a:pt x="711059" y="0"/>
                </a:cubicBezTo>
                <a:close/>
              </a:path>
            </a:pathLst>
          </a:custGeom>
          <a:solidFill>
            <a:srgbClr val="0078D7"/>
          </a:solidFill>
        </p:spPr>
        <p:txBody>
          <a:bodyPr wrap="square" lIns="95112" tIns="47555" rIns="95112" bIns="47555" rtlCol="0" anchor="t">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lvl="2">
              <a:spcBef>
                <a:spcPts val="936"/>
              </a:spcBef>
              <a:buClr>
                <a:srgbClr val="505050"/>
              </a:buClr>
              <a:defRPr/>
            </a:pPr>
            <a:endParaRPr lang="en-US" sz="2448" dirty="0">
              <a:solidFill>
                <a:srgbClr val="FFFFFF"/>
              </a:solidFill>
              <a:cs typeface="Calibri" pitchFamily="34" charset="0"/>
            </a:endParaRPr>
          </a:p>
        </p:txBody>
      </p:sp>
      <p:sp>
        <p:nvSpPr>
          <p:cNvPr id="18" name="Freeform 17"/>
          <p:cNvSpPr/>
          <p:nvPr/>
        </p:nvSpPr>
        <p:spPr>
          <a:xfrm>
            <a:off x="8575929" y="2266319"/>
            <a:ext cx="612970" cy="581100"/>
          </a:xfrm>
          <a:custGeom>
            <a:avLst/>
            <a:gdLst>
              <a:gd name="connsiteX0" fmla="*/ 711059 w 723010"/>
              <a:gd name="connsiteY0" fmla="*/ 0 h 685518"/>
              <a:gd name="connsiteX1" fmla="*/ 723010 w 723010"/>
              <a:gd name="connsiteY1" fmla="*/ 21794 h 685518"/>
              <a:gd name="connsiteX2" fmla="*/ 495948 w 723010"/>
              <a:gd name="connsiteY2" fmla="*/ 261172 h 685518"/>
              <a:gd name="connsiteX3" fmla="*/ 495948 w 723010"/>
              <a:gd name="connsiteY3" fmla="*/ 275793 h 685518"/>
              <a:gd name="connsiteX4" fmla="*/ 444503 w 723010"/>
              <a:gd name="connsiteY4" fmla="*/ 318664 h 685518"/>
              <a:gd name="connsiteX5" fmla="*/ 441083 w 723010"/>
              <a:gd name="connsiteY5" fmla="*/ 329412 h 685518"/>
              <a:gd name="connsiteX6" fmla="*/ 351142 w 723010"/>
              <a:gd name="connsiteY6" fmla="*/ 455167 h 685518"/>
              <a:gd name="connsiteX7" fmla="*/ 270880 w 723010"/>
              <a:gd name="connsiteY7" fmla="*/ 606267 h 685518"/>
              <a:gd name="connsiteX8" fmla="*/ 159341 w 723010"/>
              <a:gd name="connsiteY8" fmla="*/ 685518 h 685518"/>
              <a:gd name="connsiteX9" fmla="*/ 0 w 723010"/>
              <a:gd name="connsiteY9" fmla="*/ 408140 h 685518"/>
              <a:gd name="connsiteX10" fmla="*/ 91621 w 723010"/>
              <a:gd name="connsiteY10" fmla="*/ 354646 h 685518"/>
              <a:gd name="connsiteX11" fmla="*/ 207143 w 723010"/>
              <a:gd name="connsiteY11" fmla="*/ 497297 h 685518"/>
              <a:gd name="connsiteX12" fmla="*/ 411963 w 723010"/>
              <a:gd name="connsiteY12" fmla="*/ 238484 h 685518"/>
              <a:gd name="connsiteX13" fmla="*/ 333474 w 723010"/>
              <a:gd name="connsiteY13" fmla="*/ 238484 h 685518"/>
              <a:gd name="connsiteX14" fmla="*/ 394052 w 723010"/>
              <a:gd name="connsiteY14" fmla="*/ 191519 h 685518"/>
              <a:gd name="connsiteX15" fmla="*/ 459749 w 723010"/>
              <a:gd name="connsiteY15" fmla="*/ 191519 h 685518"/>
              <a:gd name="connsiteX16" fmla="*/ 711059 w 723010"/>
              <a:gd name="connsiteY16" fmla="*/ 0 h 685518"/>
              <a:gd name="connsiteX0" fmla="*/ 711059 w 723010"/>
              <a:gd name="connsiteY0" fmla="*/ 0 h 685518"/>
              <a:gd name="connsiteX1" fmla="*/ 723010 w 723010"/>
              <a:gd name="connsiteY1" fmla="*/ 21794 h 685518"/>
              <a:gd name="connsiteX2" fmla="*/ 495948 w 723010"/>
              <a:gd name="connsiteY2" fmla="*/ 261172 h 685518"/>
              <a:gd name="connsiteX3" fmla="*/ 495948 w 723010"/>
              <a:gd name="connsiteY3" fmla="*/ 275793 h 685518"/>
              <a:gd name="connsiteX4" fmla="*/ 444503 w 723010"/>
              <a:gd name="connsiteY4" fmla="*/ 318664 h 685518"/>
              <a:gd name="connsiteX5" fmla="*/ 441083 w 723010"/>
              <a:gd name="connsiteY5" fmla="*/ 329412 h 685518"/>
              <a:gd name="connsiteX6" fmla="*/ 351142 w 723010"/>
              <a:gd name="connsiteY6" fmla="*/ 455167 h 685518"/>
              <a:gd name="connsiteX7" fmla="*/ 270880 w 723010"/>
              <a:gd name="connsiteY7" fmla="*/ 606267 h 685518"/>
              <a:gd name="connsiteX8" fmla="*/ 159341 w 723010"/>
              <a:gd name="connsiteY8" fmla="*/ 685518 h 685518"/>
              <a:gd name="connsiteX9" fmla="*/ 0 w 723010"/>
              <a:gd name="connsiteY9" fmla="*/ 408140 h 685518"/>
              <a:gd name="connsiteX10" fmla="*/ 91621 w 723010"/>
              <a:gd name="connsiteY10" fmla="*/ 354646 h 685518"/>
              <a:gd name="connsiteX11" fmla="*/ 207143 w 723010"/>
              <a:gd name="connsiteY11" fmla="*/ 497297 h 685518"/>
              <a:gd name="connsiteX12" fmla="*/ 411963 w 723010"/>
              <a:gd name="connsiteY12" fmla="*/ 238484 h 685518"/>
              <a:gd name="connsiteX13" fmla="*/ 394052 w 723010"/>
              <a:gd name="connsiteY13" fmla="*/ 191519 h 685518"/>
              <a:gd name="connsiteX14" fmla="*/ 459749 w 723010"/>
              <a:gd name="connsiteY14" fmla="*/ 191519 h 685518"/>
              <a:gd name="connsiteX15" fmla="*/ 711059 w 723010"/>
              <a:gd name="connsiteY15" fmla="*/ 0 h 685518"/>
              <a:gd name="connsiteX0" fmla="*/ 711059 w 723010"/>
              <a:gd name="connsiteY0" fmla="*/ 0 h 685518"/>
              <a:gd name="connsiteX1" fmla="*/ 723010 w 723010"/>
              <a:gd name="connsiteY1" fmla="*/ 21794 h 685518"/>
              <a:gd name="connsiteX2" fmla="*/ 495948 w 723010"/>
              <a:gd name="connsiteY2" fmla="*/ 261172 h 685518"/>
              <a:gd name="connsiteX3" fmla="*/ 495948 w 723010"/>
              <a:gd name="connsiteY3" fmla="*/ 275793 h 685518"/>
              <a:gd name="connsiteX4" fmla="*/ 444503 w 723010"/>
              <a:gd name="connsiteY4" fmla="*/ 318664 h 685518"/>
              <a:gd name="connsiteX5" fmla="*/ 441083 w 723010"/>
              <a:gd name="connsiteY5" fmla="*/ 329412 h 685518"/>
              <a:gd name="connsiteX6" fmla="*/ 351142 w 723010"/>
              <a:gd name="connsiteY6" fmla="*/ 455167 h 685518"/>
              <a:gd name="connsiteX7" fmla="*/ 270880 w 723010"/>
              <a:gd name="connsiteY7" fmla="*/ 606267 h 685518"/>
              <a:gd name="connsiteX8" fmla="*/ 159341 w 723010"/>
              <a:gd name="connsiteY8" fmla="*/ 685518 h 685518"/>
              <a:gd name="connsiteX9" fmla="*/ 0 w 723010"/>
              <a:gd name="connsiteY9" fmla="*/ 408140 h 685518"/>
              <a:gd name="connsiteX10" fmla="*/ 91621 w 723010"/>
              <a:gd name="connsiteY10" fmla="*/ 354646 h 685518"/>
              <a:gd name="connsiteX11" fmla="*/ 207143 w 723010"/>
              <a:gd name="connsiteY11" fmla="*/ 497297 h 685518"/>
              <a:gd name="connsiteX12" fmla="*/ 411963 w 723010"/>
              <a:gd name="connsiteY12" fmla="*/ 238484 h 685518"/>
              <a:gd name="connsiteX13" fmla="*/ 459749 w 723010"/>
              <a:gd name="connsiteY13" fmla="*/ 191519 h 685518"/>
              <a:gd name="connsiteX14" fmla="*/ 711059 w 723010"/>
              <a:gd name="connsiteY14" fmla="*/ 0 h 685518"/>
              <a:gd name="connsiteX0" fmla="*/ 711059 w 723010"/>
              <a:gd name="connsiteY0" fmla="*/ 0 h 685518"/>
              <a:gd name="connsiteX1" fmla="*/ 723010 w 723010"/>
              <a:gd name="connsiteY1" fmla="*/ 21794 h 685518"/>
              <a:gd name="connsiteX2" fmla="*/ 495948 w 723010"/>
              <a:gd name="connsiteY2" fmla="*/ 261172 h 685518"/>
              <a:gd name="connsiteX3" fmla="*/ 444503 w 723010"/>
              <a:gd name="connsiteY3" fmla="*/ 318664 h 685518"/>
              <a:gd name="connsiteX4" fmla="*/ 441083 w 723010"/>
              <a:gd name="connsiteY4" fmla="*/ 329412 h 685518"/>
              <a:gd name="connsiteX5" fmla="*/ 351142 w 723010"/>
              <a:gd name="connsiteY5" fmla="*/ 455167 h 685518"/>
              <a:gd name="connsiteX6" fmla="*/ 270880 w 723010"/>
              <a:gd name="connsiteY6" fmla="*/ 606267 h 685518"/>
              <a:gd name="connsiteX7" fmla="*/ 159341 w 723010"/>
              <a:gd name="connsiteY7" fmla="*/ 685518 h 685518"/>
              <a:gd name="connsiteX8" fmla="*/ 0 w 723010"/>
              <a:gd name="connsiteY8" fmla="*/ 408140 h 685518"/>
              <a:gd name="connsiteX9" fmla="*/ 91621 w 723010"/>
              <a:gd name="connsiteY9" fmla="*/ 354646 h 685518"/>
              <a:gd name="connsiteX10" fmla="*/ 207143 w 723010"/>
              <a:gd name="connsiteY10" fmla="*/ 497297 h 685518"/>
              <a:gd name="connsiteX11" fmla="*/ 411963 w 723010"/>
              <a:gd name="connsiteY11" fmla="*/ 238484 h 685518"/>
              <a:gd name="connsiteX12" fmla="*/ 459749 w 723010"/>
              <a:gd name="connsiteY12" fmla="*/ 191519 h 685518"/>
              <a:gd name="connsiteX13" fmla="*/ 711059 w 723010"/>
              <a:gd name="connsiteY13" fmla="*/ 0 h 685518"/>
              <a:gd name="connsiteX0" fmla="*/ 711059 w 723010"/>
              <a:gd name="connsiteY0" fmla="*/ 0 h 685518"/>
              <a:gd name="connsiteX1" fmla="*/ 723010 w 723010"/>
              <a:gd name="connsiteY1" fmla="*/ 21794 h 685518"/>
              <a:gd name="connsiteX2" fmla="*/ 495948 w 723010"/>
              <a:gd name="connsiteY2" fmla="*/ 261172 h 685518"/>
              <a:gd name="connsiteX3" fmla="*/ 444503 w 723010"/>
              <a:gd name="connsiteY3" fmla="*/ 318664 h 685518"/>
              <a:gd name="connsiteX4" fmla="*/ 351142 w 723010"/>
              <a:gd name="connsiteY4" fmla="*/ 455167 h 685518"/>
              <a:gd name="connsiteX5" fmla="*/ 270880 w 723010"/>
              <a:gd name="connsiteY5" fmla="*/ 606267 h 685518"/>
              <a:gd name="connsiteX6" fmla="*/ 159341 w 723010"/>
              <a:gd name="connsiteY6" fmla="*/ 685518 h 685518"/>
              <a:gd name="connsiteX7" fmla="*/ 0 w 723010"/>
              <a:gd name="connsiteY7" fmla="*/ 408140 h 685518"/>
              <a:gd name="connsiteX8" fmla="*/ 91621 w 723010"/>
              <a:gd name="connsiteY8" fmla="*/ 354646 h 685518"/>
              <a:gd name="connsiteX9" fmla="*/ 207143 w 723010"/>
              <a:gd name="connsiteY9" fmla="*/ 497297 h 685518"/>
              <a:gd name="connsiteX10" fmla="*/ 411963 w 723010"/>
              <a:gd name="connsiteY10" fmla="*/ 238484 h 685518"/>
              <a:gd name="connsiteX11" fmla="*/ 459749 w 723010"/>
              <a:gd name="connsiteY11" fmla="*/ 191519 h 685518"/>
              <a:gd name="connsiteX12" fmla="*/ 711059 w 723010"/>
              <a:gd name="connsiteY12" fmla="*/ 0 h 685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23010" h="685518">
                <a:moveTo>
                  <a:pt x="711059" y="0"/>
                </a:moveTo>
                <a:lnTo>
                  <a:pt x="723010" y="21794"/>
                </a:lnTo>
                <a:cubicBezTo>
                  <a:pt x="642190" y="100164"/>
                  <a:pt x="564806" y="178154"/>
                  <a:pt x="495948" y="261172"/>
                </a:cubicBezTo>
                <a:lnTo>
                  <a:pt x="444503" y="318664"/>
                </a:lnTo>
                <a:lnTo>
                  <a:pt x="351142" y="455167"/>
                </a:lnTo>
                <a:cubicBezTo>
                  <a:pt x="321171" y="503145"/>
                  <a:pt x="294261" y="553324"/>
                  <a:pt x="270880" y="606267"/>
                </a:cubicBezTo>
                <a:lnTo>
                  <a:pt x="159341" y="685518"/>
                </a:lnTo>
                <a:cubicBezTo>
                  <a:pt x="132119" y="571264"/>
                  <a:pt x="80998" y="480786"/>
                  <a:pt x="0" y="408140"/>
                </a:cubicBezTo>
                <a:cubicBezTo>
                  <a:pt x="20581" y="382385"/>
                  <a:pt x="45147" y="364552"/>
                  <a:pt x="91621" y="354646"/>
                </a:cubicBezTo>
                <a:cubicBezTo>
                  <a:pt x="146063" y="360590"/>
                  <a:pt x="196520" y="443803"/>
                  <a:pt x="207143" y="497297"/>
                </a:cubicBezTo>
                <a:cubicBezTo>
                  <a:pt x="268211" y="397578"/>
                  <a:pt x="339176" y="311314"/>
                  <a:pt x="411963" y="238484"/>
                </a:cubicBezTo>
                <a:lnTo>
                  <a:pt x="459749" y="191519"/>
                </a:lnTo>
                <a:cubicBezTo>
                  <a:pt x="549474" y="108091"/>
                  <a:pt x="638583" y="44519"/>
                  <a:pt x="711059" y="0"/>
                </a:cubicBezTo>
                <a:close/>
              </a:path>
            </a:pathLst>
          </a:custGeom>
          <a:solidFill>
            <a:srgbClr val="0078D7"/>
          </a:solidFill>
        </p:spPr>
        <p:txBody>
          <a:bodyPr wrap="square" lIns="95112" tIns="47555" rIns="95112" bIns="47555" rtlCol="0" anchor="t">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lvl="2">
              <a:spcBef>
                <a:spcPts val="936"/>
              </a:spcBef>
              <a:buClr>
                <a:srgbClr val="505050"/>
              </a:buClr>
              <a:defRPr/>
            </a:pPr>
            <a:endParaRPr lang="en-US" sz="2448" dirty="0">
              <a:solidFill>
                <a:srgbClr val="FFFFFF"/>
              </a:solidFill>
              <a:cs typeface="Calibri" pitchFamily="34" charset="0"/>
            </a:endParaRPr>
          </a:p>
        </p:txBody>
      </p:sp>
      <p:pic>
        <p:nvPicPr>
          <p:cNvPr id="19" name="Picture 1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08595" y="4538586"/>
            <a:ext cx="909255" cy="896497"/>
          </a:xfrm>
          <a:prstGeom prst="rect">
            <a:avLst/>
          </a:prstGeom>
        </p:spPr>
      </p:pic>
      <p:sp>
        <p:nvSpPr>
          <p:cNvPr id="20" name="Freeform 19"/>
          <p:cNvSpPr/>
          <p:nvPr/>
        </p:nvSpPr>
        <p:spPr>
          <a:xfrm>
            <a:off x="257177" y="4664074"/>
            <a:ext cx="627125" cy="632756"/>
          </a:xfrm>
          <a:custGeom>
            <a:avLst/>
            <a:gdLst>
              <a:gd name="connsiteX0" fmla="*/ 260828 w 900424"/>
              <a:gd name="connsiteY0" fmla="*/ 764648 h 923624"/>
              <a:gd name="connsiteX1" fmla="*/ 260828 w 900424"/>
              <a:gd name="connsiteY1" fmla="*/ 794160 h 923624"/>
              <a:gd name="connsiteX2" fmla="*/ 752690 w 900424"/>
              <a:gd name="connsiteY2" fmla="*/ 794160 h 923624"/>
              <a:gd name="connsiteX3" fmla="*/ 752690 w 900424"/>
              <a:gd name="connsiteY3" fmla="*/ 764648 h 923624"/>
              <a:gd name="connsiteX4" fmla="*/ 523025 w 900424"/>
              <a:gd name="connsiteY4" fmla="*/ 689333 h 923624"/>
              <a:gd name="connsiteX5" fmla="*/ 529392 w 900424"/>
              <a:gd name="connsiteY5" fmla="*/ 718845 h 923624"/>
              <a:gd name="connsiteX6" fmla="*/ 752690 w 900424"/>
              <a:gd name="connsiteY6" fmla="*/ 718845 h 923624"/>
              <a:gd name="connsiteX7" fmla="*/ 752690 w 900424"/>
              <a:gd name="connsiteY7" fmla="*/ 689333 h 923624"/>
              <a:gd name="connsiteX8" fmla="*/ 260828 w 900424"/>
              <a:gd name="connsiteY8" fmla="*/ 689333 h 923624"/>
              <a:gd name="connsiteX9" fmla="*/ 260828 w 900424"/>
              <a:gd name="connsiteY9" fmla="*/ 718845 h 923624"/>
              <a:gd name="connsiteX10" fmla="*/ 520342 w 900424"/>
              <a:gd name="connsiteY10" fmla="*/ 718845 h 923624"/>
              <a:gd name="connsiteX11" fmla="*/ 427300 w 900424"/>
              <a:gd name="connsiteY11" fmla="*/ 689333 h 923624"/>
              <a:gd name="connsiteX12" fmla="*/ 506777 w 900424"/>
              <a:gd name="connsiteY12" fmla="*/ 614015 h 923624"/>
              <a:gd name="connsiteX13" fmla="*/ 513144 w 900424"/>
              <a:gd name="connsiteY13" fmla="*/ 643527 h 923624"/>
              <a:gd name="connsiteX14" fmla="*/ 752690 w 900424"/>
              <a:gd name="connsiteY14" fmla="*/ 643527 h 923624"/>
              <a:gd name="connsiteX15" fmla="*/ 752690 w 900424"/>
              <a:gd name="connsiteY15" fmla="*/ 614015 h 923624"/>
              <a:gd name="connsiteX16" fmla="*/ 260828 w 900424"/>
              <a:gd name="connsiteY16" fmla="*/ 614015 h 923624"/>
              <a:gd name="connsiteX17" fmla="*/ 260828 w 900424"/>
              <a:gd name="connsiteY17" fmla="*/ 643527 h 923624"/>
              <a:gd name="connsiteX18" fmla="*/ 334546 w 900424"/>
              <a:gd name="connsiteY18" fmla="*/ 643527 h 923624"/>
              <a:gd name="connsiteX19" fmla="*/ 307478 w 900424"/>
              <a:gd name="connsiteY19" fmla="*/ 614015 h 923624"/>
              <a:gd name="connsiteX20" fmla="*/ 467940 w 900424"/>
              <a:gd name="connsiteY20" fmla="*/ 571407 h 923624"/>
              <a:gd name="connsiteX21" fmla="*/ 385032 w 900424"/>
              <a:gd name="connsiteY21" fmla="*/ 646669 h 923624"/>
              <a:gd name="connsiteX22" fmla="*/ 506739 w 900424"/>
              <a:gd name="connsiteY22" fmla="*/ 697133 h 923624"/>
              <a:gd name="connsiteX23" fmla="*/ 260828 w 900424"/>
              <a:gd name="connsiteY23" fmla="*/ 563154 h 923624"/>
              <a:gd name="connsiteX24" fmla="*/ 260828 w 900424"/>
              <a:gd name="connsiteY24" fmla="*/ 568210 h 923624"/>
              <a:gd name="connsiteX25" fmla="*/ 265465 w 900424"/>
              <a:gd name="connsiteY25" fmla="*/ 568210 h 923624"/>
              <a:gd name="connsiteX26" fmla="*/ 477023 w 900424"/>
              <a:gd name="connsiteY26" fmla="*/ 538699 h 923624"/>
              <a:gd name="connsiteX27" fmla="*/ 477810 w 900424"/>
              <a:gd name="connsiteY27" fmla="*/ 539556 h 923624"/>
              <a:gd name="connsiteX28" fmla="*/ 481962 w 900424"/>
              <a:gd name="connsiteY28" fmla="*/ 568210 h 923624"/>
              <a:gd name="connsiteX29" fmla="*/ 752690 w 900424"/>
              <a:gd name="connsiteY29" fmla="*/ 568210 h 923624"/>
              <a:gd name="connsiteX30" fmla="*/ 752690 w 900424"/>
              <a:gd name="connsiteY30" fmla="*/ 538699 h 923624"/>
              <a:gd name="connsiteX31" fmla="*/ 407941 w 900424"/>
              <a:gd name="connsiteY31" fmla="*/ 463381 h 923624"/>
              <a:gd name="connsiteX32" fmla="*/ 435010 w 900424"/>
              <a:gd name="connsiteY32" fmla="*/ 492893 h 923624"/>
              <a:gd name="connsiteX33" fmla="*/ 752690 w 900424"/>
              <a:gd name="connsiteY33" fmla="*/ 492893 h 923624"/>
              <a:gd name="connsiteX34" fmla="*/ 752690 w 900424"/>
              <a:gd name="connsiteY34" fmla="*/ 463381 h 923624"/>
              <a:gd name="connsiteX35" fmla="*/ 338860 w 900424"/>
              <a:gd name="connsiteY35" fmla="*/ 388063 h 923624"/>
              <a:gd name="connsiteX36" fmla="*/ 365929 w 900424"/>
              <a:gd name="connsiteY36" fmla="*/ 417575 h 923624"/>
              <a:gd name="connsiteX37" fmla="*/ 752690 w 900424"/>
              <a:gd name="connsiteY37" fmla="*/ 417575 h 923624"/>
              <a:gd name="connsiteX38" fmla="*/ 752690 w 900424"/>
              <a:gd name="connsiteY38" fmla="*/ 388063 h 923624"/>
              <a:gd name="connsiteX39" fmla="*/ 208773 w 900424"/>
              <a:gd name="connsiteY39" fmla="*/ 287934 h 923624"/>
              <a:gd name="connsiteX40" fmla="*/ 191984 w 900424"/>
              <a:gd name="connsiteY40" fmla="*/ 292572 h 923624"/>
              <a:gd name="connsiteX41" fmla="*/ 127335 w 900424"/>
              <a:gd name="connsiteY41" fmla="*/ 351868 h 923624"/>
              <a:gd name="connsiteX42" fmla="*/ 129474 w 900424"/>
              <a:gd name="connsiteY42" fmla="*/ 386647 h 923624"/>
              <a:gd name="connsiteX43" fmla="*/ 350534 w 900424"/>
              <a:gd name="connsiteY43" fmla="*/ 627663 h 923624"/>
              <a:gd name="connsiteX44" fmla="*/ 384998 w 900424"/>
              <a:gd name="connsiteY44" fmla="*/ 632793 h 923624"/>
              <a:gd name="connsiteX45" fmla="*/ 449647 w 900424"/>
              <a:gd name="connsiteY45" fmla="*/ 573497 h 923624"/>
              <a:gd name="connsiteX46" fmla="*/ 447509 w 900424"/>
              <a:gd name="connsiteY46" fmla="*/ 538719 h 923624"/>
              <a:gd name="connsiteX47" fmla="*/ 226448 w 900424"/>
              <a:gd name="connsiteY47" fmla="*/ 297702 h 923624"/>
              <a:gd name="connsiteX48" fmla="*/ 208773 w 900424"/>
              <a:gd name="connsiteY48" fmla="*/ 287934 h 923624"/>
              <a:gd name="connsiteX49" fmla="*/ 260828 w 900424"/>
              <a:gd name="connsiteY49" fmla="*/ 270220 h 923624"/>
              <a:gd name="connsiteX50" fmla="*/ 260828 w 900424"/>
              <a:gd name="connsiteY50" fmla="*/ 302986 h 923624"/>
              <a:gd name="connsiteX51" fmla="*/ 266867 w 900424"/>
              <a:gd name="connsiteY51" fmla="*/ 309569 h 923624"/>
              <a:gd name="connsiteX52" fmla="*/ 555945 w 900424"/>
              <a:gd name="connsiteY52" fmla="*/ 309569 h 923624"/>
              <a:gd name="connsiteX53" fmla="*/ 555945 w 900424"/>
              <a:gd name="connsiteY53" fmla="*/ 270220 h 923624"/>
              <a:gd name="connsiteX54" fmla="*/ 593007 w 900424"/>
              <a:gd name="connsiteY54" fmla="*/ 119089 h 923624"/>
              <a:gd name="connsiteX55" fmla="*/ 593004 w 900424"/>
              <a:gd name="connsiteY55" fmla="*/ 272798 h 923624"/>
              <a:gd name="connsiteX56" fmla="*/ 636152 w 900424"/>
              <a:gd name="connsiteY56" fmla="*/ 321336 h 923624"/>
              <a:gd name="connsiteX57" fmla="*/ 797949 w 900424"/>
              <a:gd name="connsiteY57" fmla="*/ 324032 h 923624"/>
              <a:gd name="connsiteX58" fmla="*/ 655342 w 900424"/>
              <a:gd name="connsiteY58" fmla="*/ 99448 h 923624"/>
              <a:gd name="connsiteX59" fmla="*/ 721150 w 900424"/>
              <a:gd name="connsiteY59" fmla="*/ 99448 h 923624"/>
              <a:gd name="connsiteX60" fmla="*/ 900424 w 900424"/>
              <a:gd name="connsiteY60" fmla="*/ 281060 h 923624"/>
              <a:gd name="connsiteX61" fmla="*/ 900424 w 900424"/>
              <a:gd name="connsiteY61" fmla="*/ 853516 h 923624"/>
              <a:gd name="connsiteX62" fmla="*/ 852052 w 900424"/>
              <a:gd name="connsiteY62" fmla="*/ 905556 h 923624"/>
              <a:gd name="connsiteX63" fmla="*/ 828360 w 900424"/>
              <a:gd name="connsiteY63" fmla="*/ 905556 h 923624"/>
              <a:gd name="connsiteX64" fmla="*/ 849187 w 900424"/>
              <a:gd name="connsiteY64" fmla="*/ 863467 h 923624"/>
              <a:gd name="connsiteX65" fmla="*/ 849187 w 900424"/>
              <a:gd name="connsiteY65" fmla="*/ 293293 h 923624"/>
              <a:gd name="connsiteX66" fmla="*/ 284672 w 900424"/>
              <a:gd name="connsiteY66" fmla="*/ 26544 h 923624"/>
              <a:gd name="connsiteX67" fmla="*/ 306902 w 900424"/>
              <a:gd name="connsiteY67" fmla="*/ 26544 h 923624"/>
              <a:gd name="connsiteX68" fmla="*/ 312459 w 900424"/>
              <a:gd name="connsiteY68" fmla="*/ 32101 h 923624"/>
              <a:gd name="connsiteX69" fmla="*/ 312459 w 900424"/>
              <a:gd name="connsiteY69" fmla="*/ 71134 h 923624"/>
              <a:gd name="connsiteX70" fmla="*/ 341829 w 900424"/>
              <a:gd name="connsiteY70" fmla="*/ 71134 h 923624"/>
              <a:gd name="connsiteX71" fmla="*/ 341829 w 900424"/>
              <a:gd name="connsiteY71" fmla="*/ 32101 h 923624"/>
              <a:gd name="connsiteX72" fmla="*/ 347386 w 900424"/>
              <a:gd name="connsiteY72" fmla="*/ 26544 h 923624"/>
              <a:gd name="connsiteX73" fmla="*/ 369616 w 900424"/>
              <a:gd name="connsiteY73" fmla="*/ 26544 h 923624"/>
              <a:gd name="connsiteX74" fmla="*/ 375173 w 900424"/>
              <a:gd name="connsiteY74" fmla="*/ 32101 h 923624"/>
              <a:gd name="connsiteX75" fmla="*/ 375173 w 900424"/>
              <a:gd name="connsiteY75" fmla="*/ 71134 h 923624"/>
              <a:gd name="connsiteX76" fmla="*/ 404543 w 900424"/>
              <a:gd name="connsiteY76" fmla="*/ 71134 h 923624"/>
              <a:gd name="connsiteX77" fmla="*/ 404543 w 900424"/>
              <a:gd name="connsiteY77" fmla="*/ 32101 h 923624"/>
              <a:gd name="connsiteX78" fmla="*/ 410100 w 900424"/>
              <a:gd name="connsiteY78" fmla="*/ 26544 h 923624"/>
              <a:gd name="connsiteX79" fmla="*/ 432330 w 900424"/>
              <a:gd name="connsiteY79" fmla="*/ 26544 h 923624"/>
              <a:gd name="connsiteX80" fmla="*/ 437887 w 900424"/>
              <a:gd name="connsiteY80" fmla="*/ 32101 h 923624"/>
              <a:gd name="connsiteX81" fmla="*/ 437887 w 900424"/>
              <a:gd name="connsiteY81" fmla="*/ 71134 h 923624"/>
              <a:gd name="connsiteX82" fmla="*/ 467255 w 900424"/>
              <a:gd name="connsiteY82" fmla="*/ 71134 h 923624"/>
              <a:gd name="connsiteX83" fmla="*/ 467255 w 900424"/>
              <a:gd name="connsiteY83" fmla="*/ 32101 h 923624"/>
              <a:gd name="connsiteX84" fmla="*/ 472813 w 900424"/>
              <a:gd name="connsiteY84" fmla="*/ 26544 h 923624"/>
              <a:gd name="connsiteX85" fmla="*/ 495042 w 900424"/>
              <a:gd name="connsiteY85" fmla="*/ 26544 h 923624"/>
              <a:gd name="connsiteX86" fmla="*/ 500600 w 900424"/>
              <a:gd name="connsiteY86" fmla="*/ 32101 h 923624"/>
              <a:gd name="connsiteX87" fmla="*/ 500600 w 900424"/>
              <a:gd name="connsiteY87" fmla="*/ 71134 h 923624"/>
              <a:gd name="connsiteX88" fmla="*/ 606532 w 900424"/>
              <a:gd name="connsiteY88" fmla="*/ 71134 h 923624"/>
              <a:gd name="connsiteX89" fmla="*/ 833814 w 900424"/>
              <a:gd name="connsiteY89" fmla="*/ 298416 h 923624"/>
              <a:gd name="connsiteX90" fmla="*/ 833814 w 900424"/>
              <a:gd name="connsiteY90" fmla="*/ 868590 h 923624"/>
              <a:gd name="connsiteX91" fmla="*/ 778780 w 900424"/>
              <a:gd name="connsiteY91" fmla="*/ 923624 h 923624"/>
              <a:gd name="connsiteX92" fmla="*/ 239864 w 900424"/>
              <a:gd name="connsiteY92" fmla="*/ 923624 h 923624"/>
              <a:gd name="connsiteX93" fmla="*/ 184830 w 900424"/>
              <a:gd name="connsiteY93" fmla="*/ 868590 h 923624"/>
              <a:gd name="connsiteX94" fmla="*/ 184830 w 900424"/>
              <a:gd name="connsiteY94" fmla="*/ 480294 h 923624"/>
              <a:gd name="connsiteX95" fmla="*/ 108913 w 900424"/>
              <a:gd name="connsiteY95" fmla="*/ 397523 h 923624"/>
              <a:gd name="connsiteX96" fmla="*/ 110701 w 900424"/>
              <a:gd name="connsiteY96" fmla="*/ 356111 h 923624"/>
              <a:gd name="connsiteX97" fmla="*/ 184830 w 900424"/>
              <a:gd name="connsiteY97" fmla="*/ 288121 h 923624"/>
              <a:gd name="connsiteX98" fmla="*/ 184830 w 900424"/>
              <a:gd name="connsiteY98" fmla="*/ 255779 h 923624"/>
              <a:gd name="connsiteX99" fmla="*/ 182259 w 900424"/>
              <a:gd name="connsiteY99" fmla="*/ 258139 h 923624"/>
              <a:gd name="connsiteX100" fmla="*/ 181841 w 900424"/>
              <a:gd name="connsiteY100" fmla="*/ 251347 h 923624"/>
              <a:gd name="connsiteX101" fmla="*/ 140694 w 900424"/>
              <a:gd name="connsiteY101" fmla="*/ 206486 h 923624"/>
              <a:gd name="connsiteX102" fmla="*/ 121321 w 900424"/>
              <a:gd name="connsiteY102" fmla="*/ 203601 h 923624"/>
              <a:gd name="connsiteX103" fmla="*/ 42515 w 900424"/>
              <a:gd name="connsiteY103" fmla="*/ 275879 h 923624"/>
              <a:gd name="connsiteX104" fmla="*/ 43718 w 900424"/>
              <a:gd name="connsiteY104" fmla="*/ 295429 h 923624"/>
              <a:gd name="connsiteX105" fmla="*/ 84866 w 900424"/>
              <a:gd name="connsiteY105" fmla="*/ 340291 h 923624"/>
              <a:gd name="connsiteX106" fmla="*/ 91596 w 900424"/>
              <a:gd name="connsiteY106" fmla="*/ 341293 h 923624"/>
              <a:gd name="connsiteX107" fmla="*/ 83614 w 900424"/>
              <a:gd name="connsiteY107" fmla="*/ 348614 h 923624"/>
              <a:gd name="connsiteX108" fmla="*/ 60335 w 900424"/>
              <a:gd name="connsiteY108" fmla="*/ 347609 h 923624"/>
              <a:gd name="connsiteX109" fmla="*/ 15793 w 900424"/>
              <a:gd name="connsiteY109" fmla="*/ 299045 h 923624"/>
              <a:gd name="connsiteX110" fmla="*/ 16799 w 900424"/>
              <a:gd name="connsiteY110" fmla="*/ 275766 h 923624"/>
              <a:gd name="connsiteX111" fmla="*/ 122114 w 900424"/>
              <a:gd name="connsiteY111" fmla="*/ 179172 h 923624"/>
              <a:gd name="connsiteX112" fmla="*/ 145393 w 900424"/>
              <a:gd name="connsiteY112" fmla="*/ 180177 h 923624"/>
              <a:gd name="connsiteX113" fmla="*/ 184830 w 900424"/>
              <a:gd name="connsiteY113" fmla="*/ 223174 h 923624"/>
              <a:gd name="connsiteX114" fmla="*/ 184830 w 900424"/>
              <a:gd name="connsiteY114" fmla="*/ 126169 h 923624"/>
              <a:gd name="connsiteX115" fmla="*/ 239864 w 900424"/>
              <a:gd name="connsiteY115" fmla="*/ 71134 h 923624"/>
              <a:gd name="connsiteX116" fmla="*/ 279115 w 900424"/>
              <a:gd name="connsiteY116" fmla="*/ 71134 h 923624"/>
              <a:gd name="connsiteX117" fmla="*/ 279115 w 900424"/>
              <a:gd name="connsiteY117" fmla="*/ 32101 h 923624"/>
              <a:gd name="connsiteX118" fmla="*/ 284672 w 900424"/>
              <a:gd name="connsiteY118" fmla="*/ 26544 h 923624"/>
              <a:gd name="connsiteX119" fmla="*/ 185348 w 900424"/>
              <a:gd name="connsiteY119" fmla="*/ 0 h 923624"/>
              <a:gd name="connsiteX120" fmla="*/ 185239 w 900424"/>
              <a:gd name="connsiteY120" fmla="*/ 90 h 923624"/>
              <a:gd name="connsiteX121" fmla="*/ 177024 w 900424"/>
              <a:gd name="connsiteY121" fmla="*/ 4549 h 923624"/>
              <a:gd name="connsiteX122" fmla="*/ 69385 w 900424"/>
              <a:gd name="connsiteY122" fmla="*/ 97763 h 923624"/>
              <a:gd name="connsiteX123" fmla="*/ 0 w 900424"/>
              <a:gd name="connsiteY123" fmla="*/ 195399 h 923624"/>
              <a:gd name="connsiteX124" fmla="*/ 0 w 900424"/>
              <a:gd name="connsiteY124" fmla="*/ 195353 h 923624"/>
              <a:gd name="connsiteX125" fmla="*/ 69366 w 900424"/>
              <a:gd name="connsiteY125" fmla="*/ 97745 h 923624"/>
              <a:gd name="connsiteX126" fmla="*/ 177009 w 900424"/>
              <a:gd name="connsiteY126" fmla="*/ 4526 h 923624"/>
              <a:gd name="connsiteX0" fmla="*/ 260828 w 900424"/>
              <a:gd name="connsiteY0" fmla="*/ 764558 h 923534"/>
              <a:gd name="connsiteX1" fmla="*/ 260828 w 900424"/>
              <a:gd name="connsiteY1" fmla="*/ 794070 h 923534"/>
              <a:gd name="connsiteX2" fmla="*/ 752690 w 900424"/>
              <a:gd name="connsiteY2" fmla="*/ 794070 h 923534"/>
              <a:gd name="connsiteX3" fmla="*/ 752690 w 900424"/>
              <a:gd name="connsiteY3" fmla="*/ 764558 h 923534"/>
              <a:gd name="connsiteX4" fmla="*/ 260828 w 900424"/>
              <a:gd name="connsiteY4" fmla="*/ 764558 h 923534"/>
              <a:gd name="connsiteX5" fmla="*/ 523025 w 900424"/>
              <a:gd name="connsiteY5" fmla="*/ 689243 h 923534"/>
              <a:gd name="connsiteX6" fmla="*/ 529392 w 900424"/>
              <a:gd name="connsiteY6" fmla="*/ 718755 h 923534"/>
              <a:gd name="connsiteX7" fmla="*/ 752690 w 900424"/>
              <a:gd name="connsiteY7" fmla="*/ 718755 h 923534"/>
              <a:gd name="connsiteX8" fmla="*/ 752690 w 900424"/>
              <a:gd name="connsiteY8" fmla="*/ 689243 h 923534"/>
              <a:gd name="connsiteX9" fmla="*/ 523025 w 900424"/>
              <a:gd name="connsiteY9" fmla="*/ 689243 h 923534"/>
              <a:gd name="connsiteX10" fmla="*/ 260828 w 900424"/>
              <a:gd name="connsiteY10" fmla="*/ 689243 h 923534"/>
              <a:gd name="connsiteX11" fmla="*/ 260828 w 900424"/>
              <a:gd name="connsiteY11" fmla="*/ 718755 h 923534"/>
              <a:gd name="connsiteX12" fmla="*/ 520342 w 900424"/>
              <a:gd name="connsiteY12" fmla="*/ 718755 h 923534"/>
              <a:gd name="connsiteX13" fmla="*/ 427300 w 900424"/>
              <a:gd name="connsiteY13" fmla="*/ 689243 h 923534"/>
              <a:gd name="connsiteX14" fmla="*/ 260828 w 900424"/>
              <a:gd name="connsiteY14" fmla="*/ 689243 h 923534"/>
              <a:gd name="connsiteX15" fmla="*/ 506777 w 900424"/>
              <a:gd name="connsiteY15" fmla="*/ 613925 h 923534"/>
              <a:gd name="connsiteX16" fmla="*/ 513144 w 900424"/>
              <a:gd name="connsiteY16" fmla="*/ 643437 h 923534"/>
              <a:gd name="connsiteX17" fmla="*/ 752690 w 900424"/>
              <a:gd name="connsiteY17" fmla="*/ 643437 h 923534"/>
              <a:gd name="connsiteX18" fmla="*/ 752690 w 900424"/>
              <a:gd name="connsiteY18" fmla="*/ 613925 h 923534"/>
              <a:gd name="connsiteX19" fmla="*/ 506777 w 900424"/>
              <a:gd name="connsiteY19" fmla="*/ 613925 h 923534"/>
              <a:gd name="connsiteX20" fmla="*/ 260828 w 900424"/>
              <a:gd name="connsiteY20" fmla="*/ 613925 h 923534"/>
              <a:gd name="connsiteX21" fmla="*/ 260828 w 900424"/>
              <a:gd name="connsiteY21" fmla="*/ 643437 h 923534"/>
              <a:gd name="connsiteX22" fmla="*/ 334546 w 900424"/>
              <a:gd name="connsiteY22" fmla="*/ 643437 h 923534"/>
              <a:gd name="connsiteX23" fmla="*/ 307478 w 900424"/>
              <a:gd name="connsiteY23" fmla="*/ 613925 h 923534"/>
              <a:gd name="connsiteX24" fmla="*/ 260828 w 900424"/>
              <a:gd name="connsiteY24" fmla="*/ 613925 h 923534"/>
              <a:gd name="connsiteX25" fmla="*/ 467940 w 900424"/>
              <a:gd name="connsiteY25" fmla="*/ 571317 h 923534"/>
              <a:gd name="connsiteX26" fmla="*/ 385032 w 900424"/>
              <a:gd name="connsiteY26" fmla="*/ 646579 h 923534"/>
              <a:gd name="connsiteX27" fmla="*/ 506739 w 900424"/>
              <a:gd name="connsiteY27" fmla="*/ 697043 h 923534"/>
              <a:gd name="connsiteX28" fmla="*/ 467940 w 900424"/>
              <a:gd name="connsiteY28" fmla="*/ 571317 h 923534"/>
              <a:gd name="connsiteX29" fmla="*/ 260828 w 900424"/>
              <a:gd name="connsiteY29" fmla="*/ 563064 h 923534"/>
              <a:gd name="connsiteX30" fmla="*/ 260828 w 900424"/>
              <a:gd name="connsiteY30" fmla="*/ 568120 h 923534"/>
              <a:gd name="connsiteX31" fmla="*/ 265465 w 900424"/>
              <a:gd name="connsiteY31" fmla="*/ 568120 h 923534"/>
              <a:gd name="connsiteX32" fmla="*/ 260828 w 900424"/>
              <a:gd name="connsiteY32" fmla="*/ 563064 h 923534"/>
              <a:gd name="connsiteX33" fmla="*/ 477023 w 900424"/>
              <a:gd name="connsiteY33" fmla="*/ 538609 h 923534"/>
              <a:gd name="connsiteX34" fmla="*/ 477810 w 900424"/>
              <a:gd name="connsiteY34" fmla="*/ 539466 h 923534"/>
              <a:gd name="connsiteX35" fmla="*/ 481962 w 900424"/>
              <a:gd name="connsiteY35" fmla="*/ 568120 h 923534"/>
              <a:gd name="connsiteX36" fmla="*/ 752690 w 900424"/>
              <a:gd name="connsiteY36" fmla="*/ 568120 h 923534"/>
              <a:gd name="connsiteX37" fmla="*/ 752690 w 900424"/>
              <a:gd name="connsiteY37" fmla="*/ 538609 h 923534"/>
              <a:gd name="connsiteX38" fmla="*/ 477023 w 900424"/>
              <a:gd name="connsiteY38" fmla="*/ 538609 h 923534"/>
              <a:gd name="connsiteX39" fmla="*/ 407941 w 900424"/>
              <a:gd name="connsiteY39" fmla="*/ 463291 h 923534"/>
              <a:gd name="connsiteX40" fmla="*/ 435010 w 900424"/>
              <a:gd name="connsiteY40" fmla="*/ 492803 h 923534"/>
              <a:gd name="connsiteX41" fmla="*/ 752690 w 900424"/>
              <a:gd name="connsiteY41" fmla="*/ 492803 h 923534"/>
              <a:gd name="connsiteX42" fmla="*/ 752690 w 900424"/>
              <a:gd name="connsiteY42" fmla="*/ 463291 h 923534"/>
              <a:gd name="connsiteX43" fmla="*/ 407941 w 900424"/>
              <a:gd name="connsiteY43" fmla="*/ 463291 h 923534"/>
              <a:gd name="connsiteX44" fmla="*/ 338860 w 900424"/>
              <a:gd name="connsiteY44" fmla="*/ 387973 h 923534"/>
              <a:gd name="connsiteX45" fmla="*/ 365929 w 900424"/>
              <a:gd name="connsiteY45" fmla="*/ 417485 h 923534"/>
              <a:gd name="connsiteX46" fmla="*/ 752690 w 900424"/>
              <a:gd name="connsiteY46" fmla="*/ 417485 h 923534"/>
              <a:gd name="connsiteX47" fmla="*/ 752690 w 900424"/>
              <a:gd name="connsiteY47" fmla="*/ 387973 h 923534"/>
              <a:gd name="connsiteX48" fmla="*/ 338860 w 900424"/>
              <a:gd name="connsiteY48" fmla="*/ 387973 h 923534"/>
              <a:gd name="connsiteX49" fmla="*/ 208773 w 900424"/>
              <a:gd name="connsiteY49" fmla="*/ 287844 h 923534"/>
              <a:gd name="connsiteX50" fmla="*/ 191984 w 900424"/>
              <a:gd name="connsiteY50" fmla="*/ 292482 h 923534"/>
              <a:gd name="connsiteX51" fmla="*/ 127335 w 900424"/>
              <a:gd name="connsiteY51" fmla="*/ 351778 h 923534"/>
              <a:gd name="connsiteX52" fmla="*/ 129474 w 900424"/>
              <a:gd name="connsiteY52" fmla="*/ 386557 h 923534"/>
              <a:gd name="connsiteX53" fmla="*/ 350534 w 900424"/>
              <a:gd name="connsiteY53" fmla="*/ 627573 h 923534"/>
              <a:gd name="connsiteX54" fmla="*/ 384998 w 900424"/>
              <a:gd name="connsiteY54" fmla="*/ 632703 h 923534"/>
              <a:gd name="connsiteX55" fmla="*/ 449647 w 900424"/>
              <a:gd name="connsiteY55" fmla="*/ 573407 h 923534"/>
              <a:gd name="connsiteX56" fmla="*/ 447509 w 900424"/>
              <a:gd name="connsiteY56" fmla="*/ 538629 h 923534"/>
              <a:gd name="connsiteX57" fmla="*/ 226448 w 900424"/>
              <a:gd name="connsiteY57" fmla="*/ 297612 h 923534"/>
              <a:gd name="connsiteX58" fmla="*/ 208773 w 900424"/>
              <a:gd name="connsiteY58" fmla="*/ 287844 h 923534"/>
              <a:gd name="connsiteX59" fmla="*/ 260828 w 900424"/>
              <a:gd name="connsiteY59" fmla="*/ 270130 h 923534"/>
              <a:gd name="connsiteX60" fmla="*/ 260828 w 900424"/>
              <a:gd name="connsiteY60" fmla="*/ 302896 h 923534"/>
              <a:gd name="connsiteX61" fmla="*/ 266867 w 900424"/>
              <a:gd name="connsiteY61" fmla="*/ 309479 h 923534"/>
              <a:gd name="connsiteX62" fmla="*/ 555945 w 900424"/>
              <a:gd name="connsiteY62" fmla="*/ 309479 h 923534"/>
              <a:gd name="connsiteX63" fmla="*/ 555945 w 900424"/>
              <a:gd name="connsiteY63" fmla="*/ 270130 h 923534"/>
              <a:gd name="connsiteX64" fmla="*/ 260828 w 900424"/>
              <a:gd name="connsiteY64" fmla="*/ 270130 h 923534"/>
              <a:gd name="connsiteX65" fmla="*/ 593007 w 900424"/>
              <a:gd name="connsiteY65" fmla="*/ 118999 h 923534"/>
              <a:gd name="connsiteX66" fmla="*/ 593004 w 900424"/>
              <a:gd name="connsiteY66" fmla="*/ 272708 h 923534"/>
              <a:gd name="connsiteX67" fmla="*/ 636152 w 900424"/>
              <a:gd name="connsiteY67" fmla="*/ 321246 h 923534"/>
              <a:gd name="connsiteX68" fmla="*/ 797949 w 900424"/>
              <a:gd name="connsiteY68" fmla="*/ 323942 h 923534"/>
              <a:gd name="connsiteX69" fmla="*/ 593007 w 900424"/>
              <a:gd name="connsiteY69" fmla="*/ 118999 h 923534"/>
              <a:gd name="connsiteX70" fmla="*/ 655342 w 900424"/>
              <a:gd name="connsiteY70" fmla="*/ 99358 h 923534"/>
              <a:gd name="connsiteX71" fmla="*/ 721150 w 900424"/>
              <a:gd name="connsiteY71" fmla="*/ 99358 h 923534"/>
              <a:gd name="connsiteX72" fmla="*/ 900424 w 900424"/>
              <a:gd name="connsiteY72" fmla="*/ 280970 h 923534"/>
              <a:gd name="connsiteX73" fmla="*/ 900424 w 900424"/>
              <a:gd name="connsiteY73" fmla="*/ 853426 h 923534"/>
              <a:gd name="connsiteX74" fmla="*/ 852052 w 900424"/>
              <a:gd name="connsiteY74" fmla="*/ 905466 h 923534"/>
              <a:gd name="connsiteX75" fmla="*/ 828360 w 900424"/>
              <a:gd name="connsiteY75" fmla="*/ 905466 h 923534"/>
              <a:gd name="connsiteX76" fmla="*/ 849187 w 900424"/>
              <a:gd name="connsiteY76" fmla="*/ 863377 h 923534"/>
              <a:gd name="connsiteX77" fmla="*/ 849187 w 900424"/>
              <a:gd name="connsiteY77" fmla="*/ 293203 h 923534"/>
              <a:gd name="connsiteX78" fmla="*/ 655342 w 900424"/>
              <a:gd name="connsiteY78" fmla="*/ 99358 h 923534"/>
              <a:gd name="connsiteX79" fmla="*/ 284672 w 900424"/>
              <a:gd name="connsiteY79" fmla="*/ 26454 h 923534"/>
              <a:gd name="connsiteX80" fmla="*/ 306902 w 900424"/>
              <a:gd name="connsiteY80" fmla="*/ 26454 h 923534"/>
              <a:gd name="connsiteX81" fmla="*/ 312459 w 900424"/>
              <a:gd name="connsiteY81" fmla="*/ 32011 h 923534"/>
              <a:gd name="connsiteX82" fmla="*/ 312459 w 900424"/>
              <a:gd name="connsiteY82" fmla="*/ 71044 h 923534"/>
              <a:gd name="connsiteX83" fmla="*/ 341829 w 900424"/>
              <a:gd name="connsiteY83" fmla="*/ 71044 h 923534"/>
              <a:gd name="connsiteX84" fmla="*/ 341829 w 900424"/>
              <a:gd name="connsiteY84" fmla="*/ 32011 h 923534"/>
              <a:gd name="connsiteX85" fmla="*/ 347386 w 900424"/>
              <a:gd name="connsiteY85" fmla="*/ 26454 h 923534"/>
              <a:gd name="connsiteX86" fmla="*/ 369616 w 900424"/>
              <a:gd name="connsiteY86" fmla="*/ 26454 h 923534"/>
              <a:gd name="connsiteX87" fmla="*/ 375173 w 900424"/>
              <a:gd name="connsiteY87" fmla="*/ 32011 h 923534"/>
              <a:gd name="connsiteX88" fmla="*/ 375173 w 900424"/>
              <a:gd name="connsiteY88" fmla="*/ 71044 h 923534"/>
              <a:gd name="connsiteX89" fmla="*/ 404543 w 900424"/>
              <a:gd name="connsiteY89" fmla="*/ 71044 h 923534"/>
              <a:gd name="connsiteX90" fmla="*/ 404543 w 900424"/>
              <a:gd name="connsiteY90" fmla="*/ 32011 h 923534"/>
              <a:gd name="connsiteX91" fmla="*/ 410100 w 900424"/>
              <a:gd name="connsiteY91" fmla="*/ 26454 h 923534"/>
              <a:gd name="connsiteX92" fmla="*/ 432330 w 900424"/>
              <a:gd name="connsiteY92" fmla="*/ 26454 h 923534"/>
              <a:gd name="connsiteX93" fmla="*/ 437887 w 900424"/>
              <a:gd name="connsiteY93" fmla="*/ 32011 h 923534"/>
              <a:gd name="connsiteX94" fmla="*/ 437887 w 900424"/>
              <a:gd name="connsiteY94" fmla="*/ 71044 h 923534"/>
              <a:gd name="connsiteX95" fmla="*/ 467255 w 900424"/>
              <a:gd name="connsiteY95" fmla="*/ 71044 h 923534"/>
              <a:gd name="connsiteX96" fmla="*/ 467255 w 900424"/>
              <a:gd name="connsiteY96" fmla="*/ 32011 h 923534"/>
              <a:gd name="connsiteX97" fmla="*/ 472813 w 900424"/>
              <a:gd name="connsiteY97" fmla="*/ 26454 h 923534"/>
              <a:gd name="connsiteX98" fmla="*/ 495042 w 900424"/>
              <a:gd name="connsiteY98" fmla="*/ 26454 h 923534"/>
              <a:gd name="connsiteX99" fmla="*/ 500600 w 900424"/>
              <a:gd name="connsiteY99" fmla="*/ 32011 h 923534"/>
              <a:gd name="connsiteX100" fmla="*/ 500600 w 900424"/>
              <a:gd name="connsiteY100" fmla="*/ 71044 h 923534"/>
              <a:gd name="connsiteX101" fmla="*/ 606532 w 900424"/>
              <a:gd name="connsiteY101" fmla="*/ 71044 h 923534"/>
              <a:gd name="connsiteX102" fmla="*/ 833814 w 900424"/>
              <a:gd name="connsiteY102" fmla="*/ 298326 h 923534"/>
              <a:gd name="connsiteX103" fmla="*/ 833814 w 900424"/>
              <a:gd name="connsiteY103" fmla="*/ 868500 h 923534"/>
              <a:gd name="connsiteX104" fmla="*/ 778780 w 900424"/>
              <a:gd name="connsiteY104" fmla="*/ 923534 h 923534"/>
              <a:gd name="connsiteX105" fmla="*/ 239864 w 900424"/>
              <a:gd name="connsiteY105" fmla="*/ 923534 h 923534"/>
              <a:gd name="connsiteX106" fmla="*/ 184830 w 900424"/>
              <a:gd name="connsiteY106" fmla="*/ 868500 h 923534"/>
              <a:gd name="connsiteX107" fmla="*/ 184830 w 900424"/>
              <a:gd name="connsiteY107" fmla="*/ 480204 h 923534"/>
              <a:gd name="connsiteX108" fmla="*/ 108913 w 900424"/>
              <a:gd name="connsiteY108" fmla="*/ 397433 h 923534"/>
              <a:gd name="connsiteX109" fmla="*/ 110701 w 900424"/>
              <a:gd name="connsiteY109" fmla="*/ 356021 h 923534"/>
              <a:gd name="connsiteX110" fmla="*/ 184830 w 900424"/>
              <a:gd name="connsiteY110" fmla="*/ 288031 h 923534"/>
              <a:gd name="connsiteX111" fmla="*/ 184830 w 900424"/>
              <a:gd name="connsiteY111" fmla="*/ 255689 h 923534"/>
              <a:gd name="connsiteX112" fmla="*/ 182259 w 900424"/>
              <a:gd name="connsiteY112" fmla="*/ 258049 h 923534"/>
              <a:gd name="connsiteX113" fmla="*/ 181841 w 900424"/>
              <a:gd name="connsiteY113" fmla="*/ 251257 h 923534"/>
              <a:gd name="connsiteX114" fmla="*/ 140694 w 900424"/>
              <a:gd name="connsiteY114" fmla="*/ 206396 h 923534"/>
              <a:gd name="connsiteX115" fmla="*/ 121321 w 900424"/>
              <a:gd name="connsiteY115" fmla="*/ 203511 h 923534"/>
              <a:gd name="connsiteX116" fmla="*/ 42515 w 900424"/>
              <a:gd name="connsiteY116" fmla="*/ 275789 h 923534"/>
              <a:gd name="connsiteX117" fmla="*/ 43718 w 900424"/>
              <a:gd name="connsiteY117" fmla="*/ 295339 h 923534"/>
              <a:gd name="connsiteX118" fmla="*/ 84866 w 900424"/>
              <a:gd name="connsiteY118" fmla="*/ 340201 h 923534"/>
              <a:gd name="connsiteX119" fmla="*/ 91596 w 900424"/>
              <a:gd name="connsiteY119" fmla="*/ 341203 h 923534"/>
              <a:gd name="connsiteX120" fmla="*/ 83614 w 900424"/>
              <a:gd name="connsiteY120" fmla="*/ 348524 h 923534"/>
              <a:gd name="connsiteX121" fmla="*/ 60335 w 900424"/>
              <a:gd name="connsiteY121" fmla="*/ 347519 h 923534"/>
              <a:gd name="connsiteX122" fmla="*/ 15793 w 900424"/>
              <a:gd name="connsiteY122" fmla="*/ 298955 h 923534"/>
              <a:gd name="connsiteX123" fmla="*/ 16799 w 900424"/>
              <a:gd name="connsiteY123" fmla="*/ 275676 h 923534"/>
              <a:gd name="connsiteX124" fmla="*/ 122114 w 900424"/>
              <a:gd name="connsiteY124" fmla="*/ 179082 h 923534"/>
              <a:gd name="connsiteX125" fmla="*/ 145393 w 900424"/>
              <a:gd name="connsiteY125" fmla="*/ 180087 h 923534"/>
              <a:gd name="connsiteX126" fmla="*/ 184830 w 900424"/>
              <a:gd name="connsiteY126" fmla="*/ 223084 h 923534"/>
              <a:gd name="connsiteX127" fmla="*/ 184830 w 900424"/>
              <a:gd name="connsiteY127" fmla="*/ 126079 h 923534"/>
              <a:gd name="connsiteX128" fmla="*/ 239864 w 900424"/>
              <a:gd name="connsiteY128" fmla="*/ 71044 h 923534"/>
              <a:gd name="connsiteX129" fmla="*/ 279115 w 900424"/>
              <a:gd name="connsiteY129" fmla="*/ 71044 h 923534"/>
              <a:gd name="connsiteX130" fmla="*/ 279115 w 900424"/>
              <a:gd name="connsiteY130" fmla="*/ 32011 h 923534"/>
              <a:gd name="connsiteX131" fmla="*/ 284672 w 900424"/>
              <a:gd name="connsiteY131" fmla="*/ 26454 h 923534"/>
              <a:gd name="connsiteX132" fmla="*/ 177009 w 900424"/>
              <a:gd name="connsiteY132" fmla="*/ 4436 h 923534"/>
              <a:gd name="connsiteX133" fmla="*/ 185239 w 900424"/>
              <a:gd name="connsiteY133" fmla="*/ 0 h 923534"/>
              <a:gd name="connsiteX134" fmla="*/ 177024 w 900424"/>
              <a:gd name="connsiteY134" fmla="*/ 4459 h 923534"/>
              <a:gd name="connsiteX135" fmla="*/ 69385 w 900424"/>
              <a:gd name="connsiteY135" fmla="*/ 97673 h 923534"/>
              <a:gd name="connsiteX136" fmla="*/ 0 w 900424"/>
              <a:gd name="connsiteY136" fmla="*/ 195309 h 923534"/>
              <a:gd name="connsiteX137" fmla="*/ 0 w 900424"/>
              <a:gd name="connsiteY137" fmla="*/ 195263 h 923534"/>
              <a:gd name="connsiteX138" fmla="*/ 69366 w 900424"/>
              <a:gd name="connsiteY138" fmla="*/ 97655 h 923534"/>
              <a:gd name="connsiteX139" fmla="*/ 177009 w 900424"/>
              <a:gd name="connsiteY139" fmla="*/ 4436 h 923534"/>
              <a:gd name="connsiteX0" fmla="*/ 260828 w 900424"/>
              <a:gd name="connsiteY0" fmla="*/ 764558 h 923534"/>
              <a:gd name="connsiteX1" fmla="*/ 260828 w 900424"/>
              <a:gd name="connsiteY1" fmla="*/ 794070 h 923534"/>
              <a:gd name="connsiteX2" fmla="*/ 752690 w 900424"/>
              <a:gd name="connsiteY2" fmla="*/ 794070 h 923534"/>
              <a:gd name="connsiteX3" fmla="*/ 752690 w 900424"/>
              <a:gd name="connsiteY3" fmla="*/ 764558 h 923534"/>
              <a:gd name="connsiteX4" fmla="*/ 260828 w 900424"/>
              <a:gd name="connsiteY4" fmla="*/ 764558 h 923534"/>
              <a:gd name="connsiteX5" fmla="*/ 523025 w 900424"/>
              <a:gd name="connsiteY5" fmla="*/ 689243 h 923534"/>
              <a:gd name="connsiteX6" fmla="*/ 529392 w 900424"/>
              <a:gd name="connsiteY6" fmla="*/ 718755 h 923534"/>
              <a:gd name="connsiteX7" fmla="*/ 752690 w 900424"/>
              <a:gd name="connsiteY7" fmla="*/ 718755 h 923534"/>
              <a:gd name="connsiteX8" fmla="*/ 752690 w 900424"/>
              <a:gd name="connsiteY8" fmla="*/ 689243 h 923534"/>
              <a:gd name="connsiteX9" fmla="*/ 523025 w 900424"/>
              <a:gd name="connsiteY9" fmla="*/ 689243 h 923534"/>
              <a:gd name="connsiteX10" fmla="*/ 260828 w 900424"/>
              <a:gd name="connsiteY10" fmla="*/ 689243 h 923534"/>
              <a:gd name="connsiteX11" fmla="*/ 260828 w 900424"/>
              <a:gd name="connsiteY11" fmla="*/ 718755 h 923534"/>
              <a:gd name="connsiteX12" fmla="*/ 520342 w 900424"/>
              <a:gd name="connsiteY12" fmla="*/ 718755 h 923534"/>
              <a:gd name="connsiteX13" fmla="*/ 427300 w 900424"/>
              <a:gd name="connsiteY13" fmla="*/ 689243 h 923534"/>
              <a:gd name="connsiteX14" fmla="*/ 260828 w 900424"/>
              <a:gd name="connsiteY14" fmla="*/ 689243 h 923534"/>
              <a:gd name="connsiteX15" fmla="*/ 506777 w 900424"/>
              <a:gd name="connsiteY15" fmla="*/ 613925 h 923534"/>
              <a:gd name="connsiteX16" fmla="*/ 513144 w 900424"/>
              <a:gd name="connsiteY16" fmla="*/ 643437 h 923534"/>
              <a:gd name="connsiteX17" fmla="*/ 752690 w 900424"/>
              <a:gd name="connsiteY17" fmla="*/ 643437 h 923534"/>
              <a:gd name="connsiteX18" fmla="*/ 752690 w 900424"/>
              <a:gd name="connsiteY18" fmla="*/ 613925 h 923534"/>
              <a:gd name="connsiteX19" fmla="*/ 506777 w 900424"/>
              <a:gd name="connsiteY19" fmla="*/ 613925 h 923534"/>
              <a:gd name="connsiteX20" fmla="*/ 260828 w 900424"/>
              <a:gd name="connsiteY20" fmla="*/ 613925 h 923534"/>
              <a:gd name="connsiteX21" fmla="*/ 260828 w 900424"/>
              <a:gd name="connsiteY21" fmla="*/ 643437 h 923534"/>
              <a:gd name="connsiteX22" fmla="*/ 334546 w 900424"/>
              <a:gd name="connsiteY22" fmla="*/ 643437 h 923534"/>
              <a:gd name="connsiteX23" fmla="*/ 307478 w 900424"/>
              <a:gd name="connsiteY23" fmla="*/ 613925 h 923534"/>
              <a:gd name="connsiteX24" fmla="*/ 260828 w 900424"/>
              <a:gd name="connsiteY24" fmla="*/ 613925 h 923534"/>
              <a:gd name="connsiteX25" fmla="*/ 467940 w 900424"/>
              <a:gd name="connsiteY25" fmla="*/ 571317 h 923534"/>
              <a:gd name="connsiteX26" fmla="*/ 385032 w 900424"/>
              <a:gd name="connsiteY26" fmla="*/ 646579 h 923534"/>
              <a:gd name="connsiteX27" fmla="*/ 506739 w 900424"/>
              <a:gd name="connsiteY27" fmla="*/ 697043 h 923534"/>
              <a:gd name="connsiteX28" fmla="*/ 467940 w 900424"/>
              <a:gd name="connsiteY28" fmla="*/ 571317 h 923534"/>
              <a:gd name="connsiteX29" fmla="*/ 260828 w 900424"/>
              <a:gd name="connsiteY29" fmla="*/ 563064 h 923534"/>
              <a:gd name="connsiteX30" fmla="*/ 260828 w 900424"/>
              <a:gd name="connsiteY30" fmla="*/ 568120 h 923534"/>
              <a:gd name="connsiteX31" fmla="*/ 265465 w 900424"/>
              <a:gd name="connsiteY31" fmla="*/ 568120 h 923534"/>
              <a:gd name="connsiteX32" fmla="*/ 260828 w 900424"/>
              <a:gd name="connsiteY32" fmla="*/ 563064 h 923534"/>
              <a:gd name="connsiteX33" fmla="*/ 477023 w 900424"/>
              <a:gd name="connsiteY33" fmla="*/ 538609 h 923534"/>
              <a:gd name="connsiteX34" fmla="*/ 477810 w 900424"/>
              <a:gd name="connsiteY34" fmla="*/ 539466 h 923534"/>
              <a:gd name="connsiteX35" fmla="*/ 481962 w 900424"/>
              <a:gd name="connsiteY35" fmla="*/ 568120 h 923534"/>
              <a:gd name="connsiteX36" fmla="*/ 752690 w 900424"/>
              <a:gd name="connsiteY36" fmla="*/ 568120 h 923534"/>
              <a:gd name="connsiteX37" fmla="*/ 752690 w 900424"/>
              <a:gd name="connsiteY37" fmla="*/ 538609 h 923534"/>
              <a:gd name="connsiteX38" fmla="*/ 477023 w 900424"/>
              <a:gd name="connsiteY38" fmla="*/ 538609 h 923534"/>
              <a:gd name="connsiteX39" fmla="*/ 407941 w 900424"/>
              <a:gd name="connsiteY39" fmla="*/ 463291 h 923534"/>
              <a:gd name="connsiteX40" fmla="*/ 435010 w 900424"/>
              <a:gd name="connsiteY40" fmla="*/ 492803 h 923534"/>
              <a:gd name="connsiteX41" fmla="*/ 752690 w 900424"/>
              <a:gd name="connsiteY41" fmla="*/ 492803 h 923534"/>
              <a:gd name="connsiteX42" fmla="*/ 752690 w 900424"/>
              <a:gd name="connsiteY42" fmla="*/ 463291 h 923534"/>
              <a:gd name="connsiteX43" fmla="*/ 407941 w 900424"/>
              <a:gd name="connsiteY43" fmla="*/ 463291 h 923534"/>
              <a:gd name="connsiteX44" fmla="*/ 338860 w 900424"/>
              <a:gd name="connsiteY44" fmla="*/ 387973 h 923534"/>
              <a:gd name="connsiteX45" fmla="*/ 365929 w 900424"/>
              <a:gd name="connsiteY45" fmla="*/ 417485 h 923534"/>
              <a:gd name="connsiteX46" fmla="*/ 752690 w 900424"/>
              <a:gd name="connsiteY46" fmla="*/ 417485 h 923534"/>
              <a:gd name="connsiteX47" fmla="*/ 752690 w 900424"/>
              <a:gd name="connsiteY47" fmla="*/ 387973 h 923534"/>
              <a:gd name="connsiteX48" fmla="*/ 338860 w 900424"/>
              <a:gd name="connsiteY48" fmla="*/ 387973 h 923534"/>
              <a:gd name="connsiteX49" fmla="*/ 208773 w 900424"/>
              <a:gd name="connsiteY49" fmla="*/ 287844 h 923534"/>
              <a:gd name="connsiteX50" fmla="*/ 191984 w 900424"/>
              <a:gd name="connsiteY50" fmla="*/ 292482 h 923534"/>
              <a:gd name="connsiteX51" fmla="*/ 127335 w 900424"/>
              <a:gd name="connsiteY51" fmla="*/ 351778 h 923534"/>
              <a:gd name="connsiteX52" fmla="*/ 129474 w 900424"/>
              <a:gd name="connsiteY52" fmla="*/ 386557 h 923534"/>
              <a:gd name="connsiteX53" fmla="*/ 350534 w 900424"/>
              <a:gd name="connsiteY53" fmla="*/ 627573 h 923534"/>
              <a:gd name="connsiteX54" fmla="*/ 384998 w 900424"/>
              <a:gd name="connsiteY54" fmla="*/ 632703 h 923534"/>
              <a:gd name="connsiteX55" fmla="*/ 449647 w 900424"/>
              <a:gd name="connsiteY55" fmla="*/ 573407 h 923534"/>
              <a:gd name="connsiteX56" fmla="*/ 447509 w 900424"/>
              <a:gd name="connsiteY56" fmla="*/ 538629 h 923534"/>
              <a:gd name="connsiteX57" fmla="*/ 226448 w 900424"/>
              <a:gd name="connsiteY57" fmla="*/ 297612 h 923534"/>
              <a:gd name="connsiteX58" fmla="*/ 208773 w 900424"/>
              <a:gd name="connsiteY58" fmla="*/ 287844 h 923534"/>
              <a:gd name="connsiteX59" fmla="*/ 260828 w 900424"/>
              <a:gd name="connsiteY59" fmla="*/ 270130 h 923534"/>
              <a:gd name="connsiteX60" fmla="*/ 260828 w 900424"/>
              <a:gd name="connsiteY60" fmla="*/ 302896 h 923534"/>
              <a:gd name="connsiteX61" fmla="*/ 266867 w 900424"/>
              <a:gd name="connsiteY61" fmla="*/ 309479 h 923534"/>
              <a:gd name="connsiteX62" fmla="*/ 555945 w 900424"/>
              <a:gd name="connsiteY62" fmla="*/ 309479 h 923534"/>
              <a:gd name="connsiteX63" fmla="*/ 555945 w 900424"/>
              <a:gd name="connsiteY63" fmla="*/ 270130 h 923534"/>
              <a:gd name="connsiteX64" fmla="*/ 260828 w 900424"/>
              <a:gd name="connsiteY64" fmla="*/ 270130 h 923534"/>
              <a:gd name="connsiteX65" fmla="*/ 593007 w 900424"/>
              <a:gd name="connsiteY65" fmla="*/ 118999 h 923534"/>
              <a:gd name="connsiteX66" fmla="*/ 593004 w 900424"/>
              <a:gd name="connsiteY66" fmla="*/ 272708 h 923534"/>
              <a:gd name="connsiteX67" fmla="*/ 636152 w 900424"/>
              <a:gd name="connsiteY67" fmla="*/ 321246 h 923534"/>
              <a:gd name="connsiteX68" fmla="*/ 797949 w 900424"/>
              <a:gd name="connsiteY68" fmla="*/ 323942 h 923534"/>
              <a:gd name="connsiteX69" fmla="*/ 593007 w 900424"/>
              <a:gd name="connsiteY69" fmla="*/ 118999 h 923534"/>
              <a:gd name="connsiteX70" fmla="*/ 655342 w 900424"/>
              <a:gd name="connsiteY70" fmla="*/ 99358 h 923534"/>
              <a:gd name="connsiteX71" fmla="*/ 721150 w 900424"/>
              <a:gd name="connsiteY71" fmla="*/ 99358 h 923534"/>
              <a:gd name="connsiteX72" fmla="*/ 900424 w 900424"/>
              <a:gd name="connsiteY72" fmla="*/ 280970 h 923534"/>
              <a:gd name="connsiteX73" fmla="*/ 900424 w 900424"/>
              <a:gd name="connsiteY73" fmla="*/ 853426 h 923534"/>
              <a:gd name="connsiteX74" fmla="*/ 852052 w 900424"/>
              <a:gd name="connsiteY74" fmla="*/ 905466 h 923534"/>
              <a:gd name="connsiteX75" fmla="*/ 828360 w 900424"/>
              <a:gd name="connsiteY75" fmla="*/ 905466 h 923534"/>
              <a:gd name="connsiteX76" fmla="*/ 849187 w 900424"/>
              <a:gd name="connsiteY76" fmla="*/ 863377 h 923534"/>
              <a:gd name="connsiteX77" fmla="*/ 849187 w 900424"/>
              <a:gd name="connsiteY77" fmla="*/ 293203 h 923534"/>
              <a:gd name="connsiteX78" fmla="*/ 655342 w 900424"/>
              <a:gd name="connsiteY78" fmla="*/ 99358 h 923534"/>
              <a:gd name="connsiteX79" fmla="*/ 284672 w 900424"/>
              <a:gd name="connsiteY79" fmla="*/ 26454 h 923534"/>
              <a:gd name="connsiteX80" fmla="*/ 306902 w 900424"/>
              <a:gd name="connsiteY80" fmla="*/ 26454 h 923534"/>
              <a:gd name="connsiteX81" fmla="*/ 312459 w 900424"/>
              <a:gd name="connsiteY81" fmla="*/ 32011 h 923534"/>
              <a:gd name="connsiteX82" fmla="*/ 312459 w 900424"/>
              <a:gd name="connsiteY82" fmla="*/ 71044 h 923534"/>
              <a:gd name="connsiteX83" fmla="*/ 341829 w 900424"/>
              <a:gd name="connsiteY83" fmla="*/ 71044 h 923534"/>
              <a:gd name="connsiteX84" fmla="*/ 341829 w 900424"/>
              <a:gd name="connsiteY84" fmla="*/ 32011 h 923534"/>
              <a:gd name="connsiteX85" fmla="*/ 347386 w 900424"/>
              <a:gd name="connsiteY85" fmla="*/ 26454 h 923534"/>
              <a:gd name="connsiteX86" fmla="*/ 369616 w 900424"/>
              <a:gd name="connsiteY86" fmla="*/ 26454 h 923534"/>
              <a:gd name="connsiteX87" fmla="*/ 375173 w 900424"/>
              <a:gd name="connsiteY87" fmla="*/ 32011 h 923534"/>
              <a:gd name="connsiteX88" fmla="*/ 375173 w 900424"/>
              <a:gd name="connsiteY88" fmla="*/ 71044 h 923534"/>
              <a:gd name="connsiteX89" fmla="*/ 404543 w 900424"/>
              <a:gd name="connsiteY89" fmla="*/ 71044 h 923534"/>
              <a:gd name="connsiteX90" fmla="*/ 404543 w 900424"/>
              <a:gd name="connsiteY90" fmla="*/ 32011 h 923534"/>
              <a:gd name="connsiteX91" fmla="*/ 410100 w 900424"/>
              <a:gd name="connsiteY91" fmla="*/ 26454 h 923534"/>
              <a:gd name="connsiteX92" fmla="*/ 432330 w 900424"/>
              <a:gd name="connsiteY92" fmla="*/ 26454 h 923534"/>
              <a:gd name="connsiteX93" fmla="*/ 437887 w 900424"/>
              <a:gd name="connsiteY93" fmla="*/ 32011 h 923534"/>
              <a:gd name="connsiteX94" fmla="*/ 437887 w 900424"/>
              <a:gd name="connsiteY94" fmla="*/ 71044 h 923534"/>
              <a:gd name="connsiteX95" fmla="*/ 467255 w 900424"/>
              <a:gd name="connsiteY95" fmla="*/ 71044 h 923534"/>
              <a:gd name="connsiteX96" fmla="*/ 467255 w 900424"/>
              <a:gd name="connsiteY96" fmla="*/ 32011 h 923534"/>
              <a:gd name="connsiteX97" fmla="*/ 472813 w 900424"/>
              <a:gd name="connsiteY97" fmla="*/ 26454 h 923534"/>
              <a:gd name="connsiteX98" fmla="*/ 495042 w 900424"/>
              <a:gd name="connsiteY98" fmla="*/ 26454 h 923534"/>
              <a:gd name="connsiteX99" fmla="*/ 500600 w 900424"/>
              <a:gd name="connsiteY99" fmla="*/ 32011 h 923534"/>
              <a:gd name="connsiteX100" fmla="*/ 500600 w 900424"/>
              <a:gd name="connsiteY100" fmla="*/ 71044 h 923534"/>
              <a:gd name="connsiteX101" fmla="*/ 606532 w 900424"/>
              <a:gd name="connsiteY101" fmla="*/ 71044 h 923534"/>
              <a:gd name="connsiteX102" fmla="*/ 833814 w 900424"/>
              <a:gd name="connsiteY102" fmla="*/ 298326 h 923534"/>
              <a:gd name="connsiteX103" fmla="*/ 833814 w 900424"/>
              <a:gd name="connsiteY103" fmla="*/ 868500 h 923534"/>
              <a:gd name="connsiteX104" fmla="*/ 778780 w 900424"/>
              <a:gd name="connsiteY104" fmla="*/ 923534 h 923534"/>
              <a:gd name="connsiteX105" fmla="*/ 239864 w 900424"/>
              <a:gd name="connsiteY105" fmla="*/ 923534 h 923534"/>
              <a:gd name="connsiteX106" fmla="*/ 184830 w 900424"/>
              <a:gd name="connsiteY106" fmla="*/ 868500 h 923534"/>
              <a:gd name="connsiteX107" fmla="*/ 184830 w 900424"/>
              <a:gd name="connsiteY107" fmla="*/ 480204 h 923534"/>
              <a:gd name="connsiteX108" fmla="*/ 108913 w 900424"/>
              <a:gd name="connsiteY108" fmla="*/ 397433 h 923534"/>
              <a:gd name="connsiteX109" fmla="*/ 110701 w 900424"/>
              <a:gd name="connsiteY109" fmla="*/ 356021 h 923534"/>
              <a:gd name="connsiteX110" fmla="*/ 184830 w 900424"/>
              <a:gd name="connsiteY110" fmla="*/ 288031 h 923534"/>
              <a:gd name="connsiteX111" fmla="*/ 184830 w 900424"/>
              <a:gd name="connsiteY111" fmla="*/ 255689 h 923534"/>
              <a:gd name="connsiteX112" fmla="*/ 182259 w 900424"/>
              <a:gd name="connsiteY112" fmla="*/ 258049 h 923534"/>
              <a:gd name="connsiteX113" fmla="*/ 181841 w 900424"/>
              <a:gd name="connsiteY113" fmla="*/ 251257 h 923534"/>
              <a:gd name="connsiteX114" fmla="*/ 140694 w 900424"/>
              <a:gd name="connsiteY114" fmla="*/ 206396 h 923534"/>
              <a:gd name="connsiteX115" fmla="*/ 121321 w 900424"/>
              <a:gd name="connsiteY115" fmla="*/ 203511 h 923534"/>
              <a:gd name="connsiteX116" fmla="*/ 42515 w 900424"/>
              <a:gd name="connsiteY116" fmla="*/ 275789 h 923534"/>
              <a:gd name="connsiteX117" fmla="*/ 43718 w 900424"/>
              <a:gd name="connsiteY117" fmla="*/ 295339 h 923534"/>
              <a:gd name="connsiteX118" fmla="*/ 84866 w 900424"/>
              <a:gd name="connsiteY118" fmla="*/ 340201 h 923534"/>
              <a:gd name="connsiteX119" fmla="*/ 91596 w 900424"/>
              <a:gd name="connsiteY119" fmla="*/ 341203 h 923534"/>
              <a:gd name="connsiteX120" fmla="*/ 83614 w 900424"/>
              <a:gd name="connsiteY120" fmla="*/ 348524 h 923534"/>
              <a:gd name="connsiteX121" fmla="*/ 60335 w 900424"/>
              <a:gd name="connsiteY121" fmla="*/ 347519 h 923534"/>
              <a:gd name="connsiteX122" fmla="*/ 15793 w 900424"/>
              <a:gd name="connsiteY122" fmla="*/ 298955 h 923534"/>
              <a:gd name="connsiteX123" fmla="*/ 16799 w 900424"/>
              <a:gd name="connsiteY123" fmla="*/ 275676 h 923534"/>
              <a:gd name="connsiteX124" fmla="*/ 122114 w 900424"/>
              <a:gd name="connsiteY124" fmla="*/ 179082 h 923534"/>
              <a:gd name="connsiteX125" fmla="*/ 145393 w 900424"/>
              <a:gd name="connsiteY125" fmla="*/ 180087 h 923534"/>
              <a:gd name="connsiteX126" fmla="*/ 184830 w 900424"/>
              <a:gd name="connsiteY126" fmla="*/ 223084 h 923534"/>
              <a:gd name="connsiteX127" fmla="*/ 184830 w 900424"/>
              <a:gd name="connsiteY127" fmla="*/ 126079 h 923534"/>
              <a:gd name="connsiteX128" fmla="*/ 239864 w 900424"/>
              <a:gd name="connsiteY128" fmla="*/ 71044 h 923534"/>
              <a:gd name="connsiteX129" fmla="*/ 279115 w 900424"/>
              <a:gd name="connsiteY129" fmla="*/ 71044 h 923534"/>
              <a:gd name="connsiteX130" fmla="*/ 279115 w 900424"/>
              <a:gd name="connsiteY130" fmla="*/ 32011 h 923534"/>
              <a:gd name="connsiteX131" fmla="*/ 284672 w 900424"/>
              <a:gd name="connsiteY131" fmla="*/ 26454 h 923534"/>
              <a:gd name="connsiteX132" fmla="*/ 69366 w 900424"/>
              <a:gd name="connsiteY132" fmla="*/ 97655 h 923534"/>
              <a:gd name="connsiteX133" fmla="*/ 185239 w 900424"/>
              <a:gd name="connsiteY133" fmla="*/ 0 h 923534"/>
              <a:gd name="connsiteX134" fmla="*/ 177024 w 900424"/>
              <a:gd name="connsiteY134" fmla="*/ 4459 h 923534"/>
              <a:gd name="connsiteX135" fmla="*/ 69385 w 900424"/>
              <a:gd name="connsiteY135" fmla="*/ 97673 h 923534"/>
              <a:gd name="connsiteX136" fmla="*/ 0 w 900424"/>
              <a:gd name="connsiteY136" fmla="*/ 195309 h 923534"/>
              <a:gd name="connsiteX137" fmla="*/ 0 w 900424"/>
              <a:gd name="connsiteY137" fmla="*/ 195263 h 923534"/>
              <a:gd name="connsiteX138" fmla="*/ 69366 w 900424"/>
              <a:gd name="connsiteY138" fmla="*/ 97655 h 923534"/>
              <a:gd name="connsiteX0" fmla="*/ 260828 w 900424"/>
              <a:gd name="connsiteY0" fmla="*/ 764558 h 923534"/>
              <a:gd name="connsiteX1" fmla="*/ 260828 w 900424"/>
              <a:gd name="connsiteY1" fmla="*/ 794070 h 923534"/>
              <a:gd name="connsiteX2" fmla="*/ 752690 w 900424"/>
              <a:gd name="connsiteY2" fmla="*/ 794070 h 923534"/>
              <a:gd name="connsiteX3" fmla="*/ 752690 w 900424"/>
              <a:gd name="connsiteY3" fmla="*/ 764558 h 923534"/>
              <a:gd name="connsiteX4" fmla="*/ 260828 w 900424"/>
              <a:gd name="connsiteY4" fmla="*/ 764558 h 923534"/>
              <a:gd name="connsiteX5" fmla="*/ 523025 w 900424"/>
              <a:gd name="connsiteY5" fmla="*/ 689243 h 923534"/>
              <a:gd name="connsiteX6" fmla="*/ 529392 w 900424"/>
              <a:gd name="connsiteY6" fmla="*/ 718755 h 923534"/>
              <a:gd name="connsiteX7" fmla="*/ 752690 w 900424"/>
              <a:gd name="connsiteY7" fmla="*/ 718755 h 923534"/>
              <a:gd name="connsiteX8" fmla="*/ 752690 w 900424"/>
              <a:gd name="connsiteY8" fmla="*/ 689243 h 923534"/>
              <a:gd name="connsiteX9" fmla="*/ 523025 w 900424"/>
              <a:gd name="connsiteY9" fmla="*/ 689243 h 923534"/>
              <a:gd name="connsiteX10" fmla="*/ 260828 w 900424"/>
              <a:gd name="connsiteY10" fmla="*/ 689243 h 923534"/>
              <a:gd name="connsiteX11" fmla="*/ 260828 w 900424"/>
              <a:gd name="connsiteY11" fmla="*/ 718755 h 923534"/>
              <a:gd name="connsiteX12" fmla="*/ 520342 w 900424"/>
              <a:gd name="connsiteY12" fmla="*/ 718755 h 923534"/>
              <a:gd name="connsiteX13" fmla="*/ 427300 w 900424"/>
              <a:gd name="connsiteY13" fmla="*/ 689243 h 923534"/>
              <a:gd name="connsiteX14" fmla="*/ 260828 w 900424"/>
              <a:gd name="connsiteY14" fmla="*/ 689243 h 923534"/>
              <a:gd name="connsiteX15" fmla="*/ 506777 w 900424"/>
              <a:gd name="connsiteY15" fmla="*/ 613925 h 923534"/>
              <a:gd name="connsiteX16" fmla="*/ 513144 w 900424"/>
              <a:gd name="connsiteY16" fmla="*/ 643437 h 923534"/>
              <a:gd name="connsiteX17" fmla="*/ 752690 w 900424"/>
              <a:gd name="connsiteY17" fmla="*/ 643437 h 923534"/>
              <a:gd name="connsiteX18" fmla="*/ 752690 w 900424"/>
              <a:gd name="connsiteY18" fmla="*/ 613925 h 923534"/>
              <a:gd name="connsiteX19" fmla="*/ 506777 w 900424"/>
              <a:gd name="connsiteY19" fmla="*/ 613925 h 923534"/>
              <a:gd name="connsiteX20" fmla="*/ 260828 w 900424"/>
              <a:gd name="connsiteY20" fmla="*/ 613925 h 923534"/>
              <a:gd name="connsiteX21" fmla="*/ 260828 w 900424"/>
              <a:gd name="connsiteY21" fmla="*/ 643437 h 923534"/>
              <a:gd name="connsiteX22" fmla="*/ 334546 w 900424"/>
              <a:gd name="connsiteY22" fmla="*/ 643437 h 923534"/>
              <a:gd name="connsiteX23" fmla="*/ 307478 w 900424"/>
              <a:gd name="connsiteY23" fmla="*/ 613925 h 923534"/>
              <a:gd name="connsiteX24" fmla="*/ 260828 w 900424"/>
              <a:gd name="connsiteY24" fmla="*/ 613925 h 923534"/>
              <a:gd name="connsiteX25" fmla="*/ 467940 w 900424"/>
              <a:gd name="connsiteY25" fmla="*/ 571317 h 923534"/>
              <a:gd name="connsiteX26" fmla="*/ 385032 w 900424"/>
              <a:gd name="connsiteY26" fmla="*/ 646579 h 923534"/>
              <a:gd name="connsiteX27" fmla="*/ 506739 w 900424"/>
              <a:gd name="connsiteY27" fmla="*/ 697043 h 923534"/>
              <a:gd name="connsiteX28" fmla="*/ 467940 w 900424"/>
              <a:gd name="connsiteY28" fmla="*/ 571317 h 923534"/>
              <a:gd name="connsiteX29" fmla="*/ 260828 w 900424"/>
              <a:gd name="connsiteY29" fmla="*/ 563064 h 923534"/>
              <a:gd name="connsiteX30" fmla="*/ 260828 w 900424"/>
              <a:gd name="connsiteY30" fmla="*/ 568120 h 923534"/>
              <a:gd name="connsiteX31" fmla="*/ 265465 w 900424"/>
              <a:gd name="connsiteY31" fmla="*/ 568120 h 923534"/>
              <a:gd name="connsiteX32" fmla="*/ 260828 w 900424"/>
              <a:gd name="connsiteY32" fmla="*/ 563064 h 923534"/>
              <a:gd name="connsiteX33" fmla="*/ 477023 w 900424"/>
              <a:gd name="connsiteY33" fmla="*/ 538609 h 923534"/>
              <a:gd name="connsiteX34" fmla="*/ 477810 w 900424"/>
              <a:gd name="connsiteY34" fmla="*/ 539466 h 923534"/>
              <a:gd name="connsiteX35" fmla="*/ 481962 w 900424"/>
              <a:gd name="connsiteY35" fmla="*/ 568120 h 923534"/>
              <a:gd name="connsiteX36" fmla="*/ 752690 w 900424"/>
              <a:gd name="connsiteY36" fmla="*/ 568120 h 923534"/>
              <a:gd name="connsiteX37" fmla="*/ 752690 w 900424"/>
              <a:gd name="connsiteY37" fmla="*/ 538609 h 923534"/>
              <a:gd name="connsiteX38" fmla="*/ 477023 w 900424"/>
              <a:gd name="connsiteY38" fmla="*/ 538609 h 923534"/>
              <a:gd name="connsiteX39" fmla="*/ 407941 w 900424"/>
              <a:gd name="connsiteY39" fmla="*/ 463291 h 923534"/>
              <a:gd name="connsiteX40" fmla="*/ 435010 w 900424"/>
              <a:gd name="connsiteY40" fmla="*/ 492803 h 923534"/>
              <a:gd name="connsiteX41" fmla="*/ 752690 w 900424"/>
              <a:gd name="connsiteY41" fmla="*/ 492803 h 923534"/>
              <a:gd name="connsiteX42" fmla="*/ 752690 w 900424"/>
              <a:gd name="connsiteY42" fmla="*/ 463291 h 923534"/>
              <a:gd name="connsiteX43" fmla="*/ 407941 w 900424"/>
              <a:gd name="connsiteY43" fmla="*/ 463291 h 923534"/>
              <a:gd name="connsiteX44" fmla="*/ 338860 w 900424"/>
              <a:gd name="connsiteY44" fmla="*/ 387973 h 923534"/>
              <a:gd name="connsiteX45" fmla="*/ 365929 w 900424"/>
              <a:gd name="connsiteY45" fmla="*/ 417485 h 923534"/>
              <a:gd name="connsiteX46" fmla="*/ 752690 w 900424"/>
              <a:gd name="connsiteY46" fmla="*/ 417485 h 923534"/>
              <a:gd name="connsiteX47" fmla="*/ 752690 w 900424"/>
              <a:gd name="connsiteY47" fmla="*/ 387973 h 923534"/>
              <a:gd name="connsiteX48" fmla="*/ 338860 w 900424"/>
              <a:gd name="connsiteY48" fmla="*/ 387973 h 923534"/>
              <a:gd name="connsiteX49" fmla="*/ 208773 w 900424"/>
              <a:gd name="connsiteY49" fmla="*/ 287844 h 923534"/>
              <a:gd name="connsiteX50" fmla="*/ 191984 w 900424"/>
              <a:gd name="connsiteY50" fmla="*/ 292482 h 923534"/>
              <a:gd name="connsiteX51" fmla="*/ 127335 w 900424"/>
              <a:gd name="connsiteY51" fmla="*/ 351778 h 923534"/>
              <a:gd name="connsiteX52" fmla="*/ 129474 w 900424"/>
              <a:gd name="connsiteY52" fmla="*/ 386557 h 923534"/>
              <a:gd name="connsiteX53" fmla="*/ 350534 w 900424"/>
              <a:gd name="connsiteY53" fmla="*/ 627573 h 923534"/>
              <a:gd name="connsiteX54" fmla="*/ 384998 w 900424"/>
              <a:gd name="connsiteY54" fmla="*/ 632703 h 923534"/>
              <a:gd name="connsiteX55" fmla="*/ 449647 w 900424"/>
              <a:gd name="connsiteY55" fmla="*/ 573407 h 923534"/>
              <a:gd name="connsiteX56" fmla="*/ 447509 w 900424"/>
              <a:gd name="connsiteY56" fmla="*/ 538629 h 923534"/>
              <a:gd name="connsiteX57" fmla="*/ 226448 w 900424"/>
              <a:gd name="connsiteY57" fmla="*/ 297612 h 923534"/>
              <a:gd name="connsiteX58" fmla="*/ 208773 w 900424"/>
              <a:gd name="connsiteY58" fmla="*/ 287844 h 923534"/>
              <a:gd name="connsiteX59" fmla="*/ 260828 w 900424"/>
              <a:gd name="connsiteY59" fmla="*/ 270130 h 923534"/>
              <a:gd name="connsiteX60" fmla="*/ 260828 w 900424"/>
              <a:gd name="connsiteY60" fmla="*/ 302896 h 923534"/>
              <a:gd name="connsiteX61" fmla="*/ 266867 w 900424"/>
              <a:gd name="connsiteY61" fmla="*/ 309479 h 923534"/>
              <a:gd name="connsiteX62" fmla="*/ 555945 w 900424"/>
              <a:gd name="connsiteY62" fmla="*/ 309479 h 923534"/>
              <a:gd name="connsiteX63" fmla="*/ 555945 w 900424"/>
              <a:gd name="connsiteY63" fmla="*/ 270130 h 923534"/>
              <a:gd name="connsiteX64" fmla="*/ 260828 w 900424"/>
              <a:gd name="connsiteY64" fmla="*/ 270130 h 923534"/>
              <a:gd name="connsiteX65" fmla="*/ 593007 w 900424"/>
              <a:gd name="connsiteY65" fmla="*/ 118999 h 923534"/>
              <a:gd name="connsiteX66" fmla="*/ 593004 w 900424"/>
              <a:gd name="connsiteY66" fmla="*/ 272708 h 923534"/>
              <a:gd name="connsiteX67" fmla="*/ 636152 w 900424"/>
              <a:gd name="connsiteY67" fmla="*/ 321246 h 923534"/>
              <a:gd name="connsiteX68" fmla="*/ 797949 w 900424"/>
              <a:gd name="connsiteY68" fmla="*/ 323942 h 923534"/>
              <a:gd name="connsiteX69" fmla="*/ 593007 w 900424"/>
              <a:gd name="connsiteY69" fmla="*/ 118999 h 923534"/>
              <a:gd name="connsiteX70" fmla="*/ 655342 w 900424"/>
              <a:gd name="connsiteY70" fmla="*/ 99358 h 923534"/>
              <a:gd name="connsiteX71" fmla="*/ 721150 w 900424"/>
              <a:gd name="connsiteY71" fmla="*/ 99358 h 923534"/>
              <a:gd name="connsiteX72" fmla="*/ 900424 w 900424"/>
              <a:gd name="connsiteY72" fmla="*/ 280970 h 923534"/>
              <a:gd name="connsiteX73" fmla="*/ 900424 w 900424"/>
              <a:gd name="connsiteY73" fmla="*/ 853426 h 923534"/>
              <a:gd name="connsiteX74" fmla="*/ 852052 w 900424"/>
              <a:gd name="connsiteY74" fmla="*/ 905466 h 923534"/>
              <a:gd name="connsiteX75" fmla="*/ 828360 w 900424"/>
              <a:gd name="connsiteY75" fmla="*/ 905466 h 923534"/>
              <a:gd name="connsiteX76" fmla="*/ 849187 w 900424"/>
              <a:gd name="connsiteY76" fmla="*/ 863377 h 923534"/>
              <a:gd name="connsiteX77" fmla="*/ 849187 w 900424"/>
              <a:gd name="connsiteY77" fmla="*/ 293203 h 923534"/>
              <a:gd name="connsiteX78" fmla="*/ 655342 w 900424"/>
              <a:gd name="connsiteY78" fmla="*/ 99358 h 923534"/>
              <a:gd name="connsiteX79" fmla="*/ 284672 w 900424"/>
              <a:gd name="connsiteY79" fmla="*/ 26454 h 923534"/>
              <a:gd name="connsiteX80" fmla="*/ 306902 w 900424"/>
              <a:gd name="connsiteY80" fmla="*/ 26454 h 923534"/>
              <a:gd name="connsiteX81" fmla="*/ 312459 w 900424"/>
              <a:gd name="connsiteY81" fmla="*/ 32011 h 923534"/>
              <a:gd name="connsiteX82" fmla="*/ 312459 w 900424"/>
              <a:gd name="connsiteY82" fmla="*/ 71044 h 923534"/>
              <a:gd name="connsiteX83" fmla="*/ 341829 w 900424"/>
              <a:gd name="connsiteY83" fmla="*/ 71044 h 923534"/>
              <a:gd name="connsiteX84" fmla="*/ 341829 w 900424"/>
              <a:gd name="connsiteY84" fmla="*/ 32011 h 923534"/>
              <a:gd name="connsiteX85" fmla="*/ 347386 w 900424"/>
              <a:gd name="connsiteY85" fmla="*/ 26454 h 923534"/>
              <a:gd name="connsiteX86" fmla="*/ 369616 w 900424"/>
              <a:gd name="connsiteY86" fmla="*/ 26454 h 923534"/>
              <a:gd name="connsiteX87" fmla="*/ 375173 w 900424"/>
              <a:gd name="connsiteY87" fmla="*/ 32011 h 923534"/>
              <a:gd name="connsiteX88" fmla="*/ 375173 w 900424"/>
              <a:gd name="connsiteY88" fmla="*/ 71044 h 923534"/>
              <a:gd name="connsiteX89" fmla="*/ 404543 w 900424"/>
              <a:gd name="connsiteY89" fmla="*/ 71044 h 923534"/>
              <a:gd name="connsiteX90" fmla="*/ 404543 w 900424"/>
              <a:gd name="connsiteY90" fmla="*/ 32011 h 923534"/>
              <a:gd name="connsiteX91" fmla="*/ 410100 w 900424"/>
              <a:gd name="connsiteY91" fmla="*/ 26454 h 923534"/>
              <a:gd name="connsiteX92" fmla="*/ 432330 w 900424"/>
              <a:gd name="connsiteY92" fmla="*/ 26454 h 923534"/>
              <a:gd name="connsiteX93" fmla="*/ 437887 w 900424"/>
              <a:gd name="connsiteY93" fmla="*/ 32011 h 923534"/>
              <a:gd name="connsiteX94" fmla="*/ 437887 w 900424"/>
              <a:gd name="connsiteY94" fmla="*/ 71044 h 923534"/>
              <a:gd name="connsiteX95" fmla="*/ 467255 w 900424"/>
              <a:gd name="connsiteY95" fmla="*/ 71044 h 923534"/>
              <a:gd name="connsiteX96" fmla="*/ 467255 w 900424"/>
              <a:gd name="connsiteY96" fmla="*/ 32011 h 923534"/>
              <a:gd name="connsiteX97" fmla="*/ 472813 w 900424"/>
              <a:gd name="connsiteY97" fmla="*/ 26454 h 923534"/>
              <a:gd name="connsiteX98" fmla="*/ 495042 w 900424"/>
              <a:gd name="connsiteY98" fmla="*/ 26454 h 923534"/>
              <a:gd name="connsiteX99" fmla="*/ 500600 w 900424"/>
              <a:gd name="connsiteY99" fmla="*/ 32011 h 923534"/>
              <a:gd name="connsiteX100" fmla="*/ 500600 w 900424"/>
              <a:gd name="connsiteY100" fmla="*/ 71044 h 923534"/>
              <a:gd name="connsiteX101" fmla="*/ 606532 w 900424"/>
              <a:gd name="connsiteY101" fmla="*/ 71044 h 923534"/>
              <a:gd name="connsiteX102" fmla="*/ 833814 w 900424"/>
              <a:gd name="connsiteY102" fmla="*/ 298326 h 923534"/>
              <a:gd name="connsiteX103" fmla="*/ 833814 w 900424"/>
              <a:gd name="connsiteY103" fmla="*/ 868500 h 923534"/>
              <a:gd name="connsiteX104" fmla="*/ 778780 w 900424"/>
              <a:gd name="connsiteY104" fmla="*/ 923534 h 923534"/>
              <a:gd name="connsiteX105" fmla="*/ 239864 w 900424"/>
              <a:gd name="connsiteY105" fmla="*/ 923534 h 923534"/>
              <a:gd name="connsiteX106" fmla="*/ 184830 w 900424"/>
              <a:gd name="connsiteY106" fmla="*/ 868500 h 923534"/>
              <a:gd name="connsiteX107" fmla="*/ 184830 w 900424"/>
              <a:gd name="connsiteY107" fmla="*/ 480204 h 923534"/>
              <a:gd name="connsiteX108" fmla="*/ 108913 w 900424"/>
              <a:gd name="connsiteY108" fmla="*/ 397433 h 923534"/>
              <a:gd name="connsiteX109" fmla="*/ 110701 w 900424"/>
              <a:gd name="connsiteY109" fmla="*/ 356021 h 923534"/>
              <a:gd name="connsiteX110" fmla="*/ 184830 w 900424"/>
              <a:gd name="connsiteY110" fmla="*/ 288031 h 923534"/>
              <a:gd name="connsiteX111" fmla="*/ 184830 w 900424"/>
              <a:gd name="connsiteY111" fmla="*/ 255689 h 923534"/>
              <a:gd name="connsiteX112" fmla="*/ 182259 w 900424"/>
              <a:gd name="connsiteY112" fmla="*/ 258049 h 923534"/>
              <a:gd name="connsiteX113" fmla="*/ 181841 w 900424"/>
              <a:gd name="connsiteY113" fmla="*/ 251257 h 923534"/>
              <a:gd name="connsiteX114" fmla="*/ 140694 w 900424"/>
              <a:gd name="connsiteY114" fmla="*/ 206396 h 923534"/>
              <a:gd name="connsiteX115" fmla="*/ 121321 w 900424"/>
              <a:gd name="connsiteY115" fmla="*/ 203511 h 923534"/>
              <a:gd name="connsiteX116" fmla="*/ 42515 w 900424"/>
              <a:gd name="connsiteY116" fmla="*/ 275789 h 923534"/>
              <a:gd name="connsiteX117" fmla="*/ 43718 w 900424"/>
              <a:gd name="connsiteY117" fmla="*/ 295339 h 923534"/>
              <a:gd name="connsiteX118" fmla="*/ 84866 w 900424"/>
              <a:gd name="connsiteY118" fmla="*/ 340201 h 923534"/>
              <a:gd name="connsiteX119" fmla="*/ 91596 w 900424"/>
              <a:gd name="connsiteY119" fmla="*/ 341203 h 923534"/>
              <a:gd name="connsiteX120" fmla="*/ 83614 w 900424"/>
              <a:gd name="connsiteY120" fmla="*/ 348524 h 923534"/>
              <a:gd name="connsiteX121" fmla="*/ 60335 w 900424"/>
              <a:gd name="connsiteY121" fmla="*/ 347519 h 923534"/>
              <a:gd name="connsiteX122" fmla="*/ 15793 w 900424"/>
              <a:gd name="connsiteY122" fmla="*/ 298955 h 923534"/>
              <a:gd name="connsiteX123" fmla="*/ 16799 w 900424"/>
              <a:gd name="connsiteY123" fmla="*/ 275676 h 923534"/>
              <a:gd name="connsiteX124" fmla="*/ 122114 w 900424"/>
              <a:gd name="connsiteY124" fmla="*/ 179082 h 923534"/>
              <a:gd name="connsiteX125" fmla="*/ 145393 w 900424"/>
              <a:gd name="connsiteY125" fmla="*/ 180087 h 923534"/>
              <a:gd name="connsiteX126" fmla="*/ 184830 w 900424"/>
              <a:gd name="connsiteY126" fmla="*/ 223084 h 923534"/>
              <a:gd name="connsiteX127" fmla="*/ 184830 w 900424"/>
              <a:gd name="connsiteY127" fmla="*/ 126079 h 923534"/>
              <a:gd name="connsiteX128" fmla="*/ 239864 w 900424"/>
              <a:gd name="connsiteY128" fmla="*/ 71044 h 923534"/>
              <a:gd name="connsiteX129" fmla="*/ 279115 w 900424"/>
              <a:gd name="connsiteY129" fmla="*/ 71044 h 923534"/>
              <a:gd name="connsiteX130" fmla="*/ 279115 w 900424"/>
              <a:gd name="connsiteY130" fmla="*/ 32011 h 923534"/>
              <a:gd name="connsiteX131" fmla="*/ 284672 w 900424"/>
              <a:gd name="connsiteY131" fmla="*/ 26454 h 923534"/>
              <a:gd name="connsiteX132" fmla="*/ 69366 w 900424"/>
              <a:gd name="connsiteY132" fmla="*/ 97655 h 923534"/>
              <a:gd name="connsiteX133" fmla="*/ 185239 w 900424"/>
              <a:gd name="connsiteY133" fmla="*/ 0 h 923534"/>
              <a:gd name="connsiteX134" fmla="*/ 69385 w 900424"/>
              <a:gd name="connsiteY134" fmla="*/ 97673 h 923534"/>
              <a:gd name="connsiteX135" fmla="*/ 0 w 900424"/>
              <a:gd name="connsiteY135" fmla="*/ 195309 h 923534"/>
              <a:gd name="connsiteX136" fmla="*/ 0 w 900424"/>
              <a:gd name="connsiteY136" fmla="*/ 195263 h 923534"/>
              <a:gd name="connsiteX137" fmla="*/ 69366 w 900424"/>
              <a:gd name="connsiteY137" fmla="*/ 97655 h 923534"/>
              <a:gd name="connsiteX0" fmla="*/ 260828 w 900424"/>
              <a:gd name="connsiteY0" fmla="*/ 738104 h 897080"/>
              <a:gd name="connsiteX1" fmla="*/ 260828 w 900424"/>
              <a:gd name="connsiteY1" fmla="*/ 767616 h 897080"/>
              <a:gd name="connsiteX2" fmla="*/ 752690 w 900424"/>
              <a:gd name="connsiteY2" fmla="*/ 767616 h 897080"/>
              <a:gd name="connsiteX3" fmla="*/ 752690 w 900424"/>
              <a:gd name="connsiteY3" fmla="*/ 738104 h 897080"/>
              <a:gd name="connsiteX4" fmla="*/ 260828 w 900424"/>
              <a:gd name="connsiteY4" fmla="*/ 738104 h 897080"/>
              <a:gd name="connsiteX5" fmla="*/ 523025 w 900424"/>
              <a:gd name="connsiteY5" fmla="*/ 662789 h 897080"/>
              <a:gd name="connsiteX6" fmla="*/ 529392 w 900424"/>
              <a:gd name="connsiteY6" fmla="*/ 692301 h 897080"/>
              <a:gd name="connsiteX7" fmla="*/ 752690 w 900424"/>
              <a:gd name="connsiteY7" fmla="*/ 692301 h 897080"/>
              <a:gd name="connsiteX8" fmla="*/ 752690 w 900424"/>
              <a:gd name="connsiteY8" fmla="*/ 662789 h 897080"/>
              <a:gd name="connsiteX9" fmla="*/ 523025 w 900424"/>
              <a:gd name="connsiteY9" fmla="*/ 662789 h 897080"/>
              <a:gd name="connsiteX10" fmla="*/ 260828 w 900424"/>
              <a:gd name="connsiteY10" fmla="*/ 662789 h 897080"/>
              <a:gd name="connsiteX11" fmla="*/ 260828 w 900424"/>
              <a:gd name="connsiteY11" fmla="*/ 692301 h 897080"/>
              <a:gd name="connsiteX12" fmla="*/ 520342 w 900424"/>
              <a:gd name="connsiteY12" fmla="*/ 692301 h 897080"/>
              <a:gd name="connsiteX13" fmla="*/ 427300 w 900424"/>
              <a:gd name="connsiteY13" fmla="*/ 662789 h 897080"/>
              <a:gd name="connsiteX14" fmla="*/ 260828 w 900424"/>
              <a:gd name="connsiteY14" fmla="*/ 662789 h 897080"/>
              <a:gd name="connsiteX15" fmla="*/ 506777 w 900424"/>
              <a:gd name="connsiteY15" fmla="*/ 587471 h 897080"/>
              <a:gd name="connsiteX16" fmla="*/ 513144 w 900424"/>
              <a:gd name="connsiteY16" fmla="*/ 616983 h 897080"/>
              <a:gd name="connsiteX17" fmla="*/ 752690 w 900424"/>
              <a:gd name="connsiteY17" fmla="*/ 616983 h 897080"/>
              <a:gd name="connsiteX18" fmla="*/ 752690 w 900424"/>
              <a:gd name="connsiteY18" fmla="*/ 587471 h 897080"/>
              <a:gd name="connsiteX19" fmla="*/ 506777 w 900424"/>
              <a:gd name="connsiteY19" fmla="*/ 587471 h 897080"/>
              <a:gd name="connsiteX20" fmla="*/ 260828 w 900424"/>
              <a:gd name="connsiteY20" fmla="*/ 587471 h 897080"/>
              <a:gd name="connsiteX21" fmla="*/ 260828 w 900424"/>
              <a:gd name="connsiteY21" fmla="*/ 616983 h 897080"/>
              <a:gd name="connsiteX22" fmla="*/ 334546 w 900424"/>
              <a:gd name="connsiteY22" fmla="*/ 616983 h 897080"/>
              <a:gd name="connsiteX23" fmla="*/ 307478 w 900424"/>
              <a:gd name="connsiteY23" fmla="*/ 587471 h 897080"/>
              <a:gd name="connsiteX24" fmla="*/ 260828 w 900424"/>
              <a:gd name="connsiteY24" fmla="*/ 587471 h 897080"/>
              <a:gd name="connsiteX25" fmla="*/ 467940 w 900424"/>
              <a:gd name="connsiteY25" fmla="*/ 544863 h 897080"/>
              <a:gd name="connsiteX26" fmla="*/ 385032 w 900424"/>
              <a:gd name="connsiteY26" fmla="*/ 620125 h 897080"/>
              <a:gd name="connsiteX27" fmla="*/ 506739 w 900424"/>
              <a:gd name="connsiteY27" fmla="*/ 670589 h 897080"/>
              <a:gd name="connsiteX28" fmla="*/ 467940 w 900424"/>
              <a:gd name="connsiteY28" fmla="*/ 544863 h 897080"/>
              <a:gd name="connsiteX29" fmla="*/ 260828 w 900424"/>
              <a:gd name="connsiteY29" fmla="*/ 536610 h 897080"/>
              <a:gd name="connsiteX30" fmla="*/ 260828 w 900424"/>
              <a:gd name="connsiteY30" fmla="*/ 541666 h 897080"/>
              <a:gd name="connsiteX31" fmla="*/ 265465 w 900424"/>
              <a:gd name="connsiteY31" fmla="*/ 541666 h 897080"/>
              <a:gd name="connsiteX32" fmla="*/ 260828 w 900424"/>
              <a:gd name="connsiteY32" fmla="*/ 536610 h 897080"/>
              <a:gd name="connsiteX33" fmla="*/ 477023 w 900424"/>
              <a:gd name="connsiteY33" fmla="*/ 512155 h 897080"/>
              <a:gd name="connsiteX34" fmla="*/ 477810 w 900424"/>
              <a:gd name="connsiteY34" fmla="*/ 513012 h 897080"/>
              <a:gd name="connsiteX35" fmla="*/ 481962 w 900424"/>
              <a:gd name="connsiteY35" fmla="*/ 541666 h 897080"/>
              <a:gd name="connsiteX36" fmla="*/ 752690 w 900424"/>
              <a:gd name="connsiteY36" fmla="*/ 541666 h 897080"/>
              <a:gd name="connsiteX37" fmla="*/ 752690 w 900424"/>
              <a:gd name="connsiteY37" fmla="*/ 512155 h 897080"/>
              <a:gd name="connsiteX38" fmla="*/ 477023 w 900424"/>
              <a:gd name="connsiteY38" fmla="*/ 512155 h 897080"/>
              <a:gd name="connsiteX39" fmla="*/ 407941 w 900424"/>
              <a:gd name="connsiteY39" fmla="*/ 436837 h 897080"/>
              <a:gd name="connsiteX40" fmla="*/ 435010 w 900424"/>
              <a:gd name="connsiteY40" fmla="*/ 466349 h 897080"/>
              <a:gd name="connsiteX41" fmla="*/ 752690 w 900424"/>
              <a:gd name="connsiteY41" fmla="*/ 466349 h 897080"/>
              <a:gd name="connsiteX42" fmla="*/ 752690 w 900424"/>
              <a:gd name="connsiteY42" fmla="*/ 436837 h 897080"/>
              <a:gd name="connsiteX43" fmla="*/ 407941 w 900424"/>
              <a:gd name="connsiteY43" fmla="*/ 436837 h 897080"/>
              <a:gd name="connsiteX44" fmla="*/ 338860 w 900424"/>
              <a:gd name="connsiteY44" fmla="*/ 361519 h 897080"/>
              <a:gd name="connsiteX45" fmla="*/ 365929 w 900424"/>
              <a:gd name="connsiteY45" fmla="*/ 391031 h 897080"/>
              <a:gd name="connsiteX46" fmla="*/ 752690 w 900424"/>
              <a:gd name="connsiteY46" fmla="*/ 391031 h 897080"/>
              <a:gd name="connsiteX47" fmla="*/ 752690 w 900424"/>
              <a:gd name="connsiteY47" fmla="*/ 361519 h 897080"/>
              <a:gd name="connsiteX48" fmla="*/ 338860 w 900424"/>
              <a:gd name="connsiteY48" fmla="*/ 361519 h 897080"/>
              <a:gd name="connsiteX49" fmla="*/ 208773 w 900424"/>
              <a:gd name="connsiteY49" fmla="*/ 261390 h 897080"/>
              <a:gd name="connsiteX50" fmla="*/ 191984 w 900424"/>
              <a:gd name="connsiteY50" fmla="*/ 266028 h 897080"/>
              <a:gd name="connsiteX51" fmla="*/ 127335 w 900424"/>
              <a:gd name="connsiteY51" fmla="*/ 325324 h 897080"/>
              <a:gd name="connsiteX52" fmla="*/ 129474 w 900424"/>
              <a:gd name="connsiteY52" fmla="*/ 360103 h 897080"/>
              <a:gd name="connsiteX53" fmla="*/ 350534 w 900424"/>
              <a:gd name="connsiteY53" fmla="*/ 601119 h 897080"/>
              <a:gd name="connsiteX54" fmla="*/ 384998 w 900424"/>
              <a:gd name="connsiteY54" fmla="*/ 606249 h 897080"/>
              <a:gd name="connsiteX55" fmla="*/ 449647 w 900424"/>
              <a:gd name="connsiteY55" fmla="*/ 546953 h 897080"/>
              <a:gd name="connsiteX56" fmla="*/ 447509 w 900424"/>
              <a:gd name="connsiteY56" fmla="*/ 512175 h 897080"/>
              <a:gd name="connsiteX57" fmla="*/ 226448 w 900424"/>
              <a:gd name="connsiteY57" fmla="*/ 271158 h 897080"/>
              <a:gd name="connsiteX58" fmla="*/ 208773 w 900424"/>
              <a:gd name="connsiteY58" fmla="*/ 261390 h 897080"/>
              <a:gd name="connsiteX59" fmla="*/ 260828 w 900424"/>
              <a:gd name="connsiteY59" fmla="*/ 243676 h 897080"/>
              <a:gd name="connsiteX60" fmla="*/ 260828 w 900424"/>
              <a:gd name="connsiteY60" fmla="*/ 276442 h 897080"/>
              <a:gd name="connsiteX61" fmla="*/ 266867 w 900424"/>
              <a:gd name="connsiteY61" fmla="*/ 283025 h 897080"/>
              <a:gd name="connsiteX62" fmla="*/ 555945 w 900424"/>
              <a:gd name="connsiteY62" fmla="*/ 283025 h 897080"/>
              <a:gd name="connsiteX63" fmla="*/ 555945 w 900424"/>
              <a:gd name="connsiteY63" fmla="*/ 243676 h 897080"/>
              <a:gd name="connsiteX64" fmla="*/ 260828 w 900424"/>
              <a:gd name="connsiteY64" fmla="*/ 243676 h 897080"/>
              <a:gd name="connsiteX65" fmla="*/ 593007 w 900424"/>
              <a:gd name="connsiteY65" fmla="*/ 92545 h 897080"/>
              <a:gd name="connsiteX66" fmla="*/ 593004 w 900424"/>
              <a:gd name="connsiteY66" fmla="*/ 246254 h 897080"/>
              <a:gd name="connsiteX67" fmla="*/ 636152 w 900424"/>
              <a:gd name="connsiteY67" fmla="*/ 294792 h 897080"/>
              <a:gd name="connsiteX68" fmla="*/ 797949 w 900424"/>
              <a:gd name="connsiteY68" fmla="*/ 297488 h 897080"/>
              <a:gd name="connsiteX69" fmla="*/ 593007 w 900424"/>
              <a:gd name="connsiteY69" fmla="*/ 92545 h 897080"/>
              <a:gd name="connsiteX70" fmla="*/ 655342 w 900424"/>
              <a:gd name="connsiteY70" fmla="*/ 72904 h 897080"/>
              <a:gd name="connsiteX71" fmla="*/ 721150 w 900424"/>
              <a:gd name="connsiteY71" fmla="*/ 72904 h 897080"/>
              <a:gd name="connsiteX72" fmla="*/ 900424 w 900424"/>
              <a:gd name="connsiteY72" fmla="*/ 254516 h 897080"/>
              <a:gd name="connsiteX73" fmla="*/ 900424 w 900424"/>
              <a:gd name="connsiteY73" fmla="*/ 826972 h 897080"/>
              <a:gd name="connsiteX74" fmla="*/ 852052 w 900424"/>
              <a:gd name="connsiteY74" fmla="*/ 879012 h 897080"/>
              <a:gd name="connsiteX75" fmla="*/ 828360 w 900424"/>
              <a:gd name="connsiteY75" fmla="*/ 879012 h 897080"/>
              <a:gd name="connsiteX76" fmla="*/ 849187 w 900424"/>
              <a:gd name="connsiteY76" fmla="*/ 836923 h 897080"/>
              <a:gd name="connsiteX77" fmla="*/ 849187 w 900424"/>
              <a:gd name="connsiteY77" fmla="*/ 266749 h 897080"/>
              <a:gd name="connsiteX78" fmla="*/ 655342 w 900424"/>
              <a:gd name="connsiteY78" fmla="*/ 72904 h 897080"/>
              <a:gd name="connsiteX79" fmla="*/ 284672 w 900424"/>
              <a:gd name="connsiteY79" fmla="*/ 0 h 897080"/>
              <a:gd name="connsiteX80" fmla="*/ 306902 w 900424"/>
              <a:gd name="connsiteY80" fmla="*/ 0 h 897080"/>
              <a:gd name="connsiteX81" fmla="*/ 312459 w 900424"/>
              <a:gd name="connsiteY81" fmla="*/ 5557 h 897080"/>
              <a:gd name="connsiteX82" fmla="*/ 312459 w 900424"/>
              <a:gd name="connsiteY82" fmla="*/ 44590 h 897080"/>
              <a:gd name="connsiteX83" fmla="*/ 341829 w 900424"/>
              <a:gd name="connsiteY83" fmla="*/ 44590 h 897080"/>
              <a:gd name="connsiteX84" fmla="*/ 341829 w 900424"/>
              <a:gd name="connsiteY84" fmla="*/ 5557 h 897080"/>
              <a:gd name="connsiteX85" fmla="*/ 347386 w 900424"/>
              <a:gd name="connsiteY85" fmla="*/ 0 h 897080"/>
              <a:gd name="connsiteX86" fmla="*/ 369616 w 900424"/>
              <a:gd name="connsiteY86" fmla="*/ 0 h 897080"/>
              <a:gd name="connsiteX87" fmla="*/ 375173 w 900424"/>
              <a:gd name="connsiteY87" fmla="*/ 5557 h 897080"/>
              <a:gd name="connsiteX88" fmla="*/ 375173 w 900424"/>
              <a:gd name="connsiteY88" fmla="*/ 44590 h 897080"/>
              <a:gd name="connsiteX89" fmla="*/ 404543 w 900424"/>
              <a:gd name="connsiteY89" fmla="*/ 44590 h 897080"/>
              <a:gd name="connsiteX90" fmla="*/ 404543 w 900424"/>
              <a:gd name="connsiteY90" fmla="*/ 5557 h 897080"/>
              <a:gd name="connsiteX91" fmla="*/ 410100 w 900424"/>
              <a:gd name="connsiteY91" fmla="*/ 0 h 897080"/>
              <a:gd name="connsiteX92" fmla="*/ 432330 w 900424"/>
              <a:gd name="connsiteY92" fmla="*/ 0 h 897080"/>
              <a:gd name="connsiteX93" fmla="*/ 437887 w 900424"/>
              <a:gd name="connsiteY93" fmla="*/ 5557 h 897080"/>
              <a:gd name="connsiteX94" fmla="*/ 437887 w 900424"/>
              <a:gd name="connsiteY94" fmla="*/ 44590 h 897080"/>
              <a:gd name="connsiteX95" fmla="*/ 467255 w 900424"/>
              <a:gd name="connsiteY95" fmla="*/ 44590 h 897080"/>
              <a:gd name="connsiteX96" fmla="*/ 467255 w 900424"/>
              <a:gd name="connsiteY96" fmla="*/ 5557 h 897080"/>
              <a:gd name="connsiteX97" fmla="*/ 472813 w 900424"/>
              <a:gd name="connsiteY97" fmla="*/ 0 h 897080"/>
              <a:gd name="connsiteX98" fmla="*/ 495042 w 900424"/>
              <a:gd name="connsiteY98" fmla="*/ 0 h 897080"/>
              <a:gd name="connsiteX99" fmla="*/ 500600 w 900424"/>
              <a:gd name="connsiteY99" fmla="*/ 5557 h 897080"/>
              <a:gd name="connsiteX100" fmla="*/ 500600 w 900424"/>
              <a:gd name="connsiteY100" fmla="*/ 44590 h 897080"/>
              <a:gd name="connsiteX101" fmla="*/ 606532 w 900424"/>
              <a:gd name="connsiteY101" fmla="*/ 44590 h 897080"/>
              <a:gd name="connsiteX102" fmla="*/ 833814 w 900424"/>
              <a:gd name="connsiteY102" fmla="*/ 271872 h 897080"/>
              <a:gd name="connsiteX103" fmla="*/ 833814 w 900424"/>
              <a:gd name="connsiteY103" fmla="*/ 842046 h 897080"/>
              <a:gd name="connsiteX104" fmla="*/ 778780 w 900424"/>
              <a:gd name="connsiteY104" fmla="*/ 897080 h 897080"/>
              <a:gd name="connsiteX105" fmla="*/ 239864 w 900424"/>
              <a:gd name="connsiteY105" fmla="*/ 897080 h 897080"/>
              <a:gd name="connsiteX106" fmla="*/ 184830 w 900424"/>
              <a:gd name="connsiteY106" fmla="*/ 842046 h 897080"/>
              <a:gd name="connsiteX107" fmla="*/ 184830 w 900424"/>
              <a:gd name="connsiteY107" fmla="*/ 453750 h 897080"/>
              <a:gd name="connsiteX108" fmla="*/ 108913 w 900424"/>
              <a:gd name="connsiteY108" fmla="*/ 370979 h 897080"/>
              <a:gd name="connsiteX109" fmla="*/ 110701 w 900424"/>
              <a:gd name="connsiteY109" fmla="*/ 329567 h 897080"/>
              <a:gd name="connsiteX110" fmla="*/ 184830 w 900424"/>
              <a:gd name="connsiteY110" fmla="*/ 261577 h 897080"/>
              <a:gd name="connsiteX111" fmla="*/ 184830 w 900424"/>
              <a:gd name="connsiteY111" fmla="*/ 229235 h 897080"/>
              <a:gd name="connsiteX112" fmla="*/ 182259 w 900424"/>
              <a:gd name="connsiteY112" fmla="*/ 231595 h 897080"/>
              <a:gd name="connsiteX113" fmla="*/ 181841 w 900424"/>
              <a:gd name="connsiteY113" fmla="*/ 224803 h 897080"/>
              <a:gd name="connsiteX114" fmla="*/ 140694 w 900424"/>
              <a:gd name="connsiteY114" fmla="*/ 179942 h 897080"/>
              <a:gd name="connsiteX115" fmla="*/ 121321 w 900424"/>
              <a:gd name="connsiteY115" fmla="*/ 177057 h 897080"/>
              <a:gd name="connsiteX116" fmla="*/ 42515 w 900424"/>
              <a:gd name="connsiteY116" fmla="*/ 249335 h 897080"/>
              <a:gd name="connsiteX117" fmla="*/ 43718 w 900424"/>
              <a:gd name="connsiteY117" fmla="*/ 268885 h 897080"/>
              <a:gd name="connsiteX118" fmla="*/ 84866 w 900424"/>
              <a:gd name="connsiteY118" fmla="*/ 313747 h 897080"/>
              <a:gd name="connsiteX119" fmla="*/ 91596 w 900424"/>
              <a:gd name="connsiteY119" fmla="*/ 314749 h 897080"/>
              <a:gd name="connsiteX120" fmla="*/ 83614 w 900424"/>
              <a:gd name="connsiteY120" fmla="*/ 322070 h 897080"/>
              <a:gd name="connsiteX121" fmla="*/ 60335 w 900424"/>
              <a:gd name="connsiteY121" fmla="*/ 321065 h 897080"/>
              <a:gd name="connsiteX122" fmla="*/ 15793 w 900424"/>
              <a:gd name="connsiteY122" fmla="*/ 272501 h 897080"/>
              <a:gd name="connsiteX123" fmla="*/ 16799 w 900424"/>
              <a:gd name="connsiteY123" fmla="*/ 249222 h 897080"/>
              <a:gd name="connsiteX124" fmla="*/ 122114 w 900424"/>
              <a:gd name="connsiteY124" fmla="*/ 152628 h 897080"/>
              <a:gd name="connsiteX125" fmla="*/ 145393 w 900424"/>
              <a:gd name="connsiteY125" fmla="*/ 153633 h 897080"/>
              <a:gd name="connsiteX126" fmla="*/ 184830 w 900424"/>
              <a:gd name="connsiteY126" fmla="*/ 196630 h 897080"/>
              <a:gd name="connsiteX127" fmla="*/ 184830 w 900424"/>
              <a:gd name="connsiteY127" fmla="*/ 99625 h 897080"/>
              <a:gd name="connsiteX128" fmla="*/ 239864 w 900424"/>
              <a:gd name="connsiteY128" fmla="*/ 44590 h 897080"/>
              <a:gd name="connsiteX129" fmla="*/ 279115 w 900424"/>
              <a:gd name="connsiteY129" fmla="*/ 44590 h 897080"/>
              <a:gd name="connsiteX130" fmla="*/ 279115 w 900424"/>
              <a:gd name="connsiteY130" fmla="*/ 5557 h 897080"/>
              <a:gd name="connsiteX131" fmla="*/ 284672 w 900424"/>
              <a:gd name="connsiteY131" fmla="*/ 0 h 897080"/>
              <a:gd name="connsiteX132" fmla="*/ 69366 w 900424"/>
              <a:gd name="connsiteY132" fmla="*/ 71201 h 897080"/>
              <a:gd name="connsiteX133" fmla="*/ 69385 w 900424"/>
              <a:gd name="connsiteY133" fmla="*/ 71219 h 897080"/>
              <a:gd name="connsiteX134" fmla="*/ 0 w 900424"/>
              <a:gd name="connsiteY134" fmla="*/ 168855 h 897080"/>
              <a:gd name="connsiteX135" fmla="*/ 0 w 900424"/>
              <a:gd name="connsiteY135" fmla="*/ 168809 h 897080"/>
              <a:gd name="connsiteX136" fmla="*/ 69366 w 900424"/>
              <a:gd name="connsiteY136" fmla="*/ 71201 h 897080"/>
              <a:gd name="connsiteX0" fmla="*/ 260828 w 900424"/>
              <a:gd name="connsiteY0" fmla="*/ 738104 h 897080"/>
              <a:gd name="connsiteX1" fmla="*/ 260828 w 900424"/>
              <a:gd name="connsiteY1" fmla="*/ 767616 h 897080"/>
              <a:gd name="connsiteX2" fmla="*/ 752690 w 900424"/>
              <a:gd name="connsiteY2" fmla="*/ 767616 h 897080"/>
              <a:gd name="connsiteX3" fmla="*/ 752690 w 900424"/>
              <a:gd name="connsiteY3" fmla="*/ 738104 h 897080"/>
              <a:gd name="connsiteX4" fmla="*/ 260828 w 900424"/>
              <a:gd name="connsiteY4" fmla="*/ 738104 h 897080"/>
              <a:gd name="connsiteX5" fmla="*/ 523025 w 900424"/>
              <a:gd name="connsiteY5" fmla="*/ 662789 h 897080"/>
              <a:gd name="connsiteX6" fmla="*/ 529392 w 900424"/>
              <a:gd name="connsiteY6" fmla="*/ 692301 h 897080"/>
              <a:gd name="connsiteX7" fmla="*/ 752690 w 900424"/>
              <a:gd name="connsiteY7" fmla="*/ 692301 h 897080"/>
              <a:gd name="connsiteX8" fmla="*/ 752690 w 900424"/>
              <a:gd name="connsiteY8" fmla="*/ 662789 h 897080"/>
              <a:gd name="connsiteX9" fmla="*/ 523025 w 900424"/>
              <a:gd name="connsiteY9" fmla="*/ 662789 h 897080"/>
              <a:gd name="connsiteX10" fmla="*/ 260828 w 900424"/>
              <a:gd name="connsiteY10" fmla="*/ 662789 h 897080"/>
              <a:gd name="connsiteX11" fmla="*/ 260828 w 900424"/>
              <a:gd name="connsiteY11" fmla="*/ 692301 h 897080"/>
              <a:gd name="connsiteX12" fmla="*/ 520342 w 900424"/>
              <a:gd name="connsiteY12" fmla="*/ 692301 h 897080"/>
              <a:gd name="connsiteX13" fmla="*/ 427300 w 900424"/>
              <a:gd name="connsiteY13" fmla="*/ 662789 h 897080"/>
              <a:gd name="connsiteX14" fmla="*/ 260828 w 900424"/>
              <a:gd name="connsiteY14" fmla="*/ 662789 h 897080"/>
              <a:gd name="connsiteX15" fmla="*/ 506777 w 900424"/>
              <a:gd name="connsiteY15" fmla="*/ 587471 h 897080"/>
              <a:gd name="connsiteX16" fmla="*/ 513144 w 900424"/>
              <a:gd name="connsiteY16" fmla="*/ 616983 h 897080"/>
              <a:gd name="connsiteX17" fmla="*/ 752690 w 900424"/>
              <a:gd name="connsiteY17" fmla="*/ 616983 h 897080"/>
              <a:gd name="connsiteX18" fmla="*/ 752690 w 900424"/>
              <a:gd name="connsiteY18" fmla="*/ 587471 h 897080"/>
              <a:gd name="connsiteX19" fmla="*/ 506777 w 900424"/>
              <a:gd name="connsiteY19" fmla="*/ 587471 h 897080"/>
              <a:gd name="connsiteX20" fmla="*/ 260828 w 900424"/>
              <a:gd name="connsiteY20" fmla="*/ 587471 h 897080"/>
              <a:gd name="connsiteX21" fmla="*/ 260828 w 900424"/>
              <a:gd name="connsiteY21" fmla="*/ 616983 h 897080"/>
              <a:gd name="connsiteX22" fmla="*/ 334546 w 900424"/>
              <a:gd name="connsiteY22" fmla="*/ 616983 h 897080"/>
              <a:gd name="connsiteX23" fmla="*/ 307478 w 900424"/>
              <a:gd name="connsiteY23" fmla="*/ 587471 h 897080"/>
              <a:gd name="connsiteX24" fmla="*/ 260828 w 900424"/>
              <a:gd name="connsiteY24" fmla="*/ 587471 h 897080"/>
              <a:gd name="connsiteX25" fmla="*/ 467940 w 900424"/>
              <a:gd name="connsiteY25" fmla="*/ 544863 h 897080"/>
              <a:gd name="connsiteX26" fmla="*/ 385032 w 900424"/>
              <a:gd name="connsiteY26" fmla="*/ 620125 h 897080"/>
              <a:gd name="connsiteX27" fmla="*/ 506739 w 900424"/>
              <a:gd name="connsiteY27" fmla="*/ 670589 h 897080"/>
              <a:gd name="connsiteX28" fmla="*/ 467940 w 900424"/>
              <a:gd name="connsiteY28" fmla="*/ 544863 h 897080"/>
              <a:gd name="connsiteX29" fmla="*/ 260828 w 900424"/>
              <a:gd name="connsiteY29" fmla="*/ 536610 h 897080"/>
              <a:gd name="connsiteX30" fmla="*/ 260828 w 900424"/>
              <a:gd name="connsiteY30" fmla="*/ 541666 h 897080"/>
              <a:gd name="connsiteX31" fmla="*/ 265465 w 900424"/>
              <a:gd name="connsiteY31" fmla="*/ 541666 h 897080"/>
              <a:gd name="connsiteX32" fmla="*/ 260828 w 900424"/>
              <a:gd name="connsiteY32" fmla="*/ 536610 h 897080"/>
              <a:gd name="connsiteX33" fmla="*/ 477023 w 900424"/>
              <a:gd name="connsiteY33" fmla="*/ 512155 h 897080"/>
              <a:gd name="connsiteX34" fmla="*/ 477810 w 900424"/>
              <a:gd name="connsiteY34" fmla="*/ 513012 h 897080"/>
              <a:gd name="connsiteX35" fmla="*/ 481962 w 900424"/>
              <a:gd name="connsiteY35" fmla="*/ 541666 h 897080"/>
              <a:gd name="connsiteX36" fmla="*/ 752690 w 900424"/>
              <a:gd name="connsiteY36" fmla="*/ 541666 h 897080"/>
              <a:gd name="connsiteX37" fmla="*/ 752690 w 900424"/>
              <a:gd name="connsiteY37" fmla="*/ 512155 h 897080"/>
              <a:gd name="connsiteX38" fmla="*/ 477023 w 900424"/>
              <a:gd name="connsiteY38" fmla="*/ 512155 h 897080"/>
              <a:gd name="connsiteX39" fmla="*/ 407941 w 900424"/>
              <a:gd name="connsiteY39" fmla="*/ 436837 h 897080"/>
              <a:gd name="connsiteX40" fmla="*/ 435010 w 900424"/>
              <a:gd name="connsiteY40" fmla="*/ 466349 h 897080"/>
              <a:gd name="connsiteX41" fmla="*/ 752690 w 900424"/>
              <a:gd name="connsiteY41" fmla="*/ 466349 h 897080"/>
              <a:gd name="connsiteX42" fmla="*/ 752690 w 900424"/>
              <a:gd name="connsiteY42" fmla="*/ 436837 h 897080"/>
              <a:gd name="connsiteX43" fmla="*/ 407941 w 900424"/>
              <a:gd name="connsiteY43" fmla="*/ 436837 h 897080"/>
              <a:gd name="connsiteX44" fmla="*/ 338860 w 900424"/>
              <a:gd name="connsiteY44" fmla="*/ 361519 h 897080"/>
              <a:gd name="connsiteX45" fmla="*/ 365929 w 900424"/>
              <a:gd name="connsiteY45" fmla="*/ 391031 h 897080"/>
              <a:gd name="connsiteX46" fmla="*/ 752690 w 900424"/>
              <a:gd name="connsiteY46" fmla="*/ 391031 h 897080"/>
              <a:gd name="connsiteX47" fmla="*/ 752690 w 900424"/>
              <a:gd name="connsiteY47" fmla="*/ 361519 h 897080"/>
              <a:gd name="connsiteX48" fmla="*/ 338860 w 900424"/>
              <a:gd name="connsiteY48" fmla="*/ 361519 h 897080"/>
              <a:gd name="connsiteX49" fmla="*/ 208773 w 900424"/>
              <a:gd name="connsiteY49" fmla="*/ 261390 h 897080"/>
              <a:gd name="connsiteX50" fmla="*/ 191984 w 900424"/>
              <a:gd name="connsiteY50" fmla="*/ 266028 h 897080"/>
              <a:gd name="connsiteX51" fmla="*/ 127335 w 900424"/>
              <a:gd name="connsiteY51" fmla="*/ 325324 h 897080"/>
              <a:gd name="connsiteX52" fmla="*/ 129474 w 900424"/>
              <a:gd name="connsiteY52" fmla="*/ 360103 h 897080"/>
              <a:gd name="connsiteX53" fmla="*/ 350534 w 900424"/>
              <a:gd name="connsiteY53" fmla="*/ 601119 h 897080"/>
              <a:gd name="connsiteX54" fmla="*/ 384998 w 900424"/>
              <a:gd name="connsiteY54" fmla="*/ 606249 h 897080"/>
              <a:gd name="connsiteX55" fmla="*/ 449647 w 900424"/>
              <a:gd name="connsiteY55" fmla="*/ 546953 h 897080"/>
              <a:gd name="connsiteX56" fmla="*/ 447509 w 900424"/>
              <a:gd name="connsiteY56" fmla="*/ 512175 h 897080"/>
              <a:gd name="connsiteX57" fmla="*/ 226448 w 900424"/>
              <a:gd name="connsiteY57" fmla="*/ 271158 h 897080"/>
              <a:gd name="connsiteX58" fmla="*/ 208773 w 900424"/>
              <a:gd name="connsiteY58" fmla="*/ 261390 h 897080"/>
              <a:gd name="connsiteX59" fmla="*/ 260828 w 900424"/>
              <a:gd name="connsiteY59" fmla="*/ 243676 h 897080"/>
              <a:gd name="connsiteX60" fmla="*/ 260828 w 900424"/>
              <a:gd name="connsiteY60" fmla="*/ 276442 h 897080"/>
              <a:gd name="connsiteX61" fmla="*/ 266867 w 900424"/>
              <a:gd name="connsiteY61" fmla="*/ 283025 h 897080"/>
              <a:gd name="connsiteX62" fmla="*/ 555945 w 900424"/>
              <a:gd name="connsiteY62" fmla="*/ 283025 h 897080"/>
              <a:gd name="connsiteX63" fmla="*/ 555945 w 900424"/>
              <a:gd name="connsiteY63" fmla="*/ 243676 h 897080"/>
              <a:gd name="connsiteX64" fmla="*/ 260828 w 900424"/>
              <a:gd name="connsiteY64" fmla="*/ 243676 h 897080"/>
              <a:gd name="connsiteX65" fmla="*/ 593007 w 900424"/>
              <a:gd name="connsiteY65" fmla="*/ 92545 h 897080"/>
              <a:gd name="connsiteX66" fmla="*/ 593004 w 900424"/>
              <a:gd name="connsiteY66" fmla="*/ 246254 h 897080"/>
              <a:gd name="connsiteX67" fmla="*/ 636152 w 900424"/>
              <a:gd name="connsiteY67" fmla="*/ 294792 h 897080"/>
              <a:gd name="connsiteX68" fmla="*/ 797949 w 900424"/>
              <a:gd name="connsiteY68" fmla="*/ 297488 h 897080"/>
              <a:gd name="connsiteX69" fmla="*/ 593007 w 900424"/>
              <a:gd name="connsiteY69" fmla="*/ 92545 h 897080"/>
              <a:gd name="connsiteX70" fmla="*/ 655342 w 900424"/>
              <a:gd name="connsiteY70" fmla="*/ 72904 h 897080"/>
              <a:gd name="connsiteX71" fmla="*/ 721150 w 900424"/>
              <a:gd name="connsiteY71" fmla="*/ 72904 h 897080"/>
              <a:gd name="connsiteX72" fmla="*/ 900424 w 900424"/>
              <a:gd name="connsiteY72" fmla="*/ 254516 h 897080"/>
              <a:gd name="connsiteX73" fmla="*/ 900424 w 900424"/>
              <a:gd name="connsiteY73" fmla="*/ 826972 h 897080"/>
              <a:gd name="connsiteX74" fmla="*/ 852052 w 900424"/>
              <a:gd name="connsiteY74" fmla="*/ 879012 h 897080"/>
              <a:gd name="connsiteX75" fmla="*/ 828360 w 900424"/>
              <a:gd name="connsiteY75" fmla="*/ 879012 h 897080"/>
              <a:gd name="connsiteX76" fmla="*/ 849187 w 900424"/>
              <a:gd name="connsiteY76" fmla="*/ 836923 h 897080"/>
              <a:gd name="connsiteX77" fmla="*/ 849187 w 900424"/>
              <a:gd name="connsiteY77" fmla="*/ 266749 h 897080"/>
              <a:gd name="connsiteX78" fmla="*/ 655342 w 900424"/>
              <a:gd name="connsiteY78" fmla="*/ 72904 h 897080"/>
              <a:gd name="connsiteX79" fmla="*/ 284672 w 900424"/>
              <a:gd name="connsiteY79" fmla="*/ 0 h 897080"/>
              <a:gd name="connsiteX80" fmla="*/ 306902 w 900424"/>
              <a:gd name="connsiteY80" fmla="*/ 0 h 897080"/>
              <a:gd name="connsiteX81" fmla="*/ 312459 w 900424"/>
              <a:gd name="connsiteY81" fmla="*/ 5557 h 897080"/>
              <a:gd name="connsiteX82" fmla="*/ 312459 w 900424"/>
              <a:gd name="connsiteY82" fmla="*/ 44590 h 897080"/>
              <a:gd name="connsiteX83" fmla="*/ 341829 w 900424"/>
              <a:gd name="connsiteY83" fmla="*/ 44590 h 897080"/>
              <a:gd name="connsiteX84" fmla="*/ 341829 w 900424"/>
              <a:gd name="connsiteY84" fmla="*/ 5557 h 897080"/>
              <a:gd name="connsiteX85" fmla="*/ 347386 w 900424"/>
              <a:gd name="connsiteY85" fmla="*/ 0 h 897080"/>
              <a:gd name="connsiteX86" fmla="*/ 369616 w 900424"/>
              <a:gd name="connsiteY86" fmla="*/ 0 h 897080"/>
              <a:gd name="connsiteX87" fmla="*/ 375173 w 900424"/>
              <a:gd name="connsiteY87" fmla="*/ 5557 h 897080"/>
              <a:gd name="connsiteX88" fmla="*/ 375173 w 900424"/>
              <a:gd name="connsiteY88" fmla="*/ 44590 h 897080"/>
              <a:gd name="connsiteX89" fmla="*/ 404543 w 900424"/>
              <a:gd name="connsiteY89" fmla="*/ 44590 h 897080"/>
              <a:gd name="connsiteX90" fmla="*/ 404543 w 900424"/>
              <a:gd name="connsiteY90" fmla="*/ 5557 h 897080"/>
              <a:gd name="connsiteX91" fmla="*/ 410100 w 900424"/>
              <a:gd name="connsiteY91" fmla="*/ 0 h 897080"/>
              <a:gd name="connsiteX92" fmla="*/ 432330 w 900424"/>
              <a:gd name="connsiteY92" fmla="*/ 0 h 897080"/>
              <a:gd name="connsiteX93" fmla="*/ 437887 w 900424"/>
              <a:gd name="connsiteY93" fmla="*/ 5557 h 897080"/>
              <a:gd name="connsiteX94" fmla="*/ 437887 w 900424"/>
              <a:gd name="connsiteY94" fmla="*/ 44590 h 897080"/>
              <a:gd name="connsiteX95" fmla="*/ 467255 w 900424"/>
              <a:gd name="connsiteY95" fmla="*/ 44590 h 897080"/>
              <a:gd name="connsiteX96" fmla="*/ 467255 w 900424"/>
              <a:gd name="connsiteY96" fmla="*/ 5557 h 897080"/>
              <a:gd name="connsiteX97" fmla="*/ 472813 w 900424"/>
              <a:gd name="connsiteY97" fmla="*/ 0 h 897080"/>
              <a:gd name="connsiteX98" fmla="*/ 495042 w 900424"/>
              <a:gd name="connsiteY98" fmla="*/ 0 h 897080"/>
              <a:gd name="connsiteX99" fmla="*/ 500600 w 900424"/>
              <a:gd name="connsiteY99" fmla="*/ 5557 h 897080"/>
              <a:gd name="connsiteX100" fmla="*/ 500600 w 900424"/>
              <a:gd name="connsiteY100" fmla="*/ 44590 h 897080"/>
              <a:gd name="connsiteX101" fmla="*/ 606532 w 900424"/>
              <a:gd name="connsiteY101" fmla="*/ 44590 h 897080"/>
              <a:gd name="connsiteX102" fmla="*/ 833814 w 900424"/>
              <a:gd name="connsiteY102" fmla="*/ 271872 h 897080"/>
              <a:gd name="connsiteX103" fmla="*/ 833814 w 900424"/>
              <a:gd name="connsiteY103" fmla="*/ 842046 h 897080"/>
              <a:gd name="connsiteX104" fmla="*/ 778780 w 900424"/>
              <a:gd name="connsiteY104" fmla="*/ 897080 h 897080"/>
              <a:gd name="connsiteX105" fmla="*/ 239864 w 900424"/>
              <a:gd name="connsiteY105" fmla="*/ 897080 h 897080"/>
              <a:gd name="connsiteX106" fmla="*/ 184830 w 900424"/>
              <a:gd name="connsiteY106" fmla="*/ 842046 h 897080"/>
              <a:gd name="connsiteX107" fmla="*/ 184830 w 900424"/>
              <a:gd name="connsiteY107" fmla="*/ 453750 h 897080"/>
              <a:gd name="connsiteX108" fmla="*/ 108913 w 900424"/>
              <a:gd name="connsiteY108" fmla="*/ 370979 h 897080"/>
              <a:gd name="connsiteX109" fmla="*/ 110701 w 900424"/>
              <a:gd name="connsiteY109" fmla="*/ 329567 h 897080"/>
              <a:gd name="connsiteX110" fmla="*/ 184830 w 900424"/>
              <a:gd name="connsiteY110" fmla="*/ 261577 h 897080"/>
              <a:gd name="connsiteX111" fmla="*/ 184830 w 900424"/>
              <a:gd name="connsiteY111" fmla="*/ 229235 h 897080"/>
              <a:gd name="connsiteX112" fmla="*/ 182259 w 900424"/>
              <a:gd name="connsiteY112" fmla="*/ 231595 h 897080"/>
              <a:gd name="connsiteX113" fmla="*/ 181841 w 900424"/>
              <a:gd name="connsiteY113" fmla="*/ 224803 h 897080"/>
              <a:gd name="connsiteX114" fmla="*/ 140694 w 900424"/>
              <a:gd name="connsiteY114" fmla="*/ 179942 h 897080"/>
              <a:gd name="connsiteX115" fmla="*/ 121321 w 900424"/>
              <a:gd name="connsiteY115" fmla="*/ 177057 h 897080"/>
              <a:gd name="connsiteX116" fmla="*/ 42515 w 900424"/>
              <a:gd name="connsiteY116" fmla="*/ 249335 h 897080"/>
              <a:gd name="connsiteX117" fmla="*/ 43718 w 900424"/>
              <a:gd name="connsiteY117" fmla="*/ 268885 h 897080"/>
              <a:gd name="connsiteX118" fmla="*/ 84866 w 900424"/>
              <a:gd name="connsiteY118" fmla="*/ 313747 h 897080"/>
              <a:gd name="connsiteX119" fmla="*/ 91596 w 900424"/>
              <a:gd name="connsiteY119" fmla="*/ 314749 h 897080"/>
              <a:gd name="connsiteX120" fmla="*/ 83614 w 900424"/>
              <a:gd name="connsiteY120" fmla="*/ 322070 h 897080"/>
              <a:gd name="connsiteX121" fmla="*/ 60335 w 900424"/>
              <a:gd name="connsiteY121" fmla="*/ 321065 h 897080"/>
              <a:gd name="connsiteX122" fmla="*/ 15793 w 900424"/>
              <a:gd name="connsiteY122" fmla="*/ 272501 h 897080"/>
              <a:gd name="connsiteX123" fmla="*/ 16799 w 900424"/>
              <a:gd name="connsiteY123" fmla="*/ 249222 h 897080"/>
              <a:gd name="connsiteX124" fmla="*/ 122114 w 900424"/>
              <a:gd name="connsiteY124" fmla="*/ 152628 h 897080"/>
              <a:gd name="connsiteX125" fmla="*/ 145393 w 900424"/>
              <a:gd name="connsiteY125" fmla="*/ 153633 h 897080"/>
              <a:gd name="connsiteX126" fmla="*/ 184830 w 900424"/>
              <a:gd name="connsiteY126" fmla="*/ 196630 h 897080"/>
              <a:gd name="connsiteX127" fmla="*/ 184830 w 900424"/>
              <a:gd name="connsiteY127" fmla="*/ 99625 h 897080"/>
              <a:gd name="connsiteX128" fmla="*/ 239864 w 900424"/>
              <a:gd name="connsiteY128" fmla="*/ 44590 h 897080"/>
              <a:gd name="connsiteX129" fmla="*/ 279115 w 900424"/>
              <a:gd name="connsiteY129" fmla="*/ 44590 h 897080"/>
              <a:gd name="connsiteX130" fmla="*/ 279115 w 900424"/>
              <a:gd name="connsiteY130" fmla="*/ 5557 h 897080"/>
              <a:gd name="connsiteX131" fmla="*/ 284672 w 900424"/>
              <a:gd name="connsiteY131" fmla="*/ 0 h 897080"/>
              <a:gd name="connsiteX132" fmla="*/ 0 w 900424"/>
              <a:gd name="connsiteY132" fmla="*/ 168809 h 897080"/>
              <a:gd name="connsiteX133" fmla="*/ 69385 w 900424"/>
              <a:gd name="connsiteY133" fmla="*/ 71219 h 897080"/>
              <a:gd name="connsiteX134" fmla="*/ 0 w 900424"/>
              <a:gd name="connsiteY134" fmla="*/ 168855 h 897080"/>
              <a:gd name="connsiteX135" fmla="*/ 0 w 900424"/>
              <a:gd name="connsiteY135" fmla="*/ 168809 h 897080"/>
              <a:gd name="connsiteX0" fmla="*/ 260828 w 900424"/>
              <a:gd name="connsiteY0" fmla="*/ 738104 h 897080"/>
              <a:gd name="connsiteX1" fmla="*/ 260828 w 900424"/>
              <a:gd name="connsiteY1" fmla="*/ 767616 h 897080"/>
              <a:gd name="connsiteX2" fmla="*/ 752690 w 900424"/>
              <a:gd name="connsiteY2" fmla="*/ 767616 h 897080"/>
              <a:gd name="connsiteX3" fmla="*/ 752690 w 900424"/>
              <a:gd name="connsiteY3" fmla="*/ 738104 h 897080"/>
              <a:gd name="connsiteX4" fmla="*/ 260828 w 900424"/>
              <a:gd name="connsiteY4" fmla="*/ 738104 h 897080"/>
              <a:gd name="connsiteX5" fmla="*/ 523025 w 900424"/>
              <a:gd name="connsiteY5" fmla="*/ 662789 h 897080"/>
              <a:gd name="connsiteX6" fmla="*/ 529392 w 900424"/>
              <a:gd name="connsiteY6" fmla="*/ 692301 h 897080"/>
              <a:gd name="connsiteX7" fmla="*/ 752690 w 900424"/>
              <a:gd name="connsiteY7" fmla="*/ 692301 h 897080"/>
              <a:gd name="connsiteX8" fmla="*/ 752690 w 900424"/>
              <a:gd name="connsiteY8" fmla="*/ 662789 h 897080"/>
              <a:gd name="connsiteX9" fmla="*/ 523025 w 900424"/>
              <a:gd name="connsiteY9" fmla="*/ 662789 h 897080"/>
              <a:gd name="connsiteX10" fmla="*/ 260828 w 900424"/>
              <a:gd name="connsiteY10" fmla="*/ 662789 h 897080"/>
              <a:gd name="connsiteX11" fmla="*/ 260828 w 900424"/>
              <a:gd name="connsiteY11" fmla="*/ 692301 h 897080"/>
              <a:gd name="connsiteX12" fmla="*/ 520342 w 900424"/>
              <a:gd name="connsiteY12" fmla="*/ 692301 h 897080"/>
              <a:gd name="connsiteX13" fmla="*/ 427300 w 900424"/>
              <a:gd name="connsiteY13" fmla="*/ 662789 h 897080"/>
              <a:gd name="connsiteX14" fmla="*/ 260828 w 900424"/>
              <a:gd name="connsiteY14" fmla="*/ 662789 h 897080"/>
              <a:gd name="connsiteX15" fmla="*/ 506777 w 900424"/>
              <a:gd name="connsiteY15" fmla="*/ 587471 h 897080"/>
              <a:gd name="connsiteX16" fmla="*/ 513144 w 900424"/>
              <a:gd name="connsiteY16" fmla="*/ 616983 h 897080"/>
              <a:gd name="connsiteX17" fmla="*/ 752690 w 900424"/>
              <a:gd name="connsiteY17" fmla="*/ 616983 h 897080"/>
              <a:gd name="connsiteX18" fmla="*/ 752690 w 900424"/>
              <a:gd name="connsiteY18" fmla="*/ 587471 h 897080"/>
              <a:gd name="connsiteX19" fmla="*/ 506777 w 900424"/>
              <a:gd name="connsiteY19" fmla="*/ 587471 h 897080"/>
              <a:gd name="connsiteX20" fmla="*/ 260828 w 900424"/>
              <a:gd name="connsiteY20" fmla="*/ 587471 h 897080"/>
              <a:gd name="connsiteX21" fmla="*/ 260828 w 900424"/>
              <a:gd name="connsiteY21" fmla="*/ 616983 h 897080"/>
              <a:gd name="connsiteX22" fmla="*/ 334546 w 900424"/>
              <a:gd name="connsiteY22" fmla="*/ 616983 h 897080"/>
              <a:gd name="connsiteX23" fmla="*/ 307478 w 900424"/>
              <a:gd name="connsiteY23" fmla="*/ 587471 h 897080"/>
              <a:gd name="connsiteX24" fmla="*/ 260828 w 900424"/>
              <a:gd name="connsiteY24" fmla="*/ 587471 h 897080"/>
              <a:gd name="connsiteX25" fmla="*/ 467940 w 900424"/>
              <a:gd name="connsiteY25" fmla="*/ 544863 h 897080"/>
              <a:gd name="connsiteX26" fmla="*/ 385032 w 900424"/>
              <a:gd name="connsiteY26" fmla="*/ 620125 h 897080"/>
              <a:gd name="connsiteX27" fmla="*/ 506739 w 900424"/>
              <a:gd name="connsiteY27" fmla="*/ 670589 h 897080"/>
              <a:gd name="connsiteX28" fmla="*/ 467940 w 900424"/>
              <a:gd name="connsiteY28" fmla="*/ 544863 h 897080"/>
              <a:gd name="connsiteX29" fmla="*/ 260828 w 900424"/>
              <a:gd name="connsiteY29" fmla="*/ 536610 h 897080"/>
              <a:gd name="connsiteX30" fmla="*/ 260828 w 900424"/>
              <a:gd name="connsiteY30" fmla="*/ 541666 h 897080"/>
              <a:gd name="connsiteX31" fmla="*/ 265465 w 900424"/>
              <a:gd name="connsiteY31" fmla="*/ 541666 h 897080"/>
              <a:gd name="connsiteX32" fmla="*/ 260828 w 900424"/>
              <a:gd name="connsiteY32" fmla="*/ 536610 h 897080"/>
              <a:gd name="connsiteX33" fmla="*/ 477023 w 900424"/>
              <a:gd name="connsiteY33" fmla="*/ 512155 h 897080"/>
              <a:gd name="connsiteX34" fmla="*/ 477810 w 900424"/>
              <a:gd name="connsiteY34" fmla="*/ 513012 h 897080"/>
              <a:gd name="connsiteX35" fmla="*/ 481962 w 900424"/>
              <a:gd name="connsiteY35" fmla="*/ 541666 h 897080"/>
              <a:gd name="connsiteX36" fmla="*/ 752690 w 900424"/>
              <a:gd name="connsiteY36" fmla="*/ 541666 h 897080"/>
              <a:gd name="connsiteX37" fmla="*/ 752690 w 900424"/>
              <a:gd name="connsiteY37" fmla="*/ 512155 h 897080"/>
              <a:gd name="connsiteX38" fmla="*/ 477023 w 900424"/>
              <a:gd name="connsiteY38" fmla="*/ 512155 h 897080"/>
              <a:gd name="connsiteX39" fmla="*/ 407941 w 900424"/>
              <a:gd name="connsiteY39" fmla="*/ 436837 h 897080"/>
              <a:gd name="connsiteX40" fmla="*/ 435010 w 900424"/>
              <a:gd name="connsiteY40" fmla="*/ 466349 h 897080"/>
              <a:gd name="connsiteX41" fmla="*/ 752690 w 900424"/>
              <a:gd name="connsiteY41" fmla="*/ 466349 h 897080"/>
              <a:gd name="connsiteX42" fmla="*/ 752690 w 900424"/>
              <a:gd name="connsiteY42" fmla="*/ 436837 h 897080"/>
              <a:gd name="connsiteX43" fmla="*/ 407941 w 900424"/>
              <a:gd name="connsiteY43" fmla="*/ 436837 h 897080"/>
              <a:gd name="connsiteX44" fmla="*/ 338860 w 900424"/>
              <a:gd name="connsiteY44" fmla="*/ 361519 h 897080"/>
              <a:gd name="connsiteX45" fmla="*/ 365929 w 900424"/>
              <a:gd name="connsiteY45" fmla="*/ 391031 h 897080"/>
              <a:gd name="connsiteX46" fmla="*/ 752690 w 900424"/>
              <a:gd name="connsiteY46" fmla="*/ 391031 h 897080"/>
              <a:gd name="connsiteX47" fmla="*/ 752690 w 900424"/>
              <a:gd name="connsiteY47" fmla="*/ 361519 h 897080"/>
              <a:gd name="connsiteX48" fmla="*/ 338860 w 900424"/>
              <a:gd name="connsiteY48" fmla="*/ 361519 h 897080"/>
              <a:gd name="connsiteX49" fmla="*/ 208773 w 900424"/>
              <a:gd name="connsiteY49" fmla="*/ 261390 h 897080"/>
              <a:gd name="connsiteX50" fmla="*/ 191984 w 900424"/>
              <a:gd name="connsiteY50" fmla="*/ 266028 h 897080"/>
              <a:gd name="connsiteX51" fmla="*/ 127335 w 900424"/>
              <a:gd name="connsiteY51" fmla="*/ 325324 h 897080"/>
              <a:gd name="connsiteX52" fmla="*/ 129474 w 900424"/>
              <a:gd name="connsiteY52" fmla="*/ 360103 h 897080"/>
              <a:gd name="connsiteX53" fmla="*/ 350534 w 900424"/>
              <a:gd name="connsiteY53" fmla="*/ 601119 h 897080"/>
              <a:gd name="connsiteX54" fmla="*/ 384998 w 900424"/>
              <a:gd name="connsiteY54" fmla="*/ 606249 h 897080"/>
              <a:gd name="connsiteX55" fmla="*/ 449647 w 900424"/>
              <a:gd name="connsiteY55" fmla="*/ 546953 h 897080"/>
              <a:gd name="connsiteX56" fmla="*/ 447509 w 900424"/>
              <a:gd name="connsiteY56" fmla="*/ 512175 h 897080"/>
              <a:gd name="connsiteX57" fmla="*/ 226448 w 900424"/>
              <a:gd name="connsiteY57" fmla="*/ 271158 h 897080"/>
              <a:gd name="connsiteX58" fmla="*/ 208773 w 900424"/>
              <a:gd name="connsiteY58" fmla="*/ 261390 h 897080"/>
              <a:gd name="connsiteX59" fmla="*/ 260828 w 900424"/>
              <a:gd name="connsiteY59" fmla="*/ 243676 h 897080"/>
              <a:gd name="connsiteX60" fmla="*/ 260828 w 900424"/>
              <a:gd name="connsiteY60" fmla="*/ 276442 h 897080"/>
              <a:gd name="connsiteX61" fmla="*/ 266867 w 900424"/>
              <a:gd name="connsiteY61" fmla="*/ 283025 h 897080"/>
              <a:gd name="connsiteX62" fmla="*/ 555945 w 900424"/>
              <a:gd name="connsiteY62" fmla="*/ 283025 h 897080"/>
              <a:gd name="connsiteX63" fmla="*/ 555945 w 900424"/>
              <a:gd name="connsiteY63" fmla="*/ 243676 h 897080"/>
              <a:gd name="connsiteX64" fmla="*/ 260828 w 900424"/>
              <a:gd name="connsiteY64" fmla="*/ 243676 h 897080"/>
              <a:gd name="connsiteX65" fmla="*/ 593007 w 900424"/>
              <a:gd name="connsiteY65" fmla="*/ 92545 h 897080"/>
              <a:gd name="connsiteX66" fmla="*/ 593004 w 900424"/>
              <a:gd name="connsiteY66" fmla="*/ 246254 h 897080"/>
              <a:gd name="connsiteX67" fmla="*/ 636152 w 900424"/>
              <a:gd name="connsiteY67" fmla="*/ 294792 h 897080"/>
              <a:gd name="connsiteX68" fmla="*/ 797949 w 900424"/>
              <a:gd name="connsiteY68" fmla="*/ 297488 h 897080"/>
              <a:gd name="connsiteX69" fmla="*/ 593007 w 900424"/>
              <a:gd name="connsiteY69" fmla="*/ 92545 h 897080"/>
              <a:gd name="connsiteX70" fmla="*/ 655342 w 900424"/>
              <a:gd name="connsiteY70" fmla="*/ 72904 h 897080"/>
              <a:gd name="connsiteX71" fmla="*/ 721150 w 900424"/>
              <a:gd name="connsiteY71" fmla="*/ 72904 h 897080"/>
              <a:gd name="connsiteX72" fmla="*/ 900424 w 900424"/>
              <a:gd name="connsiteY72" fmla="*/ 254516 h 897080"/>
              <a:gd name="connsiteX73" fmla="*/ 900424 w 900424"/>
              <a:gd name="connsiteY73" fmla="*/ 826972 h 897080"/>
              <a:gd name="connsiteX74" fmla="*/ 852052 w 900424"/>
              <a:gd name="connsiteY74" fmla="*/ 879012 h 897080"/>
              <a:gd name="connsiteX75" fmla="*/ 828360 w 900424"/>
              <a:gd name="connsiteY75" fmla="*/ 879012 h 897080"/>
              <a:gd name="connsiteX76" fmla="*/ 849187 w 900424"/>
              <a:gd name="connsiteY76" fmla="*/ 836923 h 897080"/>
              <a:gd name="connsiteX77" fmla="*/ 849187 w 900424"/>
              <a:gd name="connsiteY77" fmla="*/ 266749 h 897080"/>
              <a:gd name="connsiteX78" fmla="*/ 655342 w 900424"/>
              <a:gd name="connsiteY78" fmla="*/ 72904 h 897080"/>
              <a:gd name="connsiteX79" fmla="*/ 284672 w 900424"/>
              <a:gd name="connsiteY79" fmla="*/ 0 h 897080"/>
              <a:gd name="connsiteX80" fmla="*/ 306902 w 900424"/>
              <a:gd name="connsiteY80" fmla="*/ 0 h 897080"/>
              <a:gd name="connsiteX81" fmla="*/ 312459 w 900424"/>
              <a:gd name="connsiteY81" fmla="*/ 5557 h 897080"/>
              <a:gd name="connsiteX82" fmla="*/ 312459 w 900424"/>
              <a:gd name="connsiteY82" fmla="*/ 44590 h 897080"/>
              <a:gd name="connsiteX83" fmla="*/ 341829 w 900424"/>
              <a:gd name="connsiteY83" fmla="*/ 44590 h 897080"/>
              <a:gd name="connsiteX84" fmla="*/ 341829 w 900424"/>
              <a:gd name="connsiteY84" fmla="*/ 5557 h 897080"/>
              <a:gd name="connsiteX85" fmla="*/ 347386 w 900424"/>
              <a:gd name="connsiteY85" fmla="*/ 0 h 897080"/>
              <a:gd name="connsiteX86" fmla="*/ 369616 w 900424"/>
              <a:gd name="connsiteY86" fmla="*/ 0 h 897080"/>
              <a:gd name="connsiteX87" fmla="*/ 375173 w 900424"/>
              <a:gd name="connsiteY87" fmla="*/ 5557 h 897080"/>
              <a:gd name="connsiteX88" fmla="*/ 375173 w 900424"/>
              <a:gd name="connsiteY88" fmla="*/ 44590 h 897080"/>
              <a:gd name="connsiteX89" fmla="*/ 404543 w 900424"/>
              <a:gd name="connsiteY89" fmla="*/ 44590 h 897080"/>
              <a:gd name="connsiteX90" fmla="*/ 404543 w 900424"/>
              <a:gd name="connsiteY90" fmla="*/ 5557 h 897080"/>
              <a:gd name="connsiteX91" fmla="*/ 410100 w 900424"/>
              <a:gd name="connsiteY91" fmla="*/ 0 h 897080"/>
              <a:gd name="connsiteX92" fmla="*/ 432330 w 900424"/>
              <a:gd name="connsiteY92" fmla="*/ 0 h 897080"/>
              <a:gd name="connsiteX93" fmla="*/ 437887 w 900424"/>
              <a:gd name="connsiteY93" fmla="*/ 5557 h 897080"/>
              <a:gd name="connsiteX94" fmla="*/ 437887 w 900424"/>
              <a:gd name="connsiteY94" fmla="*/ 44590 h 897080"/>
              <a:gd name="connsiteX95" fmla="*/ 467255 w 900424"/>
              <a:gd name="connsiteY95" fmla="*/ 44590 h 897080"/>
              <a:gd name="connsiteX96" fmla="*/ 467255 w 900424"/>
              <a:gd name="connsiteY96" fmla="*/ 5557 h 897080"/>
              <a:gd name="connsiteX97" fmla="*/ 472813 w 900424"/>
              <a:gd name="connsiteY97" fmla="*/ 0 h 897080"/>
              <a:gd name="connsiteX98" fmla="*/ 495042 w 900424"/>
              <a:gd name="connsiteY98" fmla="*/ 0 h 897080"/>
              <a:gd name="connsiteX99" fmla="*/ 500600 w 900424"/>
              <a:gd name="connsiteY99" fmla="*/ 5557 h 897080"/>
              <a:gd name="connsiteX100" fmla="*/ 500600 w 900424"/>
              <a:gd name="connsiteY100" fmla="*/ 44590 h 897080"/>
              <a:gd name="connsiteX101" fmla="*/ 606532 w 900424"/>
              <a:gd name="connsiteY101" fmla="*/ 44590 h 897080"/>
              <a:gd name="connsiteX102" fmla="*/ 833814 w 900424"/>
              <a:gd name="connsiteY102" fmla="*/ 271872 h 897080"/>
              <a:gd name="connsiteX103" fmla="*/ 833814 w 900424"/>
              <a:gd name="connsiteY103" fmla="*/ 842046 h 897080"/>
              <a:gd name="connsiteX104" fmla="*/ 778780 w 900424"/>
              <a:gd name="connsiteY104" fmla="*/ 897080 h 897080"/>
              <a:gd name="connsiteX105" fmla="*/ 239864 w 900424"/>
              <a:gd name="connsiteY105" fmla="*/ 897080 h 897080"/>
              <a:gd name="connsiteX106" fmla="*/ 184830 w 900424"/>
              <a:gd name="connsiteY106" fmla="*/ 842046 h 897080"/>
              <a:gd name="connsiteX107" fmla="*/ 184830 w 900424"/>
              <a:gd name="connsiteY107" fmla="*/ 453750 h 897080"/>
              <a:gd name="connsiteX108" fmla="*/ 108913 w 900424"/>
              <a:gd name="connsiteY108" fmla="*/ 370979 h 897080"/>
              <a:gd name="connsiteX109" fmla="*/ 110701 w 900424"/>
              <a:gd name="connsiteY109" fmla="*/ 329567 h 897080"/>
              <a:gd name="connsiteX110" fmla="*/ 184830 w 900424"/>
              <a:gd name="connsiteY110" fmla="*/ 261577 h 897080"/>
              <a:gd name="connsiteX111" fmla="*/ 184830 w 900424"/>
              <a:gd name="connsiteY111" fmla="*/ 229235 h 897080"/>
              <a:gd name="connsiteX112" fmla="*/ 182259 w 900424"/>
              <a:gd name="connsiteY112" fmla="*/ 231595 h 897080"/>
              <a:gd name="connsiteX113" fmla="*/ 181841 w 900424"/>
              <a:gd name="connsiteY113" fmla="*/ 224803 h 897080"/>
              <a:gd name="connsiteX114" fmla="*/ 140694 w 900424"/>
              <a:gd name="connsiteY114" fmla="*/ 179942 h 897080"/>
              <a:gd name="connsiteX115" fmla="*/ 121321 w 900424"/>
              <a:gd name="connsiteY115" fmla="*/ 177057 h 897080"/>
              <a:gd name="connsiteX116" fmla="*/ 42515 w 900424"/>
              <a:gd name="connsiteY116" fmla="*/ 249335 h 897080"/>
              <a:gd name="connsiteX117" fmla="*/ 43718 w 900424"/>
              <a:gd name="connsiteY117" fmla="*/ 268885 h 897080"/>
              <a:gd name="connsiteX118" fmla="*/ 84866 w 900424"/>
              <a:gd name="connsiteY118" fmla="*/ 313747 h 897080"/>
              <a:gd name="connsiteX119" fmla="*/ 91596 w 900424"/>
              <a:gd name="connsiteY119" fmla="*/ 314749 h 897080"/>
              <a:gd name="connsiteX120" fmla="*/ 83614 w 900424"/>
              <a:gd name="connsiteY120" fmla="*/ 322070 h 897080"/>
              <a:gd name="connsiteX121" fmla="*/ 60335 w 900424"/>
              <a:gd name="connsiteY121" fmla="*/ 321065 h 897080"/>
              <a:gd name="connsiteX122" fmla="*/ 15793 w 900424"/>
              <a:gd name="connsiteY122" fmla="*/ 272501 h 897080"/>
              <a:gd name="connsiteX123" fmla="*/ 16799 w 900424"/>
              <a:gd name="connsiteY123" fmla="*/ 249222 h 897080"/>
              <a:gd name="connsiteX124" fmla="*/ 122114 w 900424"/>
              <a:gd name="connsiteY124" fmla="*/ 152628 h 897080"/>
              <a:gd name="connsiteX125" fmla="*/ 145393 w 900424"/>
              <a:gd name="connsiteY125" fmla="*/ 153633 h 897080"/>
              <a:gd name="connsiteX126" fmla="*/ 184830 w 900424"/>
              <a:gd name="connsiteY126" fmla="*/ 196630 h 897080"/>
              <a:gd name="connsiteX127" fmla="*/ 184830 w 900424"/>
              <a:gd name="connsiteY127" fmla="*/ 99625 h 897080"/>
              <a:gd name="connsiteX128" fmla="*/ 239864 w 900424"/>
              <a:gd name="connsiteY128" fmla="*/ 44590 h 897080"/>
              <a:gd name="connsiteX129" fmla="*/ 279115 w 900424"/>
              <a:gd name="connsiteY129" fmla="*/ 44590 h 897080"/>
              <a:gd name="connsiteX130" fmla="*/ 279115 w 900424"/>
              <a:gd name="connsiteY130" fmla="*/ 5557 h 897080"/>
              <a:gd name="connsiteX131" fmla="*/ 284672 w 900424"/>
              <a:gd name="connsiteY131" fmla="*/ 0 h 897080"/>
              <a:gd name="connsiteX132" fmla="*/ 0 w 900424"/>
              <a:gd name="connsiteY132" fmla="*/ 168855 h 897080"/>
              <a:gd name="connsiteX133" fmla="*/ 69385 w 900424"/>
              <a:gd name="connsiteY133" fmla="*/ 71219 h 897080"/>
              <a:gd name="connsiteX134" fmla="*/ 0 w 900424"/>
              <a:gd name="connsiteY134" fmla="*/ 168855 h 897080"/>
              <a:gd name="connsiteX0" fmla="*/ 249370 w 888966"/>
              <a:gd name="connsiteY0" fmla="*/ 738104 h 897080"/>
              <a:gd name="connsiteX1" fmla="*/ 249370 w 888966"/>
              <a:gd name="connsiteY1" fmla="*/ 767616 h 897080"/>
              <a:gd name="connsiteX2" fmla="*/ 741232 w 888966"/>
              <a:gd name="connsiteY2" fmla="*/ 767616 h 897080"/>
              <a:gd name="connsiteX3" fmla="*/ 741232 w 888966"/>
              <a:gd name="connsiteY3" fmla="*/ 738104 h 897080"/>
              <a:gd name="connsiteX4" fmla="*/ 249370 w 888966"/>
              <a:gd name="connsiteY4" fmla="*/ 738104 h 897080"/>
              <a:gd name="connsiteX5" fmla="*/ 511567 w 888966"/>
              <a:gd name="connsiteY5" fmla="*/ 662789 h 897080"/>
              <a:gd name="connsiteX6" fmla="*/ 517934 w 888966"/>
              <a:gd name="connsiteY6" fmla="*/ 692301 h 897080"/>
              <a:gd name="connsiteX7" fmla="*/ 741232 w 888966"/>
              <a:gd name="connsiteY7" fmla="*/ 692301 h 897080"/>
              <a:gd name="connsiteX8" fmla="*/ 741232 w 888966"/>
              <a:gd name="connsiteY8" fmla="*/ 662789 h 897080"/>
              <a:gd name="connsiteX9" fmla="*/ 511567 w 888966"/>
              <a:gd name="connsiteY9" fmla="*/ 662789 h 897080"/>
              <a:gd name="connsiteX10" fmla="*/ 249370 w 888966"/>
              <a:gd name="connsiteY10" fmla="*/ 662789 h 897080"/>
              <a:gd name="connsiteX11" fmla="*/ 249370 w 888966"/>
              <a:gd name="connsiteY11" fmla="*/ 692301 h 897080"/>
              <a:gd name="connsiteX12" fmla="*/ 508884 w 888966"/>
              <a:gd name="connsiteY12" fmla="*/ 692301 h 897080"/>
              <a:gd name="connsiteX13" fmla="*/ 415842 w 888966"/>
              <a:gd name="connsiteY13" fmla="*/ 662789 h 897080"/>
              <a:gd name="connsiteX14" fmla="*/ 249370 w 888966"/>
              <a:gd name="connsiteY14" fmla="*/ 662789 h 897080"/>
              <a:gd name="connsiteX15" fmla="*/ 495319 w 888966"/>
              <a:gd name="connsiteY15" fmla="*/ 587471 h 897080"/>
              <a:gd name="connsiteX16" fmla="*/ 501686 w 888966"/>
              <a:gd name="connsiteY16" fmla="*/ 616983 h 897080"/>
              <a:gd name="connsiteX17" fmla="*/ 741232 w 888966"/>
              <a:gd name="connsiteY17" fmla="*/ 616983 h 897080"/>
              <a:gd name="connsiteX18" fmla="*/ 741232 w 888966"/>
              <a:gd name="connsiteY18" fmla="*/ 587471 h 897080"/>
              <a:gd name="connsiteX19" fmla="*/ 495319 w 888966"/>
              <a:gd name="connsiteY19" fmla="*/ 587471 h 897080"/>
              <a:gd name="connsiteX20" fmla="*/ 249370 w 888966"/>
              <a:gd name="connsiteY20" fmla="*/ 587471 h 897080"/>
              <a:gd name="connsiteX21" fmla="*/ 249370 w 888966"/>
              <a:gd name="connsiteY21" fmla="*/ 616983 h 897080"/>
              <a:gd name="connsiteX22" fmla="*/ 323088 w 888966"/>
              <a:gd name="connsiteY22" fmla="*/ 616983 h 897080"/>
              <a:gd name="connsiteX23" fmla="*/ 296020 w 888966"/>
              <a:gd name="connsiteY23" fmla="*/ 587471 h 897080"/>
              <a:gd name="connsiteX24" fmla="*/ 249370 w 888966"/>
              <a:gd name="connsiteY24" fmla="*/ 587471 h 897080"/>
              <a:gd name="connsiteX25" fmla="*/ 456482 w 888966"/>
              <a:gd name="connsiteY25" fmla="*/ 544863 h 897080"/>
              <a:gd name="connsiteX26" fmla="*/ 373574 w 888966"/>
              <a:gd name="connsiteY26" fmla="*/ 620125 h 897080"/>
              <a:gd name="connsiteX27" fmla="*/ 495281 w 888966"/>
              <a:gd name="connsiteY27" fmla="*/ 670589 h 897080"/>
              <a:gd name="connsiteX28" fmla="*/ 456482 w 888966"/>
              <a:gd name="connsiteY28" fmla="*/ 544863 h 897080"/>
              <a:gd name="connsiteX29" fmla="*/ 249370 w 888966"/>
              <a:gd name="connsiteY29" fmla="*/ 536610 h 897080"/>
              <a:gd name="connsiteX30" fmla="*/ 249370 w 888966"/>
              <a:gd name="connsiteY30" fmla="*/ 541666 h 897080"/>
              <a:gd name="connsiteX31" fmla="*/ 254007 w 888966"/>
              <a:gd name="connsiteY31" fmla="*/ 541666 h 897080"/>
              <a:gd name="connsiteX32" fmla="*/ 249370 w 888966"/>
              <a:gd name="connsiteY32" fmla="*/ 536610 h 897080"/>
              <a:gd name="connsiteX33" fmla="*/ 465565 w 888966"/>
              <a:gd name="connsiteY33" fmla="*/ 512155 h 897080"/>
              <a:gd name="connsiteX34" fmla="*/ 466352 w 888966"/>
              <a:gd name="connsiteY34" fmla="*/ 513012 h 897080"/>
              <a:gd name="connsiteX35" fmla="*/ 470504 w 888966"/>
              <a:gd name="connsiteY35" fmla="*/ 541666 h 897080"/>
              <a:gd name="connsiteX36" fmla="*/ 741232 w 888966"/>
              <a:gd name="connsiteY36" fmla="*/ 541666 h 897080"/>
              <a:gd name="connsiteX37" fmla="*/ 741232 w 888966"/>
              <a:gd name="connsiteY37" fmla="*/ 512155 h 897080"/>
              <a:gd name="connsiteX38" fmla="*/ 465565 w 888966"/>
              <a:gd name="connsiteY38" fmla="*/ 512155 h 897080"/>
              <a:gd name="connsiteX39" fmla="*/ 396483 w 888966"/>
              <a:gd name="connsiteY39" fmla="*/ 436837 h 897080"/>
              <a:gd name="connsiteX40" fmla="*/ 423552 w 888966"/>
              <a:gd name="connsiteY40" fmla="*/ 466349 h 897080"/>
              <a:gd name="connsiteX41" fmla="*/ 741232 w 888966"/>
              <a:gd name="connsiteY41" fmla="*/ 466349 h 897080"/>
              <a:gd name="connsiteX42" fmla="*/ 741232 w 888966"/>
              <a:gd name="connsiteY42" fmla="*/ 436837 h 897080"/>
              <a:gd name="connsiteX43" fmla="*/ 396483 w 888966"/>
              <a:gd name="connsiteY43" fmla="*/ 436837 h 897080"/>
              <a:gd name="connsiteX44" fmla="*/ 327402 w 888966"/>
              <a:gd name="connsiteY44" fmla="*/ 361519 h 897080"/>
              <a:gd name="connsiteX45" fmla="*/ 354471 w 888966"/>
              <a:gd name="connsiteY45" fmla="*/ 391031 h 897080"/>
              <a:gd name="connsiteX46" fmla="*/ 741232 w 888966"/>
              <a:gd name="connsiteY46" fmla="*/ 391031 h 897080"/>
              <a:gd name="connsiteX47" fmla="*/ 741232 w 888966"/>
              <a:gd name="connsiteY47" fmla="*/ 361519 h 897080"/>
              <a:gd name="connsiteX48" fmla="*/ 327402 w 888966"/>
              <a:gd name="connsiteY48" fmla="*/ 361519 h 897080"/>
              <a:gd name="connsiteX49" fmla="*/ 197315 w 888966"/>
              <a:gd name="connsiteY49" fmla="*/ 261390 h 897080"/>
              <a:gd name="connsiteX50" fmla="*/ 180526 w 888966"/>
              <a:gd name="connsiteY50" fmla="*/ 266028 h 897080"/>
              <a:gd name="connsiteX51" fmla="*/ 115877 w 888966"/>
              <a:gd name="connsiteY51" fmla="*/ 325324 h 897080"/>
              <a:gd name="connsiteX52" fmla="*/ 118016 w 888966"/>
              <a:gd name="connsiteY52" fmla="*/ 360103 h 897080"/>
              <a:gd name="connsiteX53" fmla="*/ 339076 w 888966"/>
              <a:gd name="connsiteY53" fmla="*/ 601119 h 897080"/>
              <a:gd name="connsiteX54" fmla="*/ 373540 w 888966"/>
              <a:gd name="connsiteY54" fmla="*/ 606249 h 897080"/>
              <a:gd name="connsiteX55" fmla="*/ 438189 w 888966"/>
              <a:gd name="connsiteY55" fmla="*/ 546953 h 897080"/>
              <a:gd name="connsiteX56" fmla="*/ 436051 w 888966"/>
              <a:gd name="connsiteY56" fmla="*/ 512175 h 897080"/>
              <a:gd name="connsiteX57" fmla="*/ 214990 w 888966"/>
              <a:gd name="connsiteY57" fmla="*/ 271158 h 897080"/>
              <a:gd name="connsiteX58" fmla="*/ 197315 w 888966"/>
              <a:gd name="connsiteY58" fmla="*/ 261390 h 897080"/>
              <a:gd name="connsiteX59" fmla="*/ 249370 w 888966"/>
              <a:gd name="connsiteY59" fmla="*/ 243676 h 897080"/>
              <a:gd name="connsiteX60" fmla="*/ 249370 w 888966"/>
              <a:gd name="connsiteY60" fmla="*/ 276442 h 897080"/>
              <a:gd name="connsiteX61" fmla="*/ 255409 w 888966"/>
              <a:gd name="connsiteY61" fmla="*/ 283025 h 897080"/>
              <a:gd name="connsiteX62" fmla="*/ 544487 w 888966"/>
              <a:gd name="connsiteY62" fmla="*/ 283025 h 897080"/>
              <a:gd name="connsiteX63" fmla="*/ 544487 w 888966"/>
              <a:gd name="connsiteY63" fmla="*/ 243676 h 897080"/>
              <a:gd name="connsiteX64" fmla="*/ 249370 w 888966"/>
              <a:gd name="connsiteY64" fmla="*/ 243676 h 897080"/>
              <a:gd name="connsiteX65" fmla="*/ 581549 w 888966"/>
              <a:gd name="connsiteY65" fmla="*/ 92545 h 897080"/>
              <a:gd name="connsiteX66" fmla="*/ 581546 w 888966"/>
              <a:gd name="connsiteY66" fmla="*/ 246254 h 897080"/>
              <a:gd name="connsiteX67" fmla="*/ 624694 w 888966"/>
              <a:gd name="connsiteY67" fmla="*/ 294792 h 897080"/>
              <a:gd name="connsiteX68" fmla="*/ 786491 w 888966"/>
              <a:gd name="connsiteY68" fmla="*/ 297488 h 897080"/>
              <a:gd name="connsiteX69" fmla="*/ 581549 w 888966"/>
              <a:gd name="connsiteY69" fmla="*/ 92545 h 897080"/>
              <a:gd name="connsiteX70" fmla="*/ 643884 w 888966"/>
              <a:gd name="connsiteY70" fmla="*/ 72904 h 897080"/>
              <a:gd name="connsiteX71" fmla="*/ 709692 w 888966"/>
              <a:gd name="connsiteY71" fmla="*/ 72904 h 897080"/>
              <a:gd name="connsiteX72" fmla="*/ 888966 w 888966"/>
              <a:gd name="connsiteY72" fmla="*/ 254516 h 897080"/>
              <a:gd name="connsiteX73" fmla="*/ 888966 w 888966"/>
              <a:gd name="connsiteY73" fmla="*/ 826972 h 897080"/>
              <a:gd name="connsiteX74" fmla="*/ 840594 w 888966"/>
              <a:gd name="connsiteY74" fmla="*/ 879012 h 897080"/>
              <a:gd name="connsiteX75" fmla="*/ 816902 w 888966"/>
              <a:gd name="connsiteY75" fmla="*/ 879012 h 897080"/>
              <a:gd name="connsiteX76" fmla="*/ 837729 w 888966"/>
              <a:gd name="connsiteY76" fmla="*/ 836923 h 897080"/>
              <a:gd name="connsiteX77" fmla="*/ 837729 w 888966"/>
              <a:gd name="connsiteY77" fmla="*/ 266749 h 897080"/>
              <a:gd name="connsiteX78" fmla="*/ 643884 w 888966"/>
              <a:gd name="connsiteY78" fmla="*/ 72904 h 897080"/>
              <a:gd name="connsiteX79" fmla="*/ 273214 w 888966"/>
              <a:gd name="connsiteY79" fmla="*/ 0 h 897080"/>
              <a:gd name="connsiteX80" fmla="*/ 295444 w 888966"/>
              <a:gd name="connsiteY80" fmla="*/ 0 h 897080"/>
              <a:gd name="connsiteX81" fmla="*/ 301001 w 888966"/>
              <a:gd name="connsiteY81" fmla="*/ 5557 h 897080"/>
              <a:gd name="connsiteX82" fmla="*/ 301001 w 888966"/>
              <a:gd name="connsiteY82" fmla="*/ 44590 h 897080"/>
              <a:gd name="connsiteX83" fmla="*/ 330371 w 888966"/>
              <a:gd name="connsiteY83" fmla="*/ 44590 h 897080"/>
              <a:gd name="connsiteX84" fmla="*/ 330371 w 888966"/>
              <a:gd name="connsiteY84" fmla="*/ 5557 h 897080"/>
              <a:gd name="connsiteX85" fmla="*/ 335928 w 888966"/>
              <a:gd name="connsiteY85" fmla="*/ 0 h 897080"/>
              <a:gd name="connsiteX86" fmla="*/ 358158 w 888966"/>
              <a:gd name="connsiteY86" fmla="*/ 0 h 897080"/>
              <a:gd name="connsiteX87" fmla="*/ 363715 w 888966"/>
              <a:gd name="connsiteY87" fmla="*/ 5557 h 897080"/>
              <a:gd name="connsiteX88" fmla="*/ 363715 w 888966"/>
              <a:gd name="connsiteY88" fmla="*/ 44590 h 897080"/>
              <a:gd name="connsiteX89" fmla="*/ 393085 w 888966"/>
              <a:gd name="connsiteY89" fmla="*/ 44590 h 897080"/>
              <a:gd name="connsiteX90" fmla="*/ 393085 w 888966"/>
              <a:gd name="connsiteY90" fmla="*/ 5557 h 897080"/>
              <a:gd name="connsiteX91" fmla="*/ 398642 w 888966"/>
              <a:gd name="connsiteY91" fmla="*/ 0 h 897080"/>
              <a:gd name="connsiteX92" fmla="*/ 420872 w 888966"/>
              <a:gd name="connsiteY92" fmla="*/ 0 h 897080"/>
              <a:gd name="connsiteX93" fmla="*/ 426429 w 888966"/>
              <a:gd name="connsiteY93" fmla="*/ 5557 h 897080"/>
              <a:gd name="connsiteX94" fmla="*/ 426429 w 888966"/>
              <a:gd name="connsiteY94" fmla="*/ 44590 h 897080"/>
              <a:gd name="connsiteX95" fmla="*/ 455797 w 888966"/>
              <a:gd name="connsiteY95" fmla="*/ 44590 h 897080"/>
              <a:gd name="connsiteX96" fmla="*/ 455797 w 888966"/>
              <a:gd name="connsiteY96" fmla="*/ 5557 h 897080"/>
              <a:gd name="connsiteX97" fmla="*/ 461355 w 888966"/>
              <a:gd name="connsiteY97" fmla="*/ 0 h 897080"/>
              <a:gd name="connsiteX98" fmla="*/ 483584 w 888966"/>
              <a:gd name="connsiteY98" fmla="*/ 0 h 897080"/>
              <a:gd name="connsiteX99" fmla="*/ 489142 w 888966"/>
              <a:gd name="connsiteY99" fmla="*/ 5557 h 897080"/>
              <a:gd name="connsiteX100" fmla="*/ 489142 w 888966"/>
              <a:gd name="connsiteY100" fmla="*/ 44590 h 897080"/>
              <a:gd name="connsiteX101" fmla="*/ 595074 w 888966"/>
              <a:gd name="connsiteY101" fmla="*/ 44590 h 897080"/>
              <a:gd name="connsiteX102" fmla="*/ 822356 w 888966"/>
              <a:gd name="connsiteY102" fmla="*/ 271872 h 897080"/>
              <a:gd name="connsiteX103" fmla="*/ 822356 w 888966"/>
              <a:gd name="connsiteY103" fmla="*/ 842046 h 897080"/>
              <a:gd name="connsiteX104" fmla="*/ 767322 w 888966"/>
              <a:gd name="connsiteY104" fmla="*/ 897080 h 897080"/>
              <a:gd name="connsiteX105" fmla="*/ 228406 w 888966"/>
              <a:gd name="connsiteY105" fmla="*/ 897080 h 897080"/>
              <a:gd name="connsiteX106" fmla="*/ 173372 w 888966"/>
              <a:gd name="connsiteY106" fmla="*/ 842046 h 897080"/>
              <a:gd name="connsiteX107" fmla="*/ 173372 w 888966"/>
              <a:gd name="connsiteY107" fmla="*/ 453750 h 897080"/>
              <a:gd name="connsiteX108" fmla="*/ 97455 w 888966"/>
              <a:gd name="connsiteY108" fmla="*/ 370979 h 897080"/>
              <a:gd name="connsiteX109" fmla="*/ 99243 w 888966"/>
              <a:gd name="connsiteY109" fmla="*/ 329567 h 897080"/>
              <a:gd name="connsiteX110" fmla="*/ 173372 w 888966"/>
              <a:gd name="connsiteY110" fmla="*/ 261577 h 897080"/>
              <a:gd name="connsiteX111" fmla="*/ 173372 w 888966"/>
              <a:gd name="connsiteY111" fmla="*/ 229235 h 897080"/>
              <a:gd name="connsiteX112" fmla="*/ 170801 w 888966"/>
              <a:gd name="connsiteY112" fmla="*/ 231595 h 897080"/>
              <a:gd name="connsiteX113" fmla="*/ 170383 w 888966"/>
              <a:gd name="connsiteY113" fmla="*/ 224803 h 897080"/>
              <a:gd name="connsiteX114" fmla="*/ 129236 w 888966"/>
              <a:gd name="connsiteY114" fmla="*/ 179942 h 897080"/>
              <a:gd name="connsiteX115" fmla="*/ 109863 w 888966"/>
              <a:gd name="connsiteY115" fmla="*/ 177057 h 897080"/>
              <a:gd name="connsiteX116" fmla="*/ 31057 w 888966"/>
              <a:gd name="connsiteY116" fmla="*/ 249335 h 897080"/>
              <a:gd name="connsiteX117" fmla="*/ 32260 w 888966"/>
              <a:gd name="connsiteY117" fmla="*/ 268885 h 897080"/>
              <a:gd name="connsiteX118" fmla="*/ 73408 w 888966"/>
              <a:gd name="connsiteY118" fmla="*/ 313747 h 897080"/>
              <a:gd name="connsiteX119" fmla="*/ 80138 w 888966"/>
              <a:gd name="connsiteY119" fmla="*/ 314749 h 897080"/>
              <a:gd name="connsiteX120" fmla="*/ 72156 w 888966"/>
              <a:gd name="connsiteY120" fmla="*/ 322070 h 897080"/>
              <a:gd name="connsiteX121" fmla="*/ 48877 w 888966"/>
              <a:gd name="connsiteY121" fmla="*/ 321065 h 897080"/>
              <a:gd name="connsiteX122" fmla="*/ 4335 w 888966"/>
              <a:gd name="connsiteY122" fmla="*/ 272501 h 897080"/>
              <a:gd name="connsiteX123" fmla="*/ 5341 w 888966"/>
              <a:gd name="connsiteY123" fmla="*/ 249222 h 897080"/>
              <a:gd name="connsiteX124" fmla="*/ 110656 w 888966"/>
              <a:gd name="connsiteY124" fmla="*/ 152628 h 897080"/>
              <a:gd name="connsiteX125" fmla="*/ 133935 w 888966"/>
              <a:gd name="connsiteY125" fmla="*/ 153633 h 897080"/>
              <a:gd name="connsiteX126" fmla="*/ 173372 w 888966"/>
              <a:gd name="connsiteY126" fmla="*/ 196630 h 897080"/>
              <a:gd name="connsiteX127" fmla="*/ 173372 w 888966"/>
              <a:gd name="connsiteY127" fmla="*/ 99625 h 897080"/>
              <a:gd name="connsiteX128" fmla="*/ 228406 w 888966"/>
              <a:gd name="connsiteY128" fmla="*/ 44590 h 897080"/>
              <a:gd name="connsiteX129" fmla="*/ 267657 w 888966"/>
              <a:gd name="connsiteY129" fmla="*/ 44590 h 897080"/>
              <a:gd name="connsiteX130" fmla="*/ 267657 w 888966"/>
              <a:gd name="connsiteY130" fmla="*/ 5557 h 897080"/>
              <a:gd name="connsiteX131" fmla="*/ 273214 w 888966"/>
              <a:gd name="connsiteY131" fmla="*/ 0 h 897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Lst>
            <a:rect l="l" t="t" r="r" b="b"/>
            <a:pathLst>
              <a:path w="888966" h="897080">
                <a:moveTo>
                  <a:pt x="249370" y="738104"/>
                </a:moveTo>
                <a:lnTo>
                  <a:pt x="249370" y="767616"/>
                </a:lnTo>
                <a:lnTo>
                  <a:pt x="741232" y="767616"/>
                </a:lnTo>
                <a:lnTo>
                  <a:pt x="741232" y="738104"/>
                </a:lnTo>
                <a:lnTo>
                  <a:pt x="249370" y="738104"/>
                </a:lnTo>
                <a:close/>
                <a:moveTo>
                  <a:pt x="511567" y="662789"/>
                </a:moveTo>
                <a:lnTo>
                  <a:pt x="517934" y="692301"/>
                </a:lnTo>
                <a:lnTo>
                  <a:pt x="741232" y="692301"/>
                </a:lnTo>
                <a:lnTo>
                  <a:pt x="741232" y="662789"/>
                </a:lnTo>
                <a:lnTo>
                  <a:pt x="511567" y="662789"/>
                </a:lnTo>
                <a:close/>
                <a:moveTo>
                  <a:pt x="249370" y="662789"/>
                </a:moveTo>
                <a:lnTo>
                  <a:pt x="249370" y="692301"/>
                </a:lnTo>
                <a:lnTo>
                  <a:pt x="508884" y="692301"/>
                </a:lnTo>
                <a:lnTo>
                  <a:pt x="415842" y="662789"/>
                </a:lnTo>
                <a:lnTo>
                  <a:pt x="249370" y="662789"/>
                </a:lnTo>
                <a:close/>
                <a:moveTo>
                  <a:pt x="495319" y="587471"/>
                </a:moveTo>
                <a:lnTo>
                  <a:pt x="501686" y="616983"/>
                </a:lnTo>
                <a:lnTo>
                  <a:pt x="741232" y="616983"/>
                </a:lnTo>
                <a:lnTo>
                  <a:pt x="741232" y="587471"/>
                </a:lnTo>
                <a:lnTo>
                  <a:pt x="495319" y="587471"/>
                </a:lnTo>
                <a:close/>
                <a:moveTo>
                  <a:pt x="249370" y="587471"/>
                </a:moveTo>
                <a:lnTo>
                  <a:pt x="249370" y="616983"/>
                </a:lnTo>
                <a:lnTo>
                  <a:pt x="323088" y="616983"/>
                </a:lnTo>
                <a:lnTo>
                  <a:pt x="296020" y="587471"/>
                </a:lnTo>
                <a:lnTo>
                  <a:pt x="249370" y="587471"/>
                </a:lnTo>
                <a:close/>
                <a:moveTo>
                  <a:pt x="456482" y="544863"/>
                </a:moveTo>
                <a:lnTo>
                  <a:pt x="373574" y="620125"/>
                </a:lnTo>
                <a:lnTo>
                  <a:pt x="495281" y="670589"/>
                </a:lnTo>
                <a:lnTo>
                  <a:pt x="456482" y="544863"/>
                </a:lnTo>
                <a:close/>
                <a:moveTo>
                  <a:pt x="249370" y="536610"/>
                </a:moveTo>
                <a:lnTo>
                  <a:pt x="249370" y="541666"/>
                </a:lnTo>
                <a:lnTo>
                  <a:pt x="254007" y="541666"/>
                </a:lnTo>
                <a:lnTo>
                  <a:pt x="249370" y="536610"/>
                </a:lnTo>
                <a:close/>
                <a:moveTo>
                  <a:pt x="465565" y="512155"/>
                </a:moveTo>
                <a:lnTo>
                  <a:pt x="466352" y="513012"/>
                </a:lnTo>
                <a:cubicBezTo>
                  <a:pt x="473866" y="521204"/>
                  <a:pt x="475841" y="532516"/>
                  <a:pt x="470504" y="541666"/>
                </a:cubicBezTo>
                <a:lnTo>
                  <a:pt x="741232" y="541666"/>
                </a:lnTo>
                <a:lnTo>
                  <a:pt x="741232" y="512155"/>
                </a:lnTo>
                <a:lnTo>
                  <a:pt x="465565" y="512155"/>
                </a:lnTo>
                <a:close/>
                <a:moveTo>
                  <a:pt x="396483" y="436837"/>
                </a:moveTo>
                <a:lnTo>
                  <a:pt x="423552" y="466349"/>
                </a:lnTo>
                <a:lnTo>
                  <a:pt x="741232" y="466349"/>
                </a:lnTo>
                <a:lnTo>
                  <a:pt x="741232" y="436837"/>
                </a:lnTo>
                <a:lnTo>
                  <a:pt x="396483" y="436837"/>
                </a:lnTo>
                <a:close/>
                <a:moveTo>
                  <a:pt x="327402" y="361519"/>
                </a:moveTo>
                <a:lnTo>
                  <a:pt x="354471" y="391031"/>
                </a:lnTo>
                <a:lnTo>
                  <a:pt x="741232" y="391031"/>
                </a:lnTo>
                <a:lnTo>
                  <a:pt x="741232" y="361519"/>
                </a:lnTo>
                <a:lnTo>
                  <a:pt x="327402" y="361519"/>
                </a:lnTo>
                <a:close/>
                <a:moveTo>
                  <a:pt x="197315" y="261390"/>
                </a:moveTo>
                <a:cubicBezTo>
                  <a:pt x="191078" y="260462"/>
                  <a:pt x="184990" y="261934"/>
                  <a:pt x="180526" y="266028"/>
                </a:cubicBezTo>
                <a:lnTo>
                  <a:pt x="115877" y="325324"/>
                </a:lnTo>
                <a:cubicBezTo>
                  <a:pt x="106950" y="333512"/>
                  <a:pt x="107908" y="349083"/>
                  <a:pt x="118016" y="360103"/>
                </a:cubicBezTo>
                <a:lnTo>
                  <a:pt x="339076" y="601119"/>
                </a:lnTo>
                <a:cubicBezTo>
                  <a:pt x="349185" y="612140"/>
                  <a:pt x="364614" y="614437"/>
                  <a:pt x="373540" y="606249"/>
                </a:cubicBezTo>
                <a:lnTo>
                  <a:pt x="438189" y="546953"/>
                </a:lnTo>
                <a:cubicBezTo>
                  <a:pt x="447116" y="538766"/>
                  <a:pt x="446158" y="523195"/>
                  <a:pt x="436051" y="512175"/>
                </a:cubicBezTo>
                <a:lnTo>
                  <a:pt x="214990" y="271158"/>
                </a:lnTo>
                <a:cubicBezTo>
                  <a:pt x="209936" y="265648"/>
                  <a:pt x="203552" y="262320"/>
                  <a:pt x="197315" y="261390"/>
                </a:cubicBezTo>
                <a:close/>
                <a:moveTo>
                  <a:pt x="249370" y="243676"/>
                </a:moveTo>
                <a:lnTo>
                  <a:pt x="249370" y="276442"/>
                </a:lnTo>
                <a:lnTo>
                  <a:pt x="255409" y="283025"/>
                </a:lnTo>
                <a:lnTo>
                  <a:pt x="544487" y="283025"/>
                </a:lnTo>
                <a:lnTo>
                  <a:pt x="544487" y="243676"/>
                </a:lnTo>
                <a:lnTo>
                  <a:pt x="249370" y="243676"/>
                </a:lnTo>
                <a:close/>
                <a:moveTo>
                  <a:pt x="581549" y="92545"/>
                </a:moveTo>
                <a:cubicBezTo>
                  <a:pt x="581549" y="143782"/>
                  <a:pt x="581546" y="195017"/>
                  <a:pt x="581546" y="246254"/>
                </a:cubicBezTo>
                <a:cubicBezTo>
                  <a:pt x="580561" y="275242"/>
                  <a:pt x="607752" y="291422"/>
                  <a:pt x="624694" y="294792"/>
                </a:cubicBezTo>
                <a:lnTo>
                  <a:pt x="786491" y="297488"/>
                </a:lnTo>
                <a:lnTo>
                  <a:pt x="581549" y="92545"/>
                </a:lnTo>
                <a:close/>
                <a:moveTo>
                  <a:pt x="643884" y="72904"/>
                </a:moveTo>
                <a:lnTo>
                  <a:pt x="709692" y="72904"/>
                </a:lnTo>
                <a:lnTo>
                  <a:pt x="888966" y="254516"/>
                </a:lnTo>
                <a:lnTo>
                  <a:pt x="888966" y="826972"/>
                </a:lnTo>
                <a:cubicBezTo>
                  <a:pt x="888966" y="855713"/>
                  <a:pt x="867310" y="879012"/>
                  <a:pt x="840594" y="879012"/>
                </a:cubicBezTo>
                <a:lnTo>
                  <a:pt x="816902" y="879012"/>
                </a:lnTo>
                <a:cubicBezTo>
                  <a:pt x="829807" y="869541"/>
                  <a:pt x="837729" y="854157"/>
                  <a:pt x="837729" y="836923"/>
                </a:cubicBezTo>
                <a:lnTo>
                  <a:pt x="837729" y="266749"/>
                </a:lnTo>
                <a:lnTo>
                  <a:pt x="643884" y="72904"/>
                </a:lnTo>
                <a:close/>
                <a:moveTo>
                  <a:pt x="273214" y="0"/>
                </a:moveTo>
                <a:lnTo>
                  <a:pt x="295444" y="0"/>
                </a:lnTo>
                <a:cubicBezTo>
                  <a:pt x="298513" y="0"/>
                  <a:pt x="301001" y="2488"/>
                  <a:pt x="301001" y="5557"/>
                </a:cubicBezTo>
                <a:lnTo>
                  <a:pt x="301001" y="44590"/>
                </a:lnTo>
                <a:lnTo>
                  <a:pt x="330371" y="44590"/>
                </a:lnTo>
                <a:lnTo>
                  <a:pt x="330371" y="5557"/>
                </a:lnTo>
                <a:lnTo>
                  <a:pt x="335928" y="0"/>
                </a:lnTo>
                <a:lnTo>
                  <a:pt x="358158" y="0"/>
                </a:lnTo>
                <a:cubicBezTo>
                  <a:pt x="361227" y="0"/>
                  <a:pt x="363715" y="2488"/>
                  <a:pt x="363715" y="5557"/>
                </a:cubicBezTo>
                <a:lnTo>
                  <a:pt x="363715" y="44590"/>
                </a:lnTo>
                <a:lnTo>
                  <a:pt x="393085" y="44590"/>
                </a:lnTo>
                <a:lnTo>
                  <a:pt x="393085" y="5557"/>
                </a:lnTo>
                <a:lnTo>
                  <a:pt x="398642" y="0"/>
                </a:lnTo>
                <a:lnTo>
                  <a:pt x="420872" y="0"/>
                </a:lnTo>
                <a:cubicBezTo>
                  <a:pt x="423941" y="0"/>
                  <a:pt x="426429" y="2488"/>
                  <a:pt x="426429" y="5557"/>
                </a:cubicBezTo>
                <a:lnTo>
                  <a:pt x="426429" y="44590"/>
                </a:lnTo>
                <a:lnTo>
                  <a:pt x="455797" y="44590"/>
                </a:lnTo>
                <a:lnTo>
                  <a:pt x="455797" y="5557"/>
                </a:lnTo>
                <a:lnTo>
                  <a:pt x="461355" y="0"/>
                </a:lnTo>
                <a:lnTo>
                  <a:pt x="483584" y="0"/>
                </a:lnTo>
                <a:cubicBezTo>
                  <a:pt x="486654" y="0"/>
                  <a:pt x="489142" y="2488"/>
                  <a:pt x="489142" y="5557"/>
                </a:cubicBezTo>
                <a:lnTo>
                  <a:pt x="489142" y="44590"/>
                </a:lnTo>
                <a:lnTo>
                  <a:pt x="595074" y="44590"/>
                </a:lnTo>
                <a:lnTo>
                  <a:pt x="822356" y="271872"/>
                </a:lnTo>
                <a:lnTo>
                  <a:pt x="822356" y="842046"/>
                </a:lnTo>
                <a:cubicBezTo>
                  <a:pt x="822356" y="872441"/>
                  <a:pt x="797716" y="897080"/>
                  <a:pt x="767322" y="897080"/>
                </a:cubicBezTo>
                <a:lnTo>
                  <a:pt x="228406" y="897080"/>
                </a:lnTo>
                <a:cubicBezTo>
                  <a:pt x="198010" y="897080"/>
                  <a:pt x="173372" y="872441"/>
                  <a:pt x="173372" y="842046"/>
                </a:cubicBezTo>
                <a:lnTo>
                  <a:pt x="173372" y="453750"/>
                </a:lnTo>
                <a:lnTo>
                  <a:pt x="97455" y="370979"/>
                </a:lnTo>
                <a:cubicBezTo>
                  <a:pt x="86512" y="359050"/>
                  <a:pt x="87313" y="340510"/>
                  <a:pt x="99243" y="329567"/>
                </a:cubicBezTo>
                <a:lnTo>
                  <a:pt x="173372" y="261577"/>
                </a:lnTo>
                <a:lnTo>
                  <a:pt x="173372" y="229235"/>
                </a:lnTo>
                <a:lnTo>
                  <a:pt x="170801" y="231595"/>
                </a:lnTo>
                <a:cubicBezTo>
                  <a:pt x="170662" y="229331"/>
                  <a:pt x="170522" y="227067"/>
                  <a:pt x="170383" y="224803"/>
                </a:cubicBezTo>
                <a:lnTo>
                  <a:pt x="129236" y="179942"/>
                </a:lnTo>
                <a:cubicBezTo>
                  <a:pt x="123552" y="173745"/>
                  <a:pt x="114879" y="172454"/>
                  <a:pt x="109863" y="177057"/>
                </a:cubicBezTo>
                <a:lnTo>
                  <a:pt x="31057" y="249335"/>
                </a:lnTo>
                <a:cubicBezTo>
                  <a:pt x="26040" y="253937"/>
                  <a:pt x="26578" y="262690"/>
                  <a:pt x="32260" y="268885"/>
                </a:cubicBezTo>
                <a:lnTo>
                  <a:pt x="73408" y="313747"/>
                </a:lnTo>
                <a:cubicBezTo>
                  <a:pt x="74973" y="315454"/>
                  <a:pt x="76765" y="316789"/>
                  <a:pt x="80138" y="314749"/>
                </a:cubicBezTo>
                <a:lnTo>
                  <a:pt x="72156" y="322070"/>
                </a:lnTo>
                <a:cubicBezTo>
                  <a:pt x="65450" y="328221"/>
                  <a:pt x="55029" y="327771"/>
                  <a:pt x="48877" y="321065"/>
                </a:cubicBezTo>
                <a:lnTo>
                  <a:pt x="4335" y="272501"/>
                </a:lnTo>
                <a:cubicBezTo>
                  <a:pt x="-1816" y="265795"/>
                  <a:pt x="-1366" y="255373"/>
                  <a:pt x="5341" y="249222"/>
                </a:cubicBezTo>
                <a:lnTo>
                  <a:pt x="110656" y="152628"/>
                </a:lnTo>
                <a:cubicBezTo>
                  <a:pt x="117361" y="146476"/>
                  <a:pt x="127783" y="146927"/>
                  <a:pt x="133935" y="153633"/>
                </a:cubicBezTo>
                <a:lnTo>
                  <a:pt x="173372" y="196630"/>
                </a:lnTo>
                <a:lnTo>
                  <a:pt x="173372" y="99625"/>
                </a:lnTo>
                <a:cubicBezTo>
                  <a:pt x="173372" y="69230"/>
                  <a:pt x="198010" y="44590"/>
                  <a:pt x="228406" y="44590"/>
                </a:cubicBezTo>
                <a:lnTo>
                  <a:pt x="267657" y="44590"/>
                </a:lnTo>
                <a:lnTo>
                  <a:pt x="267657" y="5557"/>
                </a:lnTo>
                <a:cubicBezTo>
                  <a:pt x="267657" y="2488"/>
                  <a:pt x="270145" y="0"/>
                  <a:pt x="273214" y="0"/>
                </a:cubicBezTo>
                <a:close/>
              </a:path>
            </a:pathLst>
          </a:custGeom>
          <a:solidFill>
            <a:srgbClr val="FAFAF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5126" tIns="47562" rIns="95126" bIns="47562" rtlCol="0" anchor="ctr">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a:endParaRPr lang="en-US" sz="2448" dirty="0">
              <a:solidFill>
                <a:prstClr val="white"/>
              </a:solidFill>
            </a:endParaRPr>
          </a:p>
        </p:txBody>
      </p:sp>
      <p:sp>
        <p:nvSpPr>
          <p:cNvPr id="21" name="TextBox 20"/>
          <p:cNvSpPr txBox="1"/>
          <p:nvPr/>
        </p:nvSpPr>
        <p:spPr>
          <a:xfrm>
            <a:off x="8661440" y="5533798"/>
            <a:ext cx="889346" cy="369332"/>
          </a:xfrm>
          <a:prstGeom prst="rect">
            <a:avLst/>
          </a:prstGeom>
        </p:spPr>
        <p:txBody>
          <a:bodyPr vert="horz" wrap="none" lIns="91440" tIns="45720" rIns="91440" bIns="45720" rtlCol="0" anchor="ctr">
            <a:spAutoFit/>
          </a:bodyPr>
          <a:lstStyle/>
          <a:p>
            <a:r>
              <a:rPr lang="fr-FR" dirty="0" smtClean="0"/>
              <a:t>Stretch</a:t>
            </a:r>
          </a:p>
        </p:txBody>
      </p:sp>
      <p:sp>
        <p:nvSpPr>
          <p:cNvPr id="22" name="TextBox 21"/>
          <p:cNvSpPr txBox="1"/>
          <p:nvPr/>
        </p:nvSpPr>
        <p:spPr>
          <a:xfrm>
            <a:off x="4207340" y="5533295"/>
            <a:ext cx="1124282" cy="369332"/>
          </a:xfrm>
          <a:prstGeom prst="rect">
            <a:avLst/>
          </a:prstGeom>
        </p:spPr>
        <p:txBody>
          <a:bodyPr vert="horz" wrap="none" lIns="91440" tIns="45720" rIns="91440" bIns="45720" rtlCol="0" anchor="ctr">
            <a:spAutoFit/>
          </a:bodyPr>
          <a:lstStyle/>
          <a:p>
            <a:r>
              <a:rPr lang="fr-FR" smtClean="0"/>
              <a:t>Temporal</a:t>
            </a:r>
            <a:endParaRPr lang="fr-FR" dirty="0" smtClean="0"/>
          </a:p>
        </p:txBody>
      </p:sp>
    </p:spTree>
    <p:extLst>
      <p:ext uri="{BB962C8B-B14F-4D97-AF65-F5344CB8AC3E}">
        <p14:creationId xmlns:p14="http://schemas.microsoft.com/office/powerpoint/2010/main" val="2682411855"/>
      </p:ext>
    </p:extLst>
  </p:cSld>
  <p:clrMapOvr>
    <a:masterClrMapping/>
  </p:clrMapOvr>
  <p:transition>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274639" y="1533694"/>
            <a:ext cx="11888787" cy="741757"/>
          </a:xfrm>
          <a:prstGeom prst="rect">
            <a:avLst/>
          </a:prstGeom>
          <a:solidFill>
            <a:srgbClr val="2E75B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a:lnSpc>
                <a:spcPct val="90000"/>
              </a:lnSpc>
              <a:buFont typeface="Wingdings 3" panose="05040102010807070707" pitchFamily="18" charset="2"/>
              <a:buChar char="Æ"/>
            </a:pPr>
            <a:endParaRPr lang="en-US" sz="2000" b="1" dirty="0" err="1" smtClean="0">
              <a:solidFill>
                <a:srgbClr val="FFFFFF"/>
              </a:solidFill>
              <a:latin typeface="Segoe UI Light"/>
              <a:ea typeface="Segoe UI" pitchFamily="34" charset="0"/>
              <a:cs typeface="Segoe UI" pitchFamily="34" charset="0"/>
            </a:endParaRPr>
          </a:p>
        </p:txBody>
      </p:sp>
      <p:sp>
        <p:nvSpPr>
          <p:cNvPr id="2" name="Title 1"/>
          <p:cNvSpPr>
            <a:spLocks noGrp="1"/>
          </p:cNvSpPr>
          <p:nvPr>
            <p:ph type="title"/>
          </p:nvPr>
        </p:nvSpPr>
        <p:spPr/>
        <p:txBody>
          <a:bodyPr/>
          <a:lstStyle/>
          <a:p>
            <a:r>
              <a:rPr lang="en-US" dirty="0" err="1" smtClean="0"/>
              <a:t>Mais</a:t>
            </a:r>
            <a:r>
              <a:rPr lang="en-US" dirty="0" smtClean="0"/>
              <a:t> encore …</a:t>
            </a:r>
            <a:endParaRPr lang="en-US" dirty="0"/>
          </a:p>
        </p:txBody>
      </p:sp>
      <p:sp>
        <p:nvSpPr>
          <p:cNvPr id="5" name="Text Placeholder 4"/>
          <p:cNvSpPr>
            <a:spLocks noGrp="1"/>
          </p:cNvSpPr>
          <p:nvPr>
            <p:ph type="body" sz="quarter" idx="14"/>
          </p:nvPr>
        </p:nvSpPr>
        <p:spPr/>
        <p:txBody>
          <a:bodyPr/>
          <a:lstStyle/>
          <a:p>
            <a:endParaRPr lang="fr-FR"/>
          </a:p>
        </p:txBody>
      </p:sp>
      <p:sp>
        <p:nvSpPr>
          <p:cNvPr id="6" name="Text Placeholder 5"/>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sp>
        <p:nvSpPr>
          <p:cNvPr id="4" name="Rectangle 3"/>
          <p:cNvSpPr/>
          <p:nvPr/>
        </p:nvSpPr>
        <p:spPr>
          <a:xfrm>
            <a:off x="537339" y="1596143"/>
            <a:ext cx="3464747" cy="584775"/>
          </a:xfrm>
          <a:prstGeom prst="rect">
            <a:avLst/>
          </a:prstGeom>
        </p:spPr>
        <p:txBody>
          <a:bodyPr wrap="square">
            <a:spAutoFit/>
          </a:bodyPr>
          <a:lstStyle/>
          <a:p>
            <a:r>
              <a:rPr lang="en-US" sz="3200" dirty="0" smtClean="0">
                <a:solidFill>
                  <a:srgbClr val="FFFFFF"/>
                </a:solidFill>
                <a:latin typeface="Segoe UI Light"/>
                <a:cs typeface="+mn-cs"/>
              </a:rPr>
              <a:t>Solutions </a:t>
            </a:r>
            <a:r>
              <a:rPr lang="en-US" sz="3200" dirty="0" err="1" smtClean="0">
                <a:solidFill>
                  <a:srgbClr val="FFFFFF"/>
                </a:solidFill>
                <a:latin typeface="Segoe UI Light"/>
                <a:cs typeface="+mn-cs"/>
              </a:rPr>
              <a:t>hybrides</a:t>
            </a:r>
            <a:endParaRPr lang="en-US" sz="3200" dirty="0">
              <a:solidFill>
                <a:srgbClr val="FFFFFF"/>
              </a:solidFill>
              <a:latin typeface="Segoe UI Light"/>
              <a:cs typeface="+mn-cs"/>
            </a:endParaRPr>
          </a:p>
        </p:txBody>
      </p:sp>
      <p:sp>
        <p:nvSpPr>
          <p:cNvPr id="14" name="Rectangle 13"/>
          <p:cNvSpPr/>
          <p:nvPr/>
        </p:nvSpPr>
        <p:spPr>
          <a:xfrm>
            <a:off x="537339" y="2594640"/>
            <a:ext cx="3539129" cy="2354491"/>
          </a:xfrm>
          <a:prstGeom prst="rect">
            <a:avLst/>
          </a:prstGeom>
        </p:spPr>
        <p:txBody>
          <a:bodyPr wrap="square">
            <a:spAutoFit/>
          </a:bodyPr>
          <a:lstStyle/>
          <a:p>
            <a:pPr defTabSz="932742" fontAlgn="auto">
              <a:lnSpc>
                <a:spcPct val="90000"/>
              </a:lnSpc>
              <a:spcBef>
                <a:spcPts val="600"/>
              </a:spcBef>
              <a:spcAft>
                <a:spcPts val="2400"/>
              </a:spcAft>
            </a:pPr>
            <a:r>
              <a:rPr lang="en-US" sz="2000" dirty="0">
                <a:solidFill>
                  <a:srgbClr val="2E75B6"/>
                </a:solidFill>
                <a:latin typeface="Segoe UI Light" panose="020B0502040204020203" pitchFamily="34" charset="0"/>
                <a:cs typeface="Segoe UI Light" panose="020B0502040204020203" pitchFamily="34" charset="0"/>
              </a:rPr>
              <a:t>Stretch </a:t>
            </a:r>
            <a:r>
              <a:rPr lang="en-US" sz="2000" dirty="0" smtClean="0">
                <a:solidFill>
                  <a:srgbClr val="2E75B6"/>
                </a:solidFill>
                <a:latin typeface="Segoe UI Light" panose="020B0502040204020203" pitchFamily="34" charset="0"/>
                <a:cs typeface="Segoe UI Light" panose="020B0502040204020203" pitchFamily="34" charset="0"/>
              </a:rPr>
              <a:t>tables </a:t>
            </a:r>
            <a:r>
              <a:rPr lang="en-US" sz="2000" dirty="0">
                <a:solidFill>
                  <a:srgbClr val="2E75B6"/>
                </a:solidFill>
                <a:latin typeface="Segoe UI Light" panose="020B0502040204020203" pitchFamily="34" charset="0"/>
                <a:cs typeface="Segoe UI Light" panose="020B0502040204020203" pitchFamily="34" charset="0"/>
              </a:rPr>
              <a:t>into Azure </a:t>
            </a:r>
          </a:p>
          <a:p>
            <a:pPr defTabSz="932742" fontAlgn="auto">
              <a:lnSpc>
                <a:spcPct val="90000"/>
              </a:lnSpc>
              <a:spcBef>
                <a:spcPts val="600"/>
              </a:spcBef>
              <a:spcAft>
                <a:spcPts val="2400"/>
              </a:spcAft>
            </a:pPr>
            <a:r>
              <a:rPr lang="en-US" sz="2000" dirty="0">
                <a:solidFill>
                  <a:srgbClr val="2E75B6"/>
                </a:solidFill>
                <a:latin typeface="Segoe UI Light" panose="020B0502040204020203" pitchFamily="34" charset="0"/>
                <a:cs typeface="Segoe UI Light" panose="020B0502040204020203" pitchFamily="34" charset="0"/>
              </a:rPr>
              <a:t>Power BI with on-premises data </a:t>
            </a:r>
          </a:p>
          <a:p>
            <a:pPr defTabSz="932742" fontAlgn="auto">
              <a:lnSpc>
                <a:spcPct val="90000"/>
              </a:lnSpc>
              <a:spcBef>
                <a:spcPts val="600"/>
              </a:spcBef>
              <a:spcAft>
                <a:spcPts val="2400"/>
              </a:spcAft>
            </a:pPr>
            <a:r>
              <a:rPr lang="en-US" sz="2000" dirty="0">
                <a:solidFill>
                  <a:srgbClr val="2E75B6"/>
                </a:solidFill>
                <a:latin typeface="Segoe UI Light" panose="020B0502040204020203" pitchFamily="34" charset="0"/>
                <a:cs typeface="Segoe UI Light" panose="020B0502040204020203" pitchFamily="34" charset="0"/>
              </a:rPr>
              <a:t>Hybrid scenarios with </a:t>
            </a:r>
            <a:r>
              <a:rPr lang="en-US" sz="2000" dirty="0" smtClean="0">
                <a:solidFill>
                  <a:srgbClr val="2E75B6"/>
                </a:solidFill>
                <a:latin typeface="Segoe UI Light" panose="020B0502040204020203" pitchFamily="34" charset="0"/>
                <a:cs typeface="Segoe UI Light" panose="020B0502040204020203" pitchFamily="34" charset="0"/>
              </a:rPr>
              <a:t>SSIS</a:t>
            </a:r>
            <a:endParaRPr lang="en-US" sz="1400" spc="-102" dirty="0">
              <a:ln w="3175">
                <a:noFill/>
              </a:ln>
              <a:solidFill>
                <a:srgbClr val="505050"/>
              </a:solidFill>
              <a:ea typeface="ＭＳ Ｐゴシック" charset="0"/>
              <a:cs typeface="Segoe UI" panose="020B0502040204020203" pitchFamily="34" charset="0"/>
            </a:endParaRPr>
          </a:p>
          <a:p>
            <a:pPr marL="0" lvl="1" indent="0" defTabSz="932472">
              <a:lnSpc>
                <a:spcPct val="90000"/>
              </a:lnSpc>
              <a:spcBef>
                <a:spcPts val="600"/>
              </a:spcBef>
              <a:spcAft>
                <a:spcPts val="2400"/>
              </a:spcAft>
              <a:buClr>
                <a:srgbClr val="0072C6">
                  <a:lumMod val="75000"/>
                </a:srgbClr>
              </a:buClr>
            </a:pPr>
            <a:r>
              <a:rPr lang="en-US" sz="2000" spc="-102" dirty="0">
                <a:ln w="3175">
                  <a:noFill/>
                </a:ln>
                <a:solidFill>
                  <a:srgbClr val="2E75B6"/>
                </a:solidFill>
                <a:latin typeface="Segoe UI Light"/>
                <a:ea typeface="ＭＳ Ｐゴシック" charset="0"/>
                <a:cs typeface="Segoe UI" panose="020B0502040204020203" pitchFamily="34" charset="0"/>
              </a:rPr>
              <a:t>Enhanced backup to </a:t>
            </a:r>
            <a:r>
              <a:rPr lang="en-US" sz="2000" spc="-102" dirty="0" smtClean="0">
                <a:ln w="3175">
                  <a:noFill/>
                </a:ln>
                <a:solidFill>
                  <a:srgbClr val="2E75B6"/>
                </a:solidFill>
                <a:latin typeface="Segoe UI Light"/>
                <a:ea typeface="ＭＳ Ｐゴシック" charset="0"/>
                <a:cs typeface="Segoe UI" panose="020B0502040204020203" pitchFamily="34" charset="0"/>
              </a:rPr>
              <a:t>Azure</a:t>
            </a:r>
          </a:p>
        </p:txBody>
      </p:sp>
      <p:sp>
        <p:nvSpPr>
          <p:cNvPr id="7" name="Rectangle 6"/>
          <p:cNvSpPr/>
          <p:nvPr/>
        </p:nvSpPr>
        <p:spPr>
          <a:xfrm>
            <a:off x="4504146" y="1596143"/>
            <a:ext cx="1805302" cy="584775"/>
          </a:xfrm>
          <a:prstGeom prst="rect">
            <a:avLst/>
          </a:prstGeom>
        </p:spPr>
        <p:txBody>
          <a:bodyPr wrap="none">
            <a:spAutoFit/>
          </a:bodyPr>
          <a:lstStyle/>
          <a:p>
            <a:pPr algn="ctr" defTabSz="932563" fontAlgn="auto">
              <a:spcBef>
                <a:spcPts val="0"/>
              </a:spcBef>
              <a:spcAft>
                <a:spcPts val="0"/>
              </a:spcAft>
            </a:pPr>
            <a:r>
              <a:rPr lang="en-US" sz="3200" dirty="0" err="1" smtClean="0">
                <a:solidFill>
                  <a:srgbClr val="FFFFFF"/>
                </a:solidFill>
                <a:latin typeface="Segoe UI Light"/>
                <a:cs typeface="+mn-cs"/>
              </a:rPr>
              <a:t>Simplicité</a:t>
            </a:r>
            <a:endParaRPr lang="en-US" sz="3200" dirty="0">
              <a:solidFill>
                <a:srgbClr val="FFFFFF"/>
              </a:solidFill>
              <a:latin typeface="Segoe UI Light"/>
              <a:cs typeface="+mn-cs"/>
            </a:endParaRPr>
          </a:p>
        </p:txBody>
      </p:sp>
      <p:sp>
        <p:nvSpPr>
          <p:cNvPr id="18" name="Rectangle 17"/>
          <p:cNvSpPr/>
          <p:nvPr/>
        </p:nvSpPr>
        <p:spPr>
          <a:xfrm>
            <a:off x="4514565" y="2594640"/>
            <a:ext cx="3732113" cy="1508105"/>
          </a:xfrm>
          <a:prstGeom prst="rect">
            <a:avLst/>
          </a:prstGeom>
        </p:spPr>
        <p:txBody>
          <a:bodyPr wrap="square">
            <a:spAutoFit/>
          </a:bodyPr>
          <a:lstStyle/>
          <a:p>
            <a:pPr defTabSz="932472" fontAlgn="auto">
              <a:lnSpc>
                <a:spcPct val="90000"/>
              </a:lnSpc>
              <a:spcBef>
                <a:spcPts val="0"/>
              </a:spcBef>
              <a:spcAft>
                <a:spcPts val="2400"/>
              </a:spcAft>
            </a:pPr>
            <a:r>
              <a:rPr lang="en-US" sz="2000" dirty="0">
                <a:solidFill>
                  <a:srgbClr val="2E75B6"/>
                </a:solidFill>
                <a:latin typeface="Segoe UI Light"/>
                <a:cs typeface="+mn-cs"/>
              </a:rPr>
              <a:t>Easy migration of on-premises </a:t>
            </a:r>
            <a:br>
              <a:rPr lang="en-US" sz="2000" dirty="0">
                <a:solidFill>
                  <a:srgbClr val="2E75B6"/>
                </a:solidFill>
                <a:latin typeface="Segoe UI Light"/>
                <a:cs typeface="+mn-cs"/>
              </a:rPr>
            </a:br>
            <a:r>
              <a:rPr lang="en-US" sz="2000" dirty="0">
                <a:solidFill>
                  <a:srgbClr val="2E75B6"/>
                </a:solidFill>
                <a:latin typeface="Segoe UI Light"/>
                <a:cs typeface="+mn-cs"/>
              </a:rPr>
              <a:t>SQL Server </a:t>
            </a:r>
          </a:p>
          <a:p>
            <a:pPr defTabSz="932472" fontAlgn="auto">
              <a:lnSpc>
                <a:spcPct val="90000"/>
              </a:lnSpc>
              <a:spcBef>
                <a:spcPts val="0"/>
              </a:spcBef>
              <a:spcAft>
                <a:spcPts val="2400"/>
              </a:spcAft>
            </a:pPr>
            <a:r>
              <a:rPr lang="en-US" sz="2000" dirty="0">
                <a:solidFill>
                  <a:srgbClr val="2E75B6"/>
                </a:solidFill>
                <a:latin typeface="Segoe UI Light"/>
                <a:cs typeface="+mn-cs"/>
              </a:rPr>
              <a:t>Simplified Add Azure </a:t>
            </a:r>
            <a:br>
              <a:rPr lang="en-US" sz="2000" dirty="0">
                <a:solidFill>
                  <a:srgbClr val="2E75B6"/>
                </a:solidFill>
                <a:latin typeface="Segoe UI Light"/>
                <a:cs typeface="+mn-cs"/>
              </a:rPr>
            </a:br>
            <a:r>
              <a:rPr lang="en-US" sz="2000" dirty="0">
                <a:solidFill>
                  <a:srgbClr val="2E75B6"/>
                </a:solidFill>
                <a:latin typeface="Segoe UI Light"/>
                <a:cs typeface="+mn-cs"/>
              </a:rPr>
              <a:t>Replica Wizard </a:t>
            </a:r>
          </a:p>
        </p:txBody>
      </p:sp>
      <p:sp>
        <p:nvSpPr>
          <p:cNvPr id="9" name="Rectangle 8"/>
          <p:cNvSpPr/>
          <p:nvPr/>
        </p:nvSpPr>
        <p:spPr>
          <a:xfrm>
            <a:off x="8663208" y="1596143"/>
            <a:ext cx="2230098" cy="584775"/>
          </a:xfrm>
          <a:prstGeom prst="rect">
            <a:avLst/>
          </a:prstGeom>
        </p:spPr>
        <p:txBody>
          <a:bodyPr wrap="none">
            <a:spAutoFit/>
          </a:bodyPr>
          <a:lstStyle/>
          <a:p>
            <a:pPr algn="ctr" defTabSz="932563" fontAlgn="auto">
              <a:spcBef>
                <a:spcPts val="0"/>
              </a:spcBef>
              <a:spcAft>
                <a:spcPts val="0"/>
              </a:spcAft>
            </a:pPr>
            <a:r>
              <a:rPr lang="en-US" sz="3200" dirty="0" smtClean="0">
                <a:solidFill>
                  <a:srgbClr val="FFFFFF"/>
                </a:solidFill>
                <a:latin typeface="Segoe UI Light"/>
                <a:cs typeface="+mn-cs"/>
              </a:rPr>
              <a:t>Consistence</a:t>
            </a:r>
            <a:endParaRPr lang="en-US" sz="3200" dirty="0">
              <a:solidFill>
                <a:srgbClr val="FFFFFF"/>
              </a:solidFill>
              <a:latin typeface="Segoe UI Light"/>
              <a:cs typeface="+mn-cs"/>
            </a:endParaRPr>
          </a:p>
        </p:txBody>
      </p:sp>
      <p:sp>
        <p:nvSpPr>
          <p:cNvPr id="20" name="Rectangle 19"/>
          <p:cNvSpPr/>
          <p:nvPr/>
        </p:nvSpPr>
        <p:spPr>
          <a:xfrm>
            <a:off x="8673628" y="2594640"/>
            <a:ext cx="3149403" cy="2369880"/>
          </a:xfrm>
          <a:prstGeom prst="rect">
            <a:avLst/>
          </a:prstGeom>
        </p:spPr>
        <p:txBody>
          <a:bodyPr wrap="square">
            <a:spAutoFit/>
          </a:bodyPr>
          <a:lstStyle/>
          <a:p>
            <a:pPr defTabSz="932472" fontAlgn="auto">
              <a:lnSpc>
                <a:spcPct val="90000"/>
              </a:lnSpc>
              <a:spcBef>
                <a:spcPts val="0"/>
              </a:spcBef>
              <a:spcAft>
                <a:spcPts val="2400"/>
              </a:spcAft>
            </a:pPr>
            <a:r>
              <a:rPr lang="en-US" sz="2000" dirty="0">
                <a:solidFill>
                  <a:srgbClr val="2E75B6"/>
                </a:solidFill>
                <a:latin typeface="Segoe UI Light"/>
                <a:cs typeface="+mn-cs"/>
              </a:rPr>
              <a:t>Common development, management and </a:t>
            </a:r>
            <a:r>
              <a:rPr lang="en-US" sz="2000" dirty="0" smtClean="0">
                <a:solidFill>
                  <a:srgbClr val="2E75B6"/>
                </a:solidFill>
                <a:latin typeface="Segoe UI Light"/>
                <a:cs typeface="+mn-cs"/>
              </a:rPr>
              <a:t/>
            </a:r>
            <a:br>
              <a:rPr lang="en-US" sz="2000" dirty="0" smtClean="0">
                <a:solidFill>
                  <a:srgbClr val="2E75B6"/>
                </a:solidFill>
                <a:latin typeface="Segoe UI Light"/>
                <a:cs typeface="+mn-cs"/>
              </a:rPr>
            </a:br>
            <a:r>
              <a:rPr lang="en-US" sz="2000" dirty="0" smtClean="0">
                <a:solidFill>
                  <a:srgbClr val="2E75B6"/>
                </a:solidFill>
                <a:latin typeface="Segoe UI Light"/>
                <a:cs typeface="+mn-cs"/>
              </a:rPr>
              <a:t>identity </a:t>
            </a:r>
            <a:r>
              <a:rPr lang="en-US" sz="2000" dirty="0">
                <a:solidFill>
                  <a:srgbClr val="2E75B6"/>
                </a:solidFill>
                <a:latin typeface="Segoe UI Light"/>
                <a:cs typeface="+mn-cs"/>
              </a:rPr>
              <a:t>tools</a:t>
            </a:r>
          </a:p>
          <a:p>
            <a:pPr defTabSz="932472" fontAlgn="auto">
              <a:lnSpc>
                <a:spcPct val="90000"/>
              </a:lnSpc>
              <a:spcBef>
                <a:spcPts val="0"/>
              </a:spcBef>
              <a:spcAft>
                <a:spcPts val="2400"/>
              </a:spcAft>
            </a:pPr>
            <a:r>
              <a:rPr lang="en-US" sz="2000" dirty="0">
                <a:solidFill>
                  <a:srgbClr val="2E75B6"/>
                </a:solidFill>
                <a:latin typeface="Segoe UI Light"/>
                <a:cs typeface="+mn-cs"/>
              </a:rPr>
              <a:t>Consistent experience </a:t>
            </a:r>
            <a:r>
              <a:rPr lang="en-US" sz="2000" dirty="0" smtClean="0">
                <a:solidFill>
                  <a:srgbClr val="2E75B6"/>
                </a:solidFill>
                <a:latin typeface="Segoe UI Light"/>
                <a:cs typeface="+mn-cs"/>
              </a:rPr>
              <a:t/>
            </a:r>
            <a:br>
              <a:rPr lang="en-US" sz="2000" dirty="0" smtClean="0">
                <a:solidFill>
                  <a:srgbClr val="2E75B6"/>
                </a:solidFill>
                <a:latin typeface="Segoe UI Light"/>
                <a:cs typeface="+mn-cs"/>
              </a:rPr>
            </a:br>
            <a:r>
              <a:rPr lang="en-US" sz="2000" dirty="0" smtClean="0">
                <a:solidFill>
                  <a:srgbClr val="2E75B6"/>
                </a:solidFill>
                <a:latin typeface="Segoe UI Light"/>
                <a:cs typeface="+mn-cs"/>
              </a:rPr>
              <a:t>from on-premises </a:t>
            </a:r>
            <a:r>
              <a:rPr lang="en-US" sz="2000" dirty="0">
                <a:solidFill>
                  <a:srgbClr val="2E75B6"/>
                </a:solidFill>
                <a:latin typeface="Segoe UI Light"/>
                <a:cs typeface="+mn-cs"/>
              </a:rPr>
              <a:t>to </a:t>
            </a:r>
            <a:r>
              <a:rPr lang="en-US" sz="2000" dirty="0" smtClean="0">
                <a:solidFill>
                  <a:srgbClr val="2E75B6"/>
                </a:solidFill>
                <a:latin typeface="Segoe UI Light"/>
                <a:cs typeface="+mn-cs"/>
              </a:rPr>
              <a:t>Azure</a:t>
            </a:r>
            <a:endParaRPr lang="en-US" sz="2000" dirty="0">
              <a:solidFill>
                <a:srgbClr val="2E75B6"/>
              </a:solidFill>
              <a:latin typeface="Segoe UI Light"/>
              <a:cs typeface="+mn-cs"/>
            </a:endParaRPr>
          </a:p>
          <a:p>
            <a:pPr defTabSz="932472" fontAlgn="auto">
              <a:lnSpc>
                <a:spcPct val="90000"/>
              </a:lnSpc>
              <a:spcBef>
                <a:spcPts val="0"/>
              </a:spcBef>
              <a:spcAft>
                <a:spcPts val="2400"/>
              </a:spcAft>
            </a:pPr>
            <a:endParaRPr lang="en-US" sz="2000" dirty="0">
              <a:solidFill>
                <a:srgbClr val="611C15"/>
              </a:solidFill>
              <a:latin typeface="Segoe UI Light"/>
              <a:cs typeface="+mn-cs"/>
            </a:endParaRPr>
          </a:p>
        </p:txBody>
      </p:sp>
      <p:cxnSp>
        <p:nvCxnSpPr>
          <p:cNvPr id="22" name="Straight Connector 21"/>
          <p:cNvCxnSpPr/>
          <p:nvPr/>
        </p:nvCxnSpPr>
        <p:spPr>
          <a:xfrm>
            <a:off x="274639" y="2275451"/>
            <a:ext cx="11814406" cy="0"/>
          </a:xfrm>
          <a:prstGeom prst="line">
            <a:avLst/>
          </a:prstGeom>
          <a:ln>
            <a:solidFill>
              <a:schemeClr val="bg1">
                <a:lumMod val="5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11" name="Group 10"/>
          <p:cNvGrpSpPr/>
          <p:nvPr/>
        </p:nvGrpSpPr>
        <p:grpSpPr>
          <a:xfrm>
            <a:off x="4289944" y="1540599"/>
            <a:ext cx="11145" cy="4859370"/>
            <a:chOff x="4076468" y="1588725"/>
            <a:chExt cx="11145" cy="4859370"/>
          </a:xfrm>
        </p:grpSpPr>
        <p:cxnSp>
          <p:nvCxnSpPr>
            <p:cNvPr id="25" name="Straight Connector 24"/>
            <p:cNvCxnSpPr/>
            <p:nvPr/>
          </p:nvCxnSpPr>
          <p:spPr>
            <a:xfrm rot="5400000">
              <a:off x="2030213" y="4390695"/>
              <a:ext cx="4114800" cy="0"/>
            </a:xfrm>
            <a:prstGeom prst="line">
              <a:avLst/>
            </a:prstGeom>
            <a:ln>
              <a:solidFill>
                <a:schemeClr val="bg1">
                  <a:lumMod val="5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4076468" y="1588725"/>
              <a:ext cx="0" cy="731520"/>
            </a:xfrm>
            <a:prstGeom prst="line">
              <a:avLst/>
            </a:prstGeom>
            <a:ln>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2" name="Group 11"/>
          <p:cNvGrpSpPr/>
          <p:nvPr/>
        </p:nvGrpSpPr>
        <p:grpSpPr>
          <a:xfrm>
            <a:off x="8460154" y="1540599"/>
            <a:ext cx="0" cy="4859369"/>
            <a:chOff x="8388995" y="1588725"/>
            <a:chExt cx="0" cy="4859369"/>
          </a:xfrm>
        </p:grpSpPr>
        <p:cxnSp>
          <p:nvCxnSpPr>
            <p:cNvPr id="27" name="Straight Connector 26"/>
            <p:cNvCxnSpPr/>
            <p:nvPr/>
          </p:nvCxnSpPr>
          <p:spPr>
            <a:xfrm rot="5400000">
              <a:off x="6331595" y="4390694"/>
              <a:ext cx="4114800" cy="0"/>
            </a:xfrm>
            <a:prstGeom prst="line">
              <a:avLst/>
            </a:prstGeom>
            <a:ln>
              <a:solidFill>
                <a:schemeClr val="bg1">
                  <a:lumMod val="5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8388995" y="1588725"/>
              <a:ext cx="0" cy="731520"/>
            </a:xfrm>
            <a:prstGeom prst="line">
              <a:avLst/>
            </a:prstGeom>
            <a:ln>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7346875"/>
      </p:ext>
    </p:extLst>
  </p:cSld>
  <p:clrMapOvr>
    <a:masterClrMapping/>
  </p:clrMapOvr>
  <p:transition>
    <p:fad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fr-FR" sz="4000" dirty="0"/>
              <a:t>Implémenter</a:t>
            </a:r>
            <a:r>
              <a:rPr lang="fr-FR" sz="4000"/>
              <a:t> </a:t>
            </a:r>
            <a:r>
              <a:rPr lang="fr-FR" sz="4000" dirty="0"/>
              <a:t>une application SaaS orientée données </a:t>
            </a:r>
            <a:r>
              <a:rPr lang="fr-FR" sz="4000"/>
              <a:t>avec les </a:t>
            </a:r>
            <a:r>
              <a:rPr lang="fr-FR" sz="4000" dirty="0"/>
              <a:t>innovations Azure SQL Database</a:t>
            </a:r>
          </a:p>
        </p:txBody>
      </p:sp>
      <p:sp>
        <p:nvSpPr>
          <p:cNvPr id="6" name="Text Placeholder 5"/>
          <p:cNvSpPr>
            <a:spLocks noGrp="1"/>
          </p:cNvSpPr>
          <p:nvPr>
            <p:ph type="body" sz="quarter" idx="10"/>
          </p:nvPr>
        </p:nvSpPr>
        <p:spPr>
          <a:xfrm>
            <a:off x="280987" y="4649390"/>
            <a:ext cx="6516649" cy="738664"/>
          </a:xfrm>
        </p:spPr>
        <p:txBody>
          <a:bodyPr/>
          <a:lstStyle/>
          <a:p>
            <a:r>
              <a:rPr lang="fr-FR" dirty="0" smtClean="0"/>
              <a:t>Stéphane Goudeau</a:t>
            </a:r>
            <a:endParaRPr lang="fr-FR" dirty="0"/>
          </a:p>
        </p:txBody>
      </p:sp>
      <p:sp>
        <p:nvSpPr>
          <p:cNvPr id="7" name="Text Placeholder 6"/>
          <p:cNvSpPr>
            <a:spLocks noGrp="1"/>
          </p:cNvSpPr>
          <p:nvPr>
            <p:ph type="body" sz="quarter" idx="11"/>
          </p:nvPr>
        </p:nvSpPr>
        <p:spPr>
          <a:xfrm>
            <a:off x="292561" y="5400691"/>
            <a:ext cx="6516649" cy="708471"/>
          </a:xfrm>
        </p:spPr>
        <p:txBody>
          <a:bodyPr/>
          <a:lstStyle/>
          <a:p>
            <a:r>
              <a:rPr lang="fr-FR" dirty="0" smtClean="0"/>
              <a:t>@</a:t>
            </a:r>
            <a:r>
              <a:rPr lang="en-US" dirty="0"/>
              <a:t>stephgou66</a:t>
            </a:r>
            <a:endParaRPr lang="fr-FR" dirty="0"/>
          </a:p>
        </p:txBody>
      </p:sp>
    </p:spTree>
    <p:extLst>
      <p:ext uri="{BB962C8B-B14F-4D97-AF65-F5344CB8AC3E}">
        <p14:creationId xmlns:p14="http://schemas.microsoft.com/office/powerpoint/2010/main" val="1936536703"/>
      </p:ext>
    </p:extLst>
  </p:cSld>
  <p:clrMapOvr>
    <a:masterClrMapping/>
  </p:clrMapOvr>
  <p:transition>
    <p:fade/>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0985" y="4067869"/>
            <a:ext cx="4156213" cy="1492190"/>
          </a:xfrm>
          <a:prstGeom prst="rect">
            <a:avLst/>
          </a:prstGeom>
        </p:spPr>
      </p:pic>
      <p:pic>
        <p:nvPicPr>
          <p:cNvPr id="12" name="Picture 1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971503" y="3811267"/>
            <a:ext cx="2513167" cy="2566315"/>
          </a:xfrm>
          <a:prstGeom prst="rect">
            <a:avLst/>
          </a:prstGeom>
        </p:spPr>
      </p:pic>
      <p:pic>
        <p:nvPicPr>
          <p:cNvPr id="14" name="Picture 1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444403" y="4067867"/>
            <a:ext cx="3433358" cy="1845600"/>
          </a:xfrm>
          <a:prstGeom prst="rect">
            <a:avLst/>
          </a:prstGeom>
        </p:spPr>
      </p:pic>
      <p:sp>
        <p:nvSpPr>
          <p:cNvPr id="15" name="TextBox 14"/>
          <p:cNvSpPr txBox="1"/>
          <p:nvPr/>
        </p:nvSpPr>
        <p:spPr>
          <a:xfrm>
            <a:off x="1255461" y="3288518"/>
            <a:ext cx="1696298" cy="357149"/>
          </a:xfrm>
          <a:prstGeom prst="rect">
            <a:avLst/>
          </a:prstGeom>
          <a:noFill/>
        </p:spPr>
        <p:txBody>
          <a:bodyPr wrap="none" rtlCol="0">
            <a:spAutoFit/>
          </a:bodyPr>
          <a:lstStyle/>
          <a:p>
            <a:r>
              <a:rPr lang="fr-FR" sz="1721" dirty="0">
                <a:solidFill>
                  <a:schemeClr val="accent6"/>
                </a:solidFill>
                <a:latin typeface="Segoe Pro Light"/>
                <a:cs typeface="Segoe Pro Light"/>
              </a:rPr>
              <a:t> 1 DB par client</a:t>
            </a:r>
          </a:p>
        </p:txBody>
      </p:sp>
      <p:sp>
        <p:nvSpPr>
          <p:cNvPr id="16" name="TextBox 15"/>
          <p:cNvSpPr txBox="1"/>
          <p:nvPr/>
        </p:nvSpPr>
        <p:spPr>
          <a:xfrm>
            <a:off x="4918617" y="3169801"/>
            <a:ext cx="2137124" cy="621965"/>
          </a:xfrm>
          <a:prstGeom prst="rect">
            <a:avLst/>
          </a:prstGeom>
          <a:noFill/>
        </p:spPr>
        <p:txBody>
          <a:bodyPr wrap="none" rtlCol="0">
            <a:spAutoFit/>
          </a:bodyPr>
          <a:lstStyle/>
          <a:p>
            <a:r>
              <a:rPr lang="fr-FR" sz="1721" dirty="0">
                <a:solidFill>
                  <a:schemeClr val="accent6"/>
                </a:solidFill>
                <a:latin typeface="Segoe Pro Light"/>
                <a:cs typeface="Segoe Pro Light"/>
              </a:rPr>
              <a:t>1 DB pour N Clients</a:t>
            </a:r>
          </a:p>
          <a:p>
            <a:r>
              <a:rPr lang="fr-FR" sz="1721" dirty="0">
                <a:solidFill>
                  <a:schemeClr val="accent6"/>
                </a:solidFill>
                <a:latin typeface="Segoe Pro Light"/>
                <a:cs typeface="Segoe Pro Light"/>
              </a:rPr>
              <a:t>1 schéma par client</a:t>
            </a:r>
          </a:p>
        </p:txBody>
      </p:sp>
      <p:sp>
        <p:nvSpPr>
          <p:cNvPr id="17" name="TextBox 16"/>
          <p:cNvSpPr txBox="1"/>
          <p:nvPr/>
        </p:nvSpPr>
        <p:spPr>
          <a:xfrm>
            <a:off x="8327095" y="3189302"/>
            <a:ext cx="2558714" cy="621965"/>
          </a:xfrm>
          <a:prstGeom prst="rect">
            <a:avLst/>
          </a:prstGeom>
          <a:noFill/>
        </p:spPr>
        <p:txBody>
          <a:bodyPr wrap="none" rtlCol="0">
            <a:spAutoFit/>
          </a:bodyPr>
          <a:lstStyle/>
          <a:p>
            <a:r>
              <a:rPr lang="fr-FR" sz="1721" dirty="0">
                <a:solidFill>
                  <a:schemeClr val="accent6"/>
                </a:solidFill>
                <a:latin typeface="Segoe Pro Light"/>
                <a:cs typeface="Segoe Pro Light"/>
              </a:rPr>
              <a:t>1 DB pour N Clients</a:t>
            </a:r>
          </a:p>
          <a:p>
            <a:r>
              <a:rPr lang="fr-FR" sz="1721" dirty="0">
                <a:solidFill>
                  <a:schemeClr val="accent6"/>
                </a:solidFill>
                <a:latin typeface="Segoe Pro Light"/>
                <a:cs typeface="Segoe Pro Light"/>
              </a:rPr>
              <a:t>1 schéma pour N clients</a:t>
            </a:r>
          </a:p>
        </p:txBody>
      </p:sp>
      <p:sp>
        <p:nvSpPr>
          <p:cNvPr id="6" name="Title 5"/>
          <p:cNvSpPr>
            <a:spLocks noGrp="1"/>
          </p:cNvSpPr>
          <p:nvPr>
            <p:ph type="title"/>
          </p:nvPr>
        </p:nvSpPr>
        <p:spPr/>
        <p:txBody>
          <a:bodyPr>
            <a:normAutofit fontScale="90000"/>
          </a:bodyPr>
          <a:lstStyle/>
          <a:p>
            <a:r>
              <a:rPr lang="en-US" dirty="0" smtClean="0"/>
              <a:t>Notre cahier des charges…</a:t>
            </a:r>
            <a:endParaRPr lang="fr-FR" dirty="0"/>
          </a:p>
        </p:txBody>
      </p:sp>
      <p:sp>
        <p:nvSpPr>
          <p:cNvPr id="2" name="Text Placeholder 1"/>
          <p:cNvSpPr>
            <a:spLocks noGrp="1"/>
          </p:cNvSpPr>
          <p:nvPr>
            <p:ph type="body" sz="quarter" idx="13"/>
          </p:nvPr>
        </p:nvSpPr>
        <p:spPr>
          <a:xfrm>
            <a:off x="274639" y="895263"/>
            <a:ext cx="11807825" cy="4895329"/>
          </a:xfrm>
        </p:spPr>
        <p:txBody>
          <a:bodyPr/>
          <a:lstStyle/>
          <a:p>
            <a:r>
              <a:rPr lang="fr-FR" dirty="0" smtClean="0"/>
              <a:t>Implémenter une application SaaS orientée données...</a:t>
            </a:r>
          </a:p>
          <a:p>
            <a:r>
              <a:rPr lang="fr-FR" dirty="0" smtClean="0"/>
              <a:t>Trois modèles pour y répondre</a:t>
            </a:r>
          </a:p>
          <a:p>
            <a:pPr lvl="1"/>
            <a:r>
              <a:rPr lang="fr-FR" dirty="0">
                <a:hlinkClick r:id="rId6"/>
              </a:rPr>
              <a:t>https://</a:t>
            </a:r>
            <a:r>
              <a:rPr lang="fr-FR" dirty="0" smtClean="0">
                <a:hlinkClick r:id="rId6"/>
              </a:rPr>
              <a:t>msdn.microsoft.com/en-us/library/aa479086.aspx</a:t>
            </a:r>
            <a:endParaRPr lang="fr-FR" dirty="0" smtClean="0"/>
          </a:p>
          <a:p>
            <a:pPr lvl="1"/>
            <a:endParaRPr lang="fr-FR" dirty="0" smtClean="0"/>
          </a:p>
        </p:txBody>
      </p:sp>
      <p:sp>
        <p:nvSpPr>
          <p:cNvPr id="4" name="Text Placeholder 3"/>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spTree>
    <p:extLst>
      <p:ext uri="{BB962C8B-B14F-4D97-AF65-F5344CB8AC3E}">
        <p14:creationId xmlns:p14="http://schemas.microsoft.com/office/powerpoint/2010/main" val="2771466260"/>
      </p:ext>
    </p:extLst>
  </p:cSld>
  <p:clrMapOvr>
    <a:masterClrMapping/>
  </p:clrMapOvr>
  <p:transition>
    <p:fad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sp>
        <p:nvSpPr>
          <p:cNvPr id="71" name="Title 1"/>
          <p:cNvSpPr>
            <a:spLocks noGrp="1"/>
          </p:cNvSpPr>
          <p:nvPr>
            <p:ph type="title"/>
          </p:nvPr>
        </p:nvSpPr>
        <p:spPr/>
        <p:txBody>
          <a:bodyPr>
            <a:normAutofit fontScale="90000"/>
          </a:bodyPr>
          <a:lstStyle/>
          <a:p>
            <a:r>
              <a:rPr lang="fr-FR" dirty="0" smtClean="0"/>
              <a:t>Le plus simple des trois…</a:t>
            </a:r>
            <a:endParaRPr lang="fr-FR" dirty="0"/>
          </a:p>
        </p:txBody>
      </p:sp>
      <p:cxnSp>
        <p:nvCxnSpPr>
          <p:cNvPr id="104" name="Straight Connector 103"/>
          <p:cNvCxnSpPr/>
          <p:nvPr/>
        </p:nvCxnSpPr>
        <p:spPr>
          <a:xfrm>
            <a:off x="6274474" y="5135946"/>
            <a:ext cx="679205" cy="0"/>
          </a:xfrm>
          <a:prstGeom prst="line">
            <a:avLst/>
          </a:prstGeom>
          <a:noFill/>
          <a:ln w="38100" cap="flat" cmpd="sng" algn="ctr">
            <a:solidFill>
              <a:srgbClr val="0072C6">
                <a:lumMod val="75000"/>
              </a:srgbClr>
            </a:solidFill>
            <a:prstDash val="sysDot"/>
          </a:ln>
          <a:effectLst/>
        </p:spPr>
      </p:cxnSp>
      <p:sp>
        <p:nvSpPr>
          <p:cNvPr id="105" name="Can 104"/>
          <p:cNvSpPr/>
          <p:nvPr/>
        </p:nvSpPr>
        <p:spPr>
          <a:xfrm>
            <a:off x="6486871" y="3230969"/>
            <a:ext cx="598149" cy="571270"/>
          </a:xfrm>
          <a:prstGeom prst="can">
            <a:avLst/>
          </a:prstGeom>
          <a:solidFill>
            <a:srgbClr val="0072C6"/>
          </a:solidFill>
          <a:ln w="25400" cap="flat" cmpd="sng" algn="ctr">
            <a:solidFill>
              <a:srgbClr val="0072C6">
                <a:lumMod val="75000"/>
              </a:srgbClr>
            </a:solidFill>
            <a:prstDash val="solid"/>
          </a:ln>
          <a:effectLst/>
        </p:spPr>
        <p:txBody>
          <a:bodyPr lIns="0" rIns="0" rtlCol="0" anchor="ctr"/>
          <a:lstStyle/>
          <a:p>
            <a:pPr marL="0" marR="0" lvl="0" indent="0" algn="ctr" defTabSz="623863" eaLnBrk="1" fontAlgn="auto" latinLnBrk="0" hangingPunct="1">
              <a:lnSpc>
                <a:spcPct val="100000"/>
              </a:lnSpc>
              <a:spcBef>
                <a:spcPts val="0"/>
              </a:spcBef>
              <a:spcAft>
                <a:spcPts val="0"/>
              </a:spcAft>
              <a:buClrTx/>
              <a:buSzTx/>
              <a:buFontTx/>
              <a:buNone/>
              <a:tabLst/>
              <a:defRPr/>
            </a:pPr>
            <a:r>
              <a:rPr kumimoji="0" lang="fr-FR" sz="1176" b="0" i="0" u="none" strike="noStrike" kern="0" cap="none" spc="0" normalizeH="0" baseline="0" noProof="0" dirty="0" err="1" smtClean="0">
                <a:ln>
                  <a:noFill/>
                </a:ln>
                <a:solidFill>
                  <a:prstClr val="white"/>
                </a:solidFill>
                <a:effectLst/>
                <a:uLnTx/>
                <a:uFillTx/>
                <a:latin typeface="Arial"/>
                <a:ea typeface="+mn-ea"/>
                <a:cs typeface="+mn-cs"/>
              </a:rPr>
              <a:t>Catalog</a:t>
            </a:r>
            <a:endParaRPr kumimoji="0" lang="fr-FR" sz="1176" b="0" i="0" u="none" strike="noStrike" kern="0" cap="none" spc="0" normalizeH="0" baseline="0" noProof="0" dirty="0" smtClean="0">
              <a:ln>
                <a:noFill/>
              </a:ln>
              <a:solidFill>
                <a:prstClr val="white"/>
              </a:solidFill>
              <a:effectLst/>
              <a:uLnTx/>
              <a:uFillTx/>
              <a:latin typeface="Arial"/>
              <a:ea typeface="+mn-ea"/>
              <a:cs typeface="+mn-cs"/>
            </a:endParaRPr>
          </a:p>
        </p:txBody>
      </p:sp>
      <p:sp>
        <p:nvSpPr>
          <p:cNvPr id="106" name="Can 105"/>
          <p:cNvSpPr/>
          <p:nvPr/>
        </p:nvSpPr>
        <p:spPr>
          <a:xfrm>
            <a:off x="4307862" y="4741316"/>
            <a:ext cx="563401" cy="693644"/>
          </a:xfrm>
          <a:prstGeom prst="can">
            <a:avLst/>
          </a:prstGeom>
          <a:solidFill>
            <a:srgbClr val="0072C6"/>
          </a:solidFill>
          <a:ln w="25400" cap="flat" cmpd="sng" algn="ctr">
            <a:solidFill>
              <a:srgbClr val="0072C6">
                <a:lumMod val="75000"/>
              </a:srgbClr>
            </a:solidFill>
            <a:prstDash val="solid"/>
          </a:ln>
          <a:effectLst/>
        </p:spPr>
        <p:txBody>
          <a:bodyPr lIns="0" tIns="0" rIns="0" bIns="0" rtlCol="0" anchor="ctr"/>
          <a:lstStyle/>
          <a:p>
            <a:pPr marL="0" marR="0" lvl="0" indent="0" algn="ctr" defTabSz="623863" eaLnBrk="1" fontAlgn="auto" latinLnBrk="0" hangingPunct="1">
              <a:lnSpc>
                <a:spcPct val="100000"/>
              </a:lnSpc>
              <a:spcBef>
                <a:spcPts val="0"/>
              </a:spcBef>
              <a:spcAft>
                <a:spcPts val="0"/>
              </a:spcAft>
              <a:buClrTx/>
              <a:buSzTx/>
              <a:buFontTx/>
              <a:buNone/>
              <a:tabLst/>
              <a:defRPr/>
            </a:pPr>
            <a:r>
              <a:rPr kumimoji="0" lang="fr-FR" sz="1200" b="0" i="0" u="none" strike="noStrike" kern="0" cap="none" spc="0" normalizeH="0" baseline="0" noProof="0" dirty="0" err="1" smtClean="0">
                <a:ln>
                  <a:noFill/>
                </a:ln>
                <a:solidFill>
                  <a:prstClr val="white"/>
                </a:solidFill>
                <a:effectLst/>
                <a:uLnTx/>
                <a:uFillTx/>
                <a:latin typeface="Arial"/>
                <a:ea typeface="+mn-ea"/>
                <a:cs typeface="+mn-cs"/>
              </a:rPr>
              <a:t>Cli</a:t>
            </a:r>
            <a:r>
              <a:rPr kumimoji="0" lang="fr-FR" sz="1200" b="0" i="0" u="none" strike="noStrike" kern="0" cap="none" spc="0" normalizeH="0" baseline="0" noProof="0" dirty="0" smtClean="0">
                <a:ln>
                  <a:noFill/>
                </a:ln>
                <a:solidFill>
                  <a:prstClr val="white"/>
                </a:solidFill>
                <a:effectLst/>
                <a:uLnTx/>
                <a:uFillTx/>
                <a:latin typeface="Arial"/>
                <a:ea typeface="+mn-ea"/>
                <a:cs typeface="+mn-cs"/>
              </a:rPr>
              <a:t>. 1</a:t>
            </a:r>
          </a:p>
        </p:txBody>
      </p:sp>
      <p:sp>
        <p:nvSpPr>
          <p:cNvPr id="107" name="Can 106"/>
          <p:cNvSpPr/>
          <p:nvPr/>
        </p:nvSpPr>
        <p:spPr>
          <a:xfrm>
            <a:off x="4979280" y="4741316"/>
            <a:ext cx="546212" cy="693644"/>
          </a:xfrm>
          <a:prstGeom prst="can">
            <a:avLst/>
          </a:prstGeom>
          <a:solidFill>
            <a:srgbClr val="0072C6"/>
          </a:solidFill>
          <a:ln w="25400" cap="flat" cmpd="sng" algn="ctr">
            <a:solidFill>
              <a:srgbClr val="0072C6">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23863" eaLnBrk="1" fontAlgn="auto" latinLnBrk="0" hangingPunct="1">
              <a:lnSpc>
                <a:spcPct val="100000"/>
              </a:lnSpc>
              <a:spcBef>
                <a:spcPts val="0"/>
              </a:spcBef>
              <a:spcAft>
                <a:spcPts val="0"/>
              </a:spcAft>
              <a:buClrTx/>
              <a:buSzTx/>
              <a:buFontTx/>
              <a:buNone/>
              <a:tabLst/>
              <a:defRPr/>
            </a:pPr>
            <a:r>
              <a:rPr kumimoji="0" lang="fr-FR" sz="1200" b="0" i="0" u="none" strike="noStrike" kern="0" cap="none" spc="0" normalizeH="0" baseline="0" noProof="0" dirty="0" err="1" smtClean="0">
                <a:ln>
                  <a:noFill/>
                </a:ln>
                <a:solidFill>
                  <a:prstClr val="white"/>
                </a:solidFill>
                <a:effectLst/>
                <a:uLnTx/>
                <a:uFillTx/>
                <a:latin typeface="Arial"/>
                <a:ea typeface="+mn-ea"/>
                <a:cs typeface="+mn-cs"/>
              </a:rPr>
              <a:t>Cli</a:t>
            </a:r>
            <a:r>
              <a:rPr kumimoji="0" lang="fr-FR" sz="1200" b="0" i="0" u="none" strike="noStrike" kern="0" cap="none" spc="0" normalizeH="0" baseline="0" noProof="0" dirty="0" smtClean="0">
                <a:ln>
                  <a:noFill/>
                </a:ln>
                <a:solidFill>
                  <a:prstClr val="white"/>
                </a:solidFill>
                <a:effectLst/>
                <a:uLnTx/>
                <a:uFillTx/>
                <a:latin typeface="Arial"/>
                <a:ea typeface="+mn-ea"/>
                <a:cs typeface="+mn-cs"/>
              </a:rPr>
              <a:t>. 2</a:t>
            </a:r>
          </a:p>
        </p:txBody>
      </p:sp>
      <p:sp>
        <p:nvSpPr>
          <p:cNvPr id="108" name="Rectangle 107"/>
          <p:cNvSpPr/>
          <p:nvPr/>
        </p:nvSpPr>
        <p:spPr>
          <a:xfrm>
            <a:off x="4756936" y="2038184"/>
            <a:ext cx="2473786" cy="571270"/>
          </a:xfrm>
          <a:prstGeom prst="rect">
            <a:avLst/>
          </a:prstGeom>
          <a:solidFill>
            <a:srgbClr val="0072C6"/>
          </a:solidFill>
          <a:ln w="25400" cap="flat" cmpd="sng" algn="ctr">
            <a:solidFill>
              <a:srgbClr val="0072C6">
                <a:lumMod val="75000"/>
              </a:srgbClr>
            </a:solidFill>
            <a:prstDash val="solid"/>
          </a:ln>
          <a:effectLst/>
        </p:spPr>
        <p:txBody>
          <a:bodyPr rtlCol="0" anchor="ctr"/>
          <a:lstStyle/>
          <a:p>
            <a:pPr marL="0" marR="0" lvl="0" indent="0" algn="ctr" defTabSz="623863" eaLnBrk="1" fontAlgn="auto" latinLnBrk="0" hangingPunct="1">
              <a:lnSpc>
                <a:spcPct val="100000"/>
              </a:lnSpc>
              <a:spcBef>
                <a:spcPts val="0"/>
              </a:spcBef>
              <a:spcAft>
                <a:spcPts val="0"/>
              </a:spcAft>
              <a:buClrTx/>
              <a:buSzTx/>
              <a:buFontTx/>
              <a:buNone/>
              <a:tabLst/>
              <a:defRPr/>
            </a:pPr>
            <a:endParaRPr kumimoji="0" lang="fr-FR" sz="1799" b="0" i="0" u="none" strike="noStrike" kern="0" cap="none" spc="0" normalizeH="0" baseline="0" noProof="0" dirty="0" smtClean="0">
              <a:ln>
                <a:noFill/>
              </a:ln>
              <a:solidFill>
                <a:prstClr val="white"/>
              </a:solidFill>
              <a:effectLst/>
              <a:uLnTx/>
              <a:uFillTx/>
              <a:latin typeface="Arial"/>
              <a:ea typeface="+mn-ea"/>
              <a:cs typeface="+mn-cs"/>
            </a:endParaRPr>
          </a:p>
        </p:txBody>
      </p:sp>
      <p:sp>
        <p:nvSpPr>
          <p:cNvPr id="109" name="Rectangle 108"/>
          <p:cNvSpPr/>
          <p:nvPr/>
        </p:nvSpPr>
        <p:spPr>
          <a:xfrm>
            <a:off x="4681275" y="2129110"/>
            <a:ext cx="2403745" cy="571270"/>
          </a:xfrm>
          <a:prstGeom prst="rect">
            <a:avLst/>
          </a:prstGeom>
          <a:solidFill>
            <a:srgbClr val="0072C6"/>
          </a:solidFill>
          <a:ln w="25400" cap="flat" cmpd="sng" algn="ctr">
            <a:solidFill>
              <a:srgbClr val="0072C6">
                <a:lumMod val="75000"/>
              </a:srgbClr>
            </a:solidFill>
            <a:prstDash val="solid"/>
          </a:ln>
          <a:effectLst/>
        </p:spPr>
        <p:txBody>
          <a:bodyPr rtlCol="0" anchor="ctr"/>
          <a:lstStyle/>
          <a:p>
            <a:pPr marL="0" marR="0" lvl="0" indent="0" algn="ctr" defTabSz="623863" eaLnBrk="1" fontAlgn="auto" latinLnBrk="0" hangingPunct="1">
              <a:lnSpc>
                <a:spcPct val="100000"/>
              </a:lnSpc>
              <a:spcBef>
                <a:spcPts val="0"/>
              </a:spcBef>
              <a:spcAft>
                <a:spcPts val="0"/>
              </a:spcAft>
              <a:buClrTx/>
              <a:buSzTx/>
              <a:buFontTx/>
              <a:buNone/>
              <a:tabLst/>
              <a:defRPr/>
            </a:pPr>
            <a:r>
              <a:rPr kumimoji="0" lang="fr-FR" sz="2450" b="1" i="0" u="none" strike="noStrike" kern="0" cap="none" spc="0" normalizeH="0" baseline="0" noProof="0" dirty="0" smtClean="0">
                <a:ln>
                  <a:noFill/>
                </a:ln>
                <a:solidFill>
                  <a:prstClr val="white"/>
                </a:solidFill>
                <a:effectLst/>
                <a:uLnTx/>
                <a:uFillTx/>
                <a:latin typeface="Arial"/>
                <a:ea typeface="+mn-ea"/>
                <a:cs typeface="+mn-cs"/>
              </a:rPr>
              <a:t>Service Cloud</a:t>
            </a:r>
          </a:p>
        </p:txBody>
      </p:sp>
      <p:cxnSp>
        <p:nvCxnSpPr>
          <p:cNvPr id="110" name="Straight Arrow Connector 109"/>
          <p:cNvCxnSpPr/>
          <p:nvPr/>
        </p:nvCxnSpPr>
        <p:spPr>
          <a:xfrm>
            <a:off x="6571533" y="2791307"/>
            <a:ext cx="149365" cy="413558"/>
          </a:xfrm>
          <a:prstGeom prst="straightConnector1">
            <a:avLst/>
          </a:prstGeom>
          <a:noFill/>
          <a:ln w="28575" cap="flat" cmpd="sng" algn="ctr">
            <a:solidFill>
              <a:srgbClr val="0072C6">
                <a:lumMod val="75000"/>
              </a:srgbClr>
            </a:solidFill>
            <a:prstDash val="solid"/>
            <a:tailEnd type="triangle" w="lg" len="lg"/>
          </a:ln>
          <a:effectLst/>
        </p:spPr>
      </p:cxnSp>
      <p:cxnSp>
        <p:nvCxnSpPr>
          <p:cNvPr id="111" name="Straight Arrow Connector 110"/>
          <p:cNvCxnSpPr/>
          <p:nvPr/>
        </p:nvCxnSpPr>
        <p:spPr>
          <a:xfrm flipH="1">
            <a:off x="4756935" y="2791307"/>
            <a:ext cx="768557" cy="1877012"/>
          </a:xfrm>
          <a:prstGeom prst="straightConnector1">
            <a:avLst/>
          </a:prstGeom>
          <a:noFill/>
          <a:ln w="28575" cap="flat" cmpd="sng" algn="ctr">
            <a:solidFill>
              <a:srgbClr val="0072C6">
                <a:lumMod val="75000"/>
              </a:srgbClr>
            </a:solidFill>
            <a:prstDash val="solid"/>
            <a:tailEnd type="triangle" w="lg" len="lg"/>
          </a:ln>
          <a:effectLst/>
        </p:spPr>
      </p:cxnSp>
      <p:sp>
        <p:nvSpPr>
          <p:cNvPr id="112" name="TextBox 111"/>
          <p:cNvSpPr txBox="1"/>
          <p:nvPr/>
        </p:nvSpPr>
        <p:spPr>
          <a:xfrm>
            <a:off x="852346" y="2054427"/>
            <a:ext cx="3530199" cy="695575"/>
          </a:xfrm>
          <a:prstGeom prst="rect">
            <a:avLst/>
          </a:prstGeom>
          <a:noFill/>
        </p:spPr>
        <p:txBody>
          <a:bodyPr wrap="square" rtlCol="0">
            <a:spAutoFit/>
          </a:bodyPr>
          <a:lstStyle/>
          <a:p>
            <a:pPr algn="r" defTabSz="623863"/>
            <a:r>
              <a:rPr lang="fr-FR" sz="1960" b="1" dirty="0" smtClean="0">
                <a:solidFill>
                  <a:srgbClr val="0072C6"/>
                </a:solidFill>
                <a:latin typeface="Arial"/>
              </a:rPr>
              <a:t>Un service Cloud, </a:t>
            </a:r>
            <a:r>
              <a:rPr lang="fr-FR" sz="1960" b="1" dirty="0" err="1" smtClean="0">
                <a:solidFill>
                  <a:srgbClr val="0072C6"/>
                </a:solidFill>
                <a:latin typeface="Arial"/>
              </a:rPr>
              <a:t>load</a:t>
            </a:r>
            <a:r>
              <a:rPr lang="fr-FR" sz="1960" b="1" dirty="0" smtClean="0">
                <a:solidFill>
                  <a:srgbClr val="0072C6"/>
                </a:solidFill>
                <a:latin typeface="Arial"/>
              </a:rPr>
              <a:t>-balancé et multi-tenant</a:t>
            </a:r>
            <a:endParaRPr lang="fr-FR" sz="1960" b="1" dirty="0">
              <a:solidFill>
                <a:srgbClr val="0072C6"/>
              </a:solidFill>
              <a:latin typeface="Arial"/>
            </a:endParaRPr>
          </a:p>
        </p:txBody>
      </p:sp>
      <p:sp>
        <p:nvSpPr>
          <p:cNvPr id="113" name="TextBox 112"/>
          <p:cNvSpPr txBox="1"/>
          <p:nvPr/>
        </p:nvSpPr>
        <p:spPr>
          <a:xfrm>
            <a:off x="4741348" y="5521536"/>
            <a:ext cx="2793657" cy="846386"/>
          </a:xfrm>
          <a:prstGeom prst="rect">
            <a:avLst/>
          </a:prstGeom>
          <a:noFill/>
        </p:spPr>
        <p:txBody>
          <a:bodyPr wrap="square" rtlCol="0">
            <a:spAutoFit/>
          </a:bodyPr>
          <a:lstStyle/>
          <a:p>
            <a:pPr algn="ctr" defTabSz="623863"/>
            <a:r>
              <a:rPr lang="fr-FR" sz="2450" b="1" dirty="0" smtClean="0">
                <a:solidFill>
                  <a:srgbClr val="0072C6"/>
                </a:solidFill>
                <a:latin typeface="Arial"/>
              </a:rPr>
              <a:t>Bases de données client</a:t>
            </a:r>
            <a:endParaRPr lang="fr-FR" sz="2450" b="1" dirty="0">
              <a:solidFill>
                <a:srgbClr val="0072C6"/>
              </a:solidFill>
              <a:latin typeface="Arial"/>
            </a:endParaRPr>
          </a:p>
        </p:txBody>
      </p:sp>
      <p:sp>
        <p:nvSpPr>
          <p:cNvPr id="114" name="TextBox 113"/>
          <p:cNvSpPr txBox="1"/>
          <p:nvPr/>
        </p:nvSpPr>
        <p:spPr>
          <a:xfrm>
            <a:off x="7823462" y="5135946"/>
            <a:ext cx="3850948" cy="695575"/>
          </a:xfrm>
          <a:prstGeom prst="rect">
            <a:avLst/>
          </a:prstGeom>
          <a:noFill/>
        </p:spPr>
        <p:txBody>
          <a:bodyPr wrap="square" rtlCol="0">
            <a:spAutoFit/>
          </a:bodyPr>
          <a:lstStyle>
            <a:defPPr>
              <a:defRPr lang="en-US"/>
            </a:defPPr>
            <a:lvl1pPr>
              <a:defRPr sz="2000" b="1">
                <a:solidFill>
                  <a:schemeClr val="bg1">
                    <a:lumMod val="50000"/>
                  </a:schemeClr>
                </a:solidFill>
              </a:defRPr>
            </a:lvl1pPr>
          </a:lstStyle>
          <a:p>
            <a:pPr defTabSz="623863"/>
            <a:r>
              <a:rPr lang="fr-FR" sz="1960" dirty="0" err="1" smtClean="0">
                <a:solidFill>
                  <a:srgbClr val="0072C6"/>
                </a:solidFill>
                <a:latin typeface="Arial"/>
              </a:rPr>
              <a:t>Scale</a:t>
            </a:r>
            <a:r>
              <a:rPr lang="fr-FR" sz="1960" dirty="0" smtClean="0">
                <a:solidFill>
                  <a:srgbClr val="0072C6"/>
                </a:solidFill>
                <a:latin typeface="Arial"/>
              </a:rPr>
              <a:t>–out par ajout de bases de données client</a:t>
            </a:r>
            <a:endParaRPr lang="fr-FR" sz="1960" dirty="0">
              <a:solidFill>
                <a:srgbClr val="0072C6"/>
              </a:solidFill>
              <a:latin typeface="Arial"/>
            </a:endParaRPr>
          </a:p>
        </p:txBody>
      </p:sp>
      <p:sp>
        <p:nvSpPr>
          <p:cNvPr id="115" name="TextBox 114"/>
          <p:cNvSpPr txBox="1"/>
          <p:nvPr/>
        </p:nvSpPr>
        <p:spPr>
          <a:xfrm>
            <a:off x="6821874" y="3767855"/>
            <a:ext cx="2793657" cy="469359"/>
          </a:xfrm>
          <a:prstGeom prst="rect">
            <a:avLst/>
          </a:prstGeom>
          <a:noFill/>
        </p:spPr>
        <p:txBody>
          <a:bodyPr wrap="square" rtlCol="0">
            <a:spAutoFit/>
          </a:bodyPr>
          <a:lstStyle/>
          <a:p>
            <a:pPr algn="ctr" defTabSz="623863"/>
            <a:r>
              <a:rPr lang="fr-FR" sz="2450" b="1" dirty="0" smtClean="0">
                <a:solidFill>
                  <a:srgbClr val="0072C6"/>
                </a:solidFill>
                <a:latin typeface="Arial"/>
              </a:rPr>
              <a:t>Catalogue clients</a:t>
            </a:r>
            <a:endParaRPr lang="fr-FR" sz="2450" b="1" dirty="0">
              <a:solidFill>
                <a:srgbClr val="0072C6"/>
              </a:solidFill>
              <a:latin typeface="Arial"/>
            </a:endParaRPr>
          </a:p>
        </p:txBody>
      </p:sp>
      <p:sp>
        <p:nvSpPr>
          <p:cNvPr id="116" name="Can 115"/>
          <p:cNvSpPr/>
          <p:nvPr/>
        </p:nvSpPr>
        <p:spPr>
          <a:xfrm>
            <a:off x="5614622" y="4741316"/>
            <a:ext cx="546212" cy="693644"/>
          </a:xfrm>
          <a:prstGeom prst="can">
            <a:avLst/>
          </a:prstGeom>
          <a:solidFill>
            <a:srgbClr val="0072C6"/>
          </a:solidFill>
          <a:ln w="25400" cap="flat" cmpd="sng" algn="ctr">
            <a:solidFill>
              <a:srgbClr val="0072C6">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23863" eaLnBrk="1" fontAlgn="auto" latinLnBrk="0" hangingPunct="1">
              <a:lnSpc>
                <a:spcPct val="100000"/>
              </a:lnSpc>
              <a:spcBef>
                <a:spcPts val="0"/>
              </a:spcBef>
              <a:spcAft>
                <a:spcPts val="0"/>
              </a:spcAft>
              <a:buClrTx/>
              <a:buSzTx/>
              <a:buFontTx/>
              <a:buNone/>
              <a:tabLst/>
              <a:defRPr/>
            </a:pPr>
            <a:r>
              <a:rPr kumimoji="0" lang="fr-FR" sz="1200" b="0" i="0" u="none" strike="noStrike" kern="0" cap="none" spc="0" normalizeH="0" baseline="0" noProof="0" dirty="0" err="1" smtClean="0">
                <a:ln>
                  <a:noFill/>
                </a:ln>
                <a:solidFill>
                  <a:prstClr val="white"/>
                </a:solidFill>
                <a:effectLst/>
                <a:uLnTx/>
                <a:uFillTx/>
                <a:latin typeface="Arial"/>
                <a:ea typeface="+mn-ea"/>
                <a:cs typeface="+mn-cs"/>
              </a:rPr>
              <a:t>Cli</a:t>
            </a:r>
            <a:r>
              <a:rPr kumimoji="0" lang="fr-FR" sz="1200" b="0" i="0" u="none" strike="noStrike" kern="0" cap="none" spc="0" normalizeH="0" baseline="0" noProof="0" dirty="0" smtClean="0">
                <a:ln>
                  <a:noFill/>
                </a:ln>
                <a:solidFill>
                  <a:prstClr val="white"/>
                </a:solidFill>
                <a:effectLst/>
                <a:uLnTx/>
                <a:uFillTx/>
                <a:latin typeface="Arial"/>
                <a:ea typeface="+mn-ea"/>
                <a:cs typeface="+mn-cs"/>
              </a:rPr>
              <a:t>. 3</a:t>
            </a:r>
          </a:p>
        </p:txBody>
      </p:sp>
      <p:sp>
        <p:nvSpPr>
          <p:cNvPr id="117" name="Can 116"/>
          <p:cNvSpPr/>
          <p:nvPr/>
        </p:nvSpPr>
        <p:spPr>
          <a:xfrm>
            <a:off x="7040798" y="4741316"/>
            <a:ext cx="546212" cy="693644"/>
          </a:xfrm>
          <a:prstGeom prst="can">
            <a:avLst/>
          </a:prstGeom>
          <a:solidFill>
            <a:srgbClr val="0072C6"/>
          </a:solidFill>
          <a:ln w="25400" cap="flat" cmpd="sng" algn="ctr">
            <a:solidFill>
              <a:srgbClr val="0072C6">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23863" eaLnBrk="1" fontAlgn="auto" latinLnBrk="0" hangingPunct="1">
              <a:lnSpc>
                <a:spcPct val="100000"/>
              </a:lnSpc>
              <a:spcBef>
                <a:spcPts val="0"/>
              </a:spcBef>
              <a:spcAft>
                <a:spcPts val="0"/>
              </a:spcAft>
              <a:buClrTx/>
              <a:buSzTx/>
              <a:buFontTx/>
              <a:buNone/>
              <a:tabLst/>
              <a:defRPr/>
            </a:pPr>
            <a:r>
              <a:rPr kumimoji="0" lang="fr-FR" sz="1200" b="0" i="0" u="none" strike="noStrike" kern="0" cap="none" spc="0" normalizeH="0" baseline="0" noProof="0" dirty="0" err="1" smtClean="0">
                <a:ln>
                  <a:noFill/>
                </a:ln>
                <a:solidFill>
                  <a:prstClr val="white"/>
                </a:solidFill>
                <a:effectLst/>
                <a:uLnTx/>
                <a:uFillTx/>
                <a:latin typeface="Arial"/>
                <a:ea typeface="+mn-ea"/>
                <a:cs typeface="+mn-cs"/>
              </a:rPr>
              <a:t>Cli</a:t>
            </a:r>
            <a:r>
              <a:rPr kumimoji="0" lang="fr-FR" sz="1200" b="0" i="0" u="none" strike="noStrike" kern="0" cap="none" spc="0" normalizeH="0" baseline="0" noProof="0" dirty="0" smtClean="0">
                <a:ln>
                  <a:noFill/>
                </a:ln>
                <a:solidFill>
                  <a:prstClr val="white"/>
                </a:solidFill>
                <a:effectLst/>
                <a:uLnTx/>
                <a:uFillTx/>
                <a:latin typeface="Arial"/>
                <a:ea typeface="+mn-ea"/>
                <a:cs typeface="+mn-cs"/>
              </a:rPr>
              <a:t>. N</a:t>
            </a:r>
          </a:p>
        </p:txBody>
      </p:sp>
      <p:cxnSp>
        <p:nvCxnSpPr>
          <p:cNvPr id="118" name="Straight Arrow Connector 117"/>
          <p:cNvCxnSpPr/>
          <p:nvPr/>
        </p:nvCxnSpPr>
        <p:spPr>
          <a:xfrm flipH="1">
            <a:off x="5876196" y="2791307"/>
            <a:ext cx="41107" cy="1877012"/>
          </a:xfrm>
          <a:prstGeom prst="straightConnector1">
            <a:avLst/>
          </a:prstGeom>
          <a:noFill/>
          <a:ln w="28575" cap="flat" cmpd="sng" algn="ctr">
            <a:solidFill>
              <a:srgbClr val="0072C6">
                <a:lumMod val="75000"/>
              </a:srgbClr>
            </a:solidFill>
            <a:prstDash val="solid"/>
            <a:tailEnd type="triangle" w="lg" len="lg"/>
          </a:ln>
          <a:effectLst/>
        </p:spPr>
      </p:cxnSp>
      <p:cxnSp>
        <p:nvCxnSpPr>
          <p:cNvPr id="119" name="Straight Arrow Connector 118"/>
          <p:cNvCxnSpPr/>
          <p:nvPr/>
        </p:nvCxnSpPr>
        <p:spPr>
          <a:xfrm flipH="1">
            <a:off x="5278735" y="2791307"/>
            <a:ext cx="448096" cy="1877012"/>
          </a:xfrm>
          <a:prstGeom prst="straightConnector1">
            <a:avLst/>
          </a:prstGeom>
          <a:noFill/>
          <a:ln w="28575" cap="flat" cmpd="sng" algn="ctr">
            <a:solidFill>
              <a:srgbClr val="0072C6">
                <a:lumMod val="75000"/>
              </a:srgbClr>
            </a:solidFill>
            <a:prstDash val="solid"/>
            <a:tailEnd type="triangle" w="lg" len="lg"/>
          </a:ln>
          <a:effectLst/>
        </p:spPr>
      </p:cxnSp>
      <p:sp>
        <p:nvSpPr>
          <p:cNvPr id="120" name="TextBox 119"/>
          <p:cNvSpPr txBox="1"/>
          <p:nvPr/>
        </p:nvSpPr>
        <p:spPr>
          <a:xfrm>
            <a:off x="7313904" y="2735520"/>
            <a:ext cx="4037249" cy="997196"/>
          </a:xfrm>
          <a:prstGeom prst="rect">
            <a:avLst/>
          </a:prstGeom>
          <a:noFill/>
        </p:spPr>
        <p:txBody>
          <a:bodyPr wrap="square" rtlCol="0">
            <a:spAutoFit/>
          </a:bodyPr>
          <a:lstStyle/>
          <a:p>
            <a:pPr defTabSz="623863"/>
            <a:r>
              <a:rPr lang="fr-FR" sz="1960" b="1" dirty="0" smtClean="0">
                <a:solidFill>
                  <a:srgbClr val="0072C6"/>
                </a:solidFill>
                <a:latin typeface="Arial"/>
              </a:rPr>
              <a:t>Le catalogue permet de référencer l’ensemble des bases de données client </a:t>
            </a:r>
            <a:endParaRPr lang="fr-FR" sz="1960" b="1" dirty="0">
              <a:solidFill>
                <a:srgbClr val="0072C6"/>
              </a:solidFill>
              <a:latin typeface="Arial"/>
            </a:endParaRPr>
          </a:p>
        </p:txBody>
      </p:sp>
      <p:cxnSp>
        <p:nvCxnSpPr>
          <p:cNvPr id="121" name="Straight Arrow Connector 120"/>
          <p:cNvCxnSpPr/>
          <p:nvPr/>
        </p:nvCxnSpPr>
        <p:spPr>
          <a:xfrm>
            <a:off x="5876197" y="1269354"/>
            <a:ext cx="0" cy="712221"/>
          </a:xfrm>
          <a:prstGeom prst="straightConnector1">
            <a:avLst/>
          </a:prstGeom>
          <a:noFill/>
          <a:ln w="28575" cap="flat" cmpd="sng" algn="ctr">
            <a:solidFill>
              <a:srgbClr val="0072C6">
                <a:lumMod val="75000"/>
              </a:srgbClr>
            </a:solidFill>
            <a:prstDash val="solid"/>
            <a:tailEnd type="triangle" w="lg" len="lg"/>
          </a:ln>
          <a:effectLst/>
        </p:spPr>
      </p:cxnSp>
      <p:cxnSp>
        <p:nvCxnSpPr>
          <p:cNvPr id="122" name="Straight Arrow Connector 121"/>
          <p:cNvCxnSpPr/>
          <p:nvPr/>
        </p:nvCxnSpPr>
        <p:spPr>
          <a:xfrm>
            <a:off x="5054688" y="1269354"/>
            <a:ext cx="0" cy="712221"/>
          </a:xfrm>
          <a:prstGeom prst="straightConnector1">
            <a:avLst/>
          </a:prstGeom>
          <a:noFill/>
          <a:ln w="28575" cap="flat" cmpd="sng" algn="ctr">
            <a:solidFill>
              <a:srgbClr val="0072C6">
                <a:lumMod val="75000"/>
              </a:srgbClr>
            </a:solidFill>
            <a:prstDash val="solid"/>
            <a:tailEnd type="triangle" w="lg" len="lg"/>
          </a:ln>
          <a:effectLst/>
        </p:spPr>
      </p:cxnSp>
      <p:cxnSp>
        <p:nvCxnSpPr>
          <p:cNvPr id="123" name="Straight Arrow Connector 122"/>
          <p:cNvCxnSpPr/>
          <p:nvPr/>
        </p:nvCxnSpPr>
        <p:spPr>
          <a:xfrm>
            <a:off x="6697705" y="1269354"/>
            <a:ext cx="0" cy="712221"/>
          </a:xfrm>
          <a:prstGeom prst="straightConnector1">
            <a:avLst/>
          </a:prstGeom>
          <a:noFill/>
          <a:ln w="28575" cap="flat" cmpd="sng" algn="ctr">
            <a:solidFill>
              <a:srgbClr val="0072C6">
                <a:lumMod val="75000"/>
              </a:srgbClr>
            </a:solidFill>
            <a:prstDash val="solid"/>
            <a:tailEnd type="triangle" w="lg" len="lg"/>
          </a:ln>
          <a:effectLst/>
        </p:spPr>
      </p:cxnSp>
      <p:sp>
        <p:nvSpPr>
          <p:cNvPr id="124" name="TextBox 123"/>
          <p:cNvSpPr txBox="1"/>
          <p:nvPr/>
        </p:nvSpPr>
        <p:spPr>
          <a:xfrm>
            <a:off x="262504" y="4891161"/>
            <a:ext cx="3530199" cy="695575"/>
          </a:xfrm>
          <a:prstGeom prst="rect">
            <a:avLst/>
          </a:prstGeom>
          <a:noFill/>
        </p:spPr>
        <p:txBody>
          <a:bodyPr wrap="square" rtlCol="0">
            <a:spAutoFit/>
          </a:bodyPr>
          <a:lstStyle/>
          <a:p>
            <a:pPr algn="r" defTabSz="623863"/>
            <a:r>
              <a:rPr lang="fr-FR" sz="1960" b="1" dirty="0" smtClean="0">
                <a:solidFill>
                  <a:srgbClr val="0072C6"/>
                </a:solidFill>
                <a:latin typeface="Arial"/>
              </a:rPr>
              <a:t>Une infrastructure data single-tenant</a:t>
            </a:r>
            <a:endParaRPr lang="fr-FR" sz="1960" b="1" dirty="0">
              <a:solidFill>
                <a:srgbClr val="0072C6"/>
              </a:solidFill>
              <a:latin typeface="Arial"/>
            </a:endParaRPr>
          </a:p>
        </p:txBody>
      </p:sp>
    </p:spTree>
    <p:extLst>
      <p:ext uri="{BB962C8B-B14F-4D97-AF65-F5344CB8AC3E}">
        <p14:creationId xmlns:p14="http://schemas.microsoft.com/office/powerpoint/2010/main" val="2843647091"/>
      </p:ext>
    </p:extLst>
  </p:cSld>
  <p:clrMapOvr>
    <a:masterClrMapping/>
  </p:clrMapOvr>
  <p:transition>
    <p:fade/>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fr-FR" dirty="0" smtClean="0"/>
              <a:t>Problématique #1 : Factorisation multi-</a:t>
            </a:r>
            <a:r>
              <a:rPr lang="fr-FR" dirty="0" err="1" smtClean="0"/>
              <a:t>database</a:t>
            </a:r>
            <a:endParaRPr lang="fr-FR" dirty="0"/>
          </a:p>
        </p:txBody>
      </p:sp>
      <p:sp>
        <p:nvSpPr>
          <p:cNvPr id="28" name="Trapezoid 27"/>
          <p:cNvSpPr/>
          <p:nvPr/>
        </p:nvSpPr>
        <p:spPr>
          <a:xfrm rot="16200000">
            <a:off x="7468223" y="2622305"/>
            <a:ext cx="380770" cy="578263"/>
          </a:xfrm>
          <a:prstGeom prst="trapezoid">
            <a:avLst>
              <a:gd name="adj" fmla="val 50000"/>
            </a:avLst>
          </a:prstGeom>
          <a:solidFill>
            <a:srgbClr val="0070C0">
              <a:alpha val="30000"/>
            </a:srgbClr>
          </a:solidFill>
          <a:ln w="28575" cap="flat" cmpd="sng" algn="ctr">
            <a:solidFill>
              <a:sysClr val="windowText" lastClr="000000"/>
            </a:solidFill>
            <a:prstDash val="dash"/>
          </a:ln>
          <a:effectLst/>
        </p:spPr>
        <p:txBody>
          <a:bodyPr rtlCol="0" anchor="ctr"/>
          <a:lstStyle/>
          <a:p>
            <a:pPr marL="0" marR="0" lvl="0" indent="0" algn="ctr" defTabSz="623863" eaLnBrk="1" fontAlgn="auto" latinLnBrk="0" hangingPunct="1">
              <a:lnSpc>
                <a:spcPct val="100000"/>
              </a:lnSpc>
              <a:spcBef>
                <a:spcPts val="0"/>
              </a:spcBef>
              <a:spcAft>
                <a:spcPts val="0"/>
              </a:spcAft>
              <a:buClrTx/>
              <a:buSzTx/>
              <a:buFontTx/>
              <a:buNone/>
              <a:tabLst/>
              <a:defRPr/>
            </a:pPr>
            <a:endParaRPr kumimoji="0" lang="fr-FR" sz="1799"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29" name="Rounded Rectangle 28"/>
          <p:cNvSpPr/>
          <p:nvPr/>
        </p:nvSpPr>
        <p:spPr>
          <a:xfrm rot="10800000">
            <a:off x="7955178" y="1299711"/>
            <a:ext cx="3883497" cy="4113273"/>
          </a:xfrm>
          <a:prstGeom prst="roundRect">
            <a:avLst/>
          </a:prstGeom>
          <a:solidFill>
            <a:srgbClr val="0070C0">
              <a:alpha val="30000"/>
            </a:srgbClr>
          </a:solidFill>
          <a:ln w="28575" cap="flat" cmpd="sng" algn="ctr">
            <a:solidFill>
              <a:sysClr val="windowText" lastClr="000000"/>
            </a:solidFill>
            <a:prstDash val="dash"/>
          </a:ln>
          <a:effectLst/>
        </p:spPr>
        <p:txBody>
          <a:bodyPr rtlCol="0" anchor="ctr"/>
          <a:lstStyle/>
          <a:p>
            <a:pPr marL="0" marR="0" lvl="0" indent="0" algn="ctr" defTabSz="623863" eaLnBrk="1" fontAlgn="auto" latinLnBrk="0" hangingPunct="1">
              <a:lnSpc>
                <a:spcPct val="100000"/>
              </a:lnSpc>
              <a:spcBef>
                <a:spcPts val="0"/>
              </a:spcBef>
              <a:spcAft>
                <a:spcPts val="0"/>
              </a:spcAft>
              <a:buClrTx/>
              <a:buSzTx/>
              <a:buFontTx/>
              <a:buNone/>
              <a:tabLst/>
              <a:defRPr/>
            </a:pPr>
            <a:endParaRPr kumimoji="0" lang="fr-FR" sz="1799"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30" name="TextBox 29"/>
          <p:cNvSpPr txBox="1"/>
          <p:nvPr/>
        </p:nvSpPr>
        <p:spPr>
          <a:xfrm>
            <a:off x="8184656" y="2389240"/>
            <a:ext cx="2320098" cy="331812"/>
          </a:xfrm>
          <a:prstGeom prst="rect">
            <a:avLst/>
          </a:prstGeom>
          <a:noFill/>
        </p:spPr>
        <p:txBody>
          <a:bodyPr wrap="square" rtlCol="0">
            <a:spAutoFit/>
          </a:bodyPr>
          <a:lstStyle/>
          <a:p>
            <a:pPr defTabSz="623863"/>
            <a:r>
              <a:rPr lang="fr-FR" sz="1200" b="1" dirty="0" smtClean="0">
                <a:solidFill>
                  <a:srgbClr val="FFFFFF"/>
                </a:solidFill>
                <a:latin typeface="Arial"/>
              </a:rPr>
              <a:t>[</a:t>
            </a:r>
            <a:r>
              <a:rPr lang="fr-FR" sz="1568" b="1" dirty="0" err="1" smtClean="0">
                <a:solidFill>
                  <a:srgbClr val="FFFFFF"/>
                </a:solidFill>
                <a:latin typeface="Arial"/>
              </a:rPr>
              <a:t>shards_global</a:t>
            </a:r>
            <a:r>
              <a:rPr lang="fr-FR" sz="1200" b="1" dirty="0" smtClean="0">
                <a:solidFill>
                  <a:srgbClr val="FFFFFF"/>
                </a:solidFill>
                <a:latin typeface="Arial"/>
              </a:rPr>
              <a:t>]</a:t>
            </a:r>
            <a:endParaRPr lang="fr-FR" sz="1200" b="1" dirty="0">
              <a:solidFill>
                <a:srgbClr val="FFFFFF"/>
              </a:solidFill>
              <a:latin typeface="Arial"/>
            </a:endParaRPr>
          </a:p>
        </p:txBody>
      </p:sp>
      <p:graphicFrame>
        <p:nvGraphicFramePr>
          <p:cNvPr id="31" name="Table 30"/>
          <p:cNvGraphicFramePr>
            <a:graphicFrameLocks noGrp="1"/>
          </p:cNvGraphicFramePr>
          <p:nvPr>
            <p:extLst/>
          </p:nvPr>
        </p:nvGraphicFramePr>
        <p:xfrm>
          <a:off x="8289085" y="2689125"/>
          <a:ext cx="3221710" cy="1005726"/>
        </p:xfrm>
        <a:graphic>
          <a:graphicData uri="http://schemas.openxmlformats.org/drawingml/2006/table">
            <a:tbl>
              <a:tblPr firstRow="1" bandRow="1"/>
              <a:tblGrid>
                <a:gridCol w="522826">
                  <a:extLst>
                    <a:ext uri="{9D8B030D-6E8A-4147-A177-3AD203B41FA5}">
                      <a16:colId xmlns:a16="http://schemas.microsoft.com/office/drawing/2014/main" val="20000"/>
                    </a:ext>
                  </a:extLst>
                </a:gridCol>
                <a:gridCol w="672144">
                  <a:extLst>
                    <a:ext uri="{9D8B030D-6E8A-4147-A177-3AD203B41FA5}">
                      <a16:colId xmlns:a16="http://schemas.microsoft.com/office/drawing/2014/main" val="20001"/>
                    </a:ext>
                  </a:extLst>
                </a:gridCol>
                <a:gridCol w="951228">
                  <a:extLst>
                    <a:ext uri="{9D8B030D-6E8A-4147-A177-3AD203B41FA5}">
                      <a16:colId xmlns:a16="http://schemas.microsoft.com/office/drawing/2014/main" val="20002"/>
                    </a:ext>
                  </a:extLst>
                </a:gridCol>
                <a:gridCol w="1075512">
                  <a:extLst>
                    <a:ext uri="{9D8B030D-6E8A-4147-A177-3AD203B41FA5}">
                      <a16:colId xmlns:a16="http://schemas.microsoft.com/office/drawing/2014/main" val="20003"/>
                    </a:ext>
                  </a:extLst>
                </a:gridCol>
              </a:tblGrid>
              <a:tr h="333086">
                <a:tc>
                  <a:txBody>
                    <a:bodyPr/>
                    <a:lstStyle>
                      <a:lvl1pPr marL="0" algn="l" defTabSz="932742" rtl="0" eaLnBrk="1" latinLnBrk="0" hangingPunct="1">
                        <a:defRPr sz="1800" b="1" kern="1200">
                          <a:solidFill>
                            <a:schemeClr val="lt1"/>
                          </a:solidFill>
                          <a:latin typeface="Arial"/>
                        </a:defRPr>
                      </a:lvl1pPr>
                      <a:lvl2pPr marL="466371" algn="l" defTabSz="932742" rtl="0" eaLnBrk="1" latinLnBrk="0" hangingPunct="1">
                        <a:defRPr sz="1800" b="1" kern="1200">
                          <a:solidFill>
                            <a:schemeClr val="lt1"/>
                          </a:solidFill>
                          <a:latin typeface="Arial"/>
                        </a:defRPr>
                      </a:lvl2pPr>
                      <a:lvl3pPr marL="932742" algn="l" defTabSz="932742" rtl="0" eaLnBrk="1" latinLnBrk="0" hangingPunct="1">
                        <a:defRPr sz="1800" b="1" kern="1200">
                          <a:solidFill>
                            <a:schemeClr val="lt1"/>
                          </a:solidFill>
                          <a:latin typeface="Arial"/>
                        </a:defRPr>
                      </a:lvl3pPr>
                      <a:lvl4pPr marL="1399113" algn="l" defTabSz="932742" rtl="0" eaLnBrk="1" latinLnBrk="0" hangingPunct="1">
                        <a:defRPr sz="1800" b="1" kern="1200">
                          <a:solidFill>
                            <a:schemeClr val="lt1"/>
                          </a:solidFill>
                          <a:latin typeface="Arial"/>
                        </a:defRPr>
                      </a:lvl4pPr>
                      <a:lvl5pPr marL="1865484" algn="l" defTabSz="932742" rtl="0" eaLnBrk="1" latinLnBrk="0" hangingPunct="1">
                        <a:defRPr sz="1800" b="1" kern="1200">
                          <a:solidFill>
                            <a:schemeClr val="lt1"/>
                          </a:solidFill>
                          <a:latin typeface="Arial"/>
                        </a:defRPr>
                      </a:lvl5pPr>
                      <a:lvl6pPr marL="2331856" algn="l" defTabSz="932742" rtl="0" eaLnBrk="1" latinLnBrk="0" hangingPunct="1">
                        <a:defRPr sz="1800" b="1" kern="1200">
                          <a:solidFill>
                            <a:schemeClr val="lt1"/>
                          </a:solidFill>
                          <a:latin typeface="Arial"/>
                        </a:defRPr>
                      </a:lvl6pPr>
                      <a:lvl7pPr marL="2798226" algn="l" defTabSz="932742" rtl="0" eaLnBrk="1" latinLnBrk="0" hangingPunct="1">
                        <a:defRPr sz="1800" b="1" kern="1200">
                          <a:solidFill>
                            <a:schemeClr val="lt1"/>
                          </a:solidFill>
                          <a:latin typeface="Arial"/>
                        </a:defRPr>
                      </a:lvl7pPr>
                      <a:lvl8pPr marL="3264597" algn="l" defTabSz="932742" rtl="0" eaLnBrk="1" latinLnBrk="0" hangingPunct="1">
                        <a:defRPr sz="1800" b="1" kern="1200">
                          <a:solidFill>
                            <a:schemeClr val="lt1"/>
                          </a:solidFill>
                          <a:latin typeface="Arial"/>
                        </a:defRPr>
                      </a:lvl8pPr>
                      <a:lvl9pPr marL="3730969" algn="l" defTabSz="932742" rtl="0" eaLnBrk="1" latinLnBrk="0" hangingPunct="1">
                        <a:defRPr sz="1800" b="1" kern="1200">
                          <a:solidFill>
                            <a:schemeClr val="lt1"/>
                          </a:solidFill>
                          <a:latin typeface="Arial"/>
                        </a:defRPr>
                      </a:lvl9pPr>
                    </a:lstStyle>
                    <a:p>
                      <a:r>
                        <a:rPr lang="en-US" sz="1600" dirty="0" err="1" smtClean="0">
                          <a:solidFill>
                            <a:srgbClr val="000000"/>
                          </a:solidFill>
                        </a:rPr>
                        <a:t>sid</a:t>
                      </a:r>
                      <a:endParaRPr lang="en-US" sz="1600" dirty="0">
                        <a:solidFill>
                          <a:srgbClr val="000000"/>
                        </a:solidFill>
                      </a:endParaRPr>
                    </a:p>
                  </a:txBody>
                  <a:tcPr marL="91403" marR="91403" marT="45701" marB="45701">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00BCF2"/>
                    </a:solidFill>
                  </a:tcPr>
                </a:tc>
                <a:tc>
                  <a:txBody>
                    <a:bodyPr/>
                    <a:lstStyle>
                      <a:lvl1pPr marL="0" algn="l" defTabSz="932742" rtl="0" eaLnBrk="1" latinLnBrk="0" hangingPunct="1">
                        <a:defRPr sz="1800" b="1" kern="1200">
                          <a:solidFill>
                            <a:schemeClr val="lt1"/>
                          </a:solidFill>
                          <a:latin typeface="Arial"/>
                        </a:defRPr>
                      </a:lvl1pPr>
                      <a:lvl2pPr marL="466371" algn="l" defTabSz="932742" rtl="0" eaLnBrk="1" latinLnBrk="0" hangingPunct="1">
                        <a:defRPr sz="1800" b="1" kern="1200">
                          <a:solidFill>
                            <a:schemeClr val="lt1"/>
                          </a:solidFill>
                          <a:latin typeface="Arial"/>
                        </a:defRPr>
                      </a:lvl2pPr>
                      <a:lvl3pPr marL="932742" algn="l" defTabSz="932742" rtl="0" eaLnBrk="1" latinLnBrk="0" hangingPunct="1">
                        <a:defRPr sz="1800" b="1" kern="1200">
                          <a:solidFill>
                            <a:schemeClr val="lt1"/>
                          </a:solidFill>
                          <a:latin typeface="Arial"/>
                        </a:defRPr>
                      </a:lvl3pPr>
                      <a:lvl4pPr marL="1399113" algn="l" defTabSz="932742" rtl="0" eaLnBrk="1" latinLnBrk="0" hangingPunct="1">
                        <a:defRPr sz="1800" b="1" kern="1200">
                          <a:solidFill>
                            <a:schemeClr val="lt1"/>
                          </a:solidFill>
                          <a:latin typeface="Arial"/>
                        </a:defRPr>
                      </a:lvl4pPr>
                      <a:lvl5pPr marL="1865484" algn="l" defTabSz="932742" rtl="0" eaLnBrk="1" latinLnBrk="0" hangingPunct="1">
                        <a:defRPr sz="1800" b="1" kern="1200">
                          <a:solidFill>
                            <a:schemeClr val="lt1"/>
                          </a:solidFill>
                          <a:latin typeface="Arial"/>
                        </a:defRPr>
                      </a:lvl5pPr>
                      <a:lvl6pPr marL="2331856" algn="l" defTabSz="932742" rtl="0" eaLnBrk="1" latinLnBrk="0" hangingPunct="1">
                        <a:defRPr sz="1800" b="1" kern="1200">
                          <a:solidFill>
                            <a:schemeClr val="lt1"/>
                          </a:solidFill>
                          <a:latin typeface="Arial"/>
                        </a:defRPr>
                      </a:lvl6pPr>
                      <a:lvl7pPr marL="2798226" algn="l" defTabSz="932742" rtl="0" eaLnBrk="1" latinLnBrk="0" hangingPunct="1">
                        <a:defRPr sz="1800" b="1" kern="1200">
                          <a:solidFill>
                            <a:schemeClr val="lt1"/>
                          </a:solidFill>
                          <a:latin typeface="Arial"/>
                        </a:defRPr>
                      </a:lvl7pPr>
                      <a:lvl8pPr marL="3264597" algn="l" defTabSz="932742" rtl="0" eaLnBrk="1" latinLnBrk="0" hangingPunct="1">
                        <a:defRPr sz="1800" b="1" kern="1200">
                          <a:solidFill>
                            <a:schemeClr val="lt1"/>
                          </a:solidFill>
                          <a:latin typeface="Arial"/>
                        </a:defRPr>
                      </a:lvl8pPr>
                      <a:lvl9pPr marL="3730969" algn="l" defTabSz="932742" rtl="0" eaLnBrk="1" latinLnBrk="0" hangingPunct="1">
                        <a:defRPr sz="1800" b="1" kern="1200">
                          <a:solidFill>
                            <a:schemeClr val="lt1"/>
                          </a:solidFill>
                          <a:latin typeface="Arial"/>
                        </a:defRPr>
                      </a:lvl9pPr>
                    </a:lstStyle>
                    <a:p>
                      <a:r>
                        <a:rPr lang="en-US" sz="1600" dirty="0" err="1" smtClean="0">
                          <a:solidFill>
                            <a:srgbClr val="000000"/>
                          </a:solidFill>
                        </a:rPr>
                        <a:t>smid</a:t>
                      </a:r>
                      <a:r>
                        <a:rPr lang="en-US" sz="1600" dirty="0" smtClean="0">
                          <a:solidFill>
                            <a:srgbClr val="000000"/>
                          </a:solidFill>
                        </a:rPr>
                        <a:t> </a:t>
                      </a:r>
                      <a:endParaRPr lang="en-US" sz="1600" dirty="0">
                        <a:solidFill>
                          <a:srgbClr val="000000"/>
                        </a:solidFill>
                      </a:endParaRPr>
                    </a:p>
                  </a:txBody>
                  <a:tcPr marL="91403" marR="91403" marT="45701" marB="45701">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00BCF2"/>
                    </a:solidFill>
                  </a:tcPr>
                </a:tc>
                <a:tc>
                  <a:txBody>
                    <a:bodyPr/>
                    <a:lstStyle>
                      <a:lvl1pPr marL="0" algn="l" defTabSz="932742" rtl="0" eaLnBrk="1" latinLnBrk="0" hangingPunct="1">
                        <a:defRPr sz="1800" b="1" kern="1200">
                          <a:solidFill>
                            <a:schemeClr val="lt1"/>
                          </a:solidFill>
                          <a:latin typeface="Arial"/>
                        </a:defRPr>
                      </a:lvl1pPr>
                      <a:lvl2pPr marL="466371" algn="l" defTabSz="932742" rtl="0" eaLnBrk="1" latinLnBrk="0" hangingPunct="1">
                        <a:defRPr sz="1800" b="1" kern="1200">
                          <a:solidFill>
                            <a:schemeClr val="lt1"/>
                          </a:solidFill>
                          <a:latin typeface="Arial"/>
                        </a:defRPr>
                      </a:lvl2pPr>
                      <a:lvl3pPr marL="932742" algn="l" defTabSz="932742" rtl="0" eaLnBrk="1" latinLnBrk="0" hangingPunct="1">
                        <a:defRPr sz="1800" b="1" kern="1200">
                          <a:solidFill>
                            <a:schemeClr val="lt1"/>
                          </a:solidFill>
                          <a:latin typeface="Arial"/>
                        </a:defRPr>
                      </a:lvl3pPr>
                      <a:lvl4pPr marL="1399113" algn="l" defTabSz="932742" rtl="0" eaLnBrk="1" latinLnBrk="0" hangingPunct="1">
                        <a:defRPr sz="1800" b="1" kern="1200">
                          <a:solidFill>
                            <a:schemeClr val="lt1"/>
                          </a:solidFill>
                          <a:latin typeface="Arial"/>
                        </a:defRPr>
                      </a:lvl4pPr>
                      <a:lvl5pPr marL="1865484" algn="l" defTabSz="932742" rtl="0" eaLnBrk="1" latinLnBrk="0" hangingPunct="1">
                        <a:defRPr sz="1800" b="1" kern="1200">
                          <a:solidFill>
                            <a:schemeClr val="lt1"/>
                          </a:solidFill>
                          <a:latin typeface="Arial"/>
                        </a:defRPr>
                      </a:lvl5pPr>
                      <a:lvl6pPr marL="2331856" algn="l" defTabSz="932742" rtl="0" eaLnBrk="1" latinLnBrk="0" hangingPunct="1">
                        <a:defRPr sz="1800" b="1" kern="1200">
                          <a:solidFill>
                            <a:schemeClr val="lt1"/>
                          </a:solidFill>
                          <a:latin typeface="Arial"/>
                        </a:defRPr>
                      </a:lvl6pPr>
                      <a:lvl7pPr marL="2798226" algn="l" defTabSz="932742" rtl="0" eaLnBrk="1" latinLnBrk="0" hangingPunct="1">
                        <a:defRPr sz="1800" b="1" kern="1200">
                          <a:solidFill>
                            <a:schemeClr val="lt1"/>
                          </a:solidFill>
                          <a:latin typeface="Arial"/>
                        </a:defRPr>
                      </a:lvl7pPr>
                      <a:lvl8pPr marL="3264597" algn="l" defTabSz="932742" rtl="0" eaLnBrk="1" latinLnBrk="0" hangingPunct="1">
                        <a:defRPr sz="1800" b="1" kern="1200">
                          <a:solidFill>
                            <a:schemeClr val="lt1"/>
                          </a:solidFill>
                          <a:latin typeface="Arial"/>
                        </a:defRPr>
                      </a:lvl8pPr>
                      <a:lvl9pPr marL="3730969" algn="l" defTabSz="932742" rtl="0" eaLnBrk="1" latinLnBrk="0" hangingPunct="1">
                        <a:defRPr sz="1800" b="1" kern="1200">
                          <a:solidFill>
                            <a:schemeClr val="lt1"/>
                          </a:solidFill>
                          <a:latin typeface="Arial"/>
                        </a:defRPr>
                      </a:lvl9pPr>
                    </a:lstStyle>
                    <a:p>
                      <a:r>
                        <a:rPr lang="en-US" sz="1600" b="1" dirty="0" smtClean="0">
                          <a:solidFill>
                            <a:srgbClr val="000000"/>
                          </a:solidFill>
                        </a:rPr>
                        <a:t>server</a:t>
                      </a:r>
                      <a:endParaRPr lang="en-US" sz="1600" b="1" dirty="0">
                        <a:solidFill>
                          <a:srgbClr val="000000"/>
                        </a:solidFill>
                      </a:endParaRPr>
                    </a:p>
                  </a:txBody>
                  <a:tcPr marL="91403" marR="91403" marT="45701" marB="45701">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00BCF2"/>
                    </a:solidFill>
                  </a:tcPr>
                </a:tc>
                <a:tc>
                  <a:txBody>
                    <a:bodyPr/>
                    <a:lstStyle>
                      <a:lvl1pPr marL="0" algn="l" defTabSz="932742" rtl="0" eaLnBrk="1" latinLnBrk="0" hangingPunct="1">
                        <a:defRPr sz="1800" b="1" kern="1200">
                          <a:solidFill>
                            <a:schemeClr val="lt1"/>
                          </a:solidFill>
                          <a:latin typeface="Arial"/>
                        </a:defRPr>
                      </a:lvl1pPr>
                      <a:lvl2pPr marL="466371" algn="l" defTabSz="932742" rtl="0" eaLnBrk="1" latinLnBrk="0" hangingPunct="1">
                        <a:defRPr sz="1800" b="1" kern="1200">
                          <a:solidFill>
                            <a:schemeClr val="lt1"/>
                          </a:solidFill>
                          <a:latin typeface="Arial"/>
                        </a:defRPr>
                      </a:lvl2pPr>
                      <a:lvl3pPr marL="932742" algn="l" defTabSz="932742" rtl="0" eaLnBrk="1" latinLnBrk="0" hangingPunct="1">
                        <a:defRPr sz="1800" b="1" kern="1200">
                          <a:solidFill>
                            <a:schemeClr val="lt1"/>
                          </a:solidFill>
                          <a:latin typeface="Arial"/>
                        </a:defRPr>
                      </a:lvl3pPr>
                      <a:lvl4pPr marL="1399113" algn="l" defTabSz="932742" rtl="0" eaLnBrk="1" latinLnBrk="0" hangingPunct="1">
                        <a:defRPr sz="1800" b="1" kern="1200">
                          <a:solidFill>
                            <a:schemeClr val="lt1"/>
                          </a:solidFill>
                          <a:latin typeface="Arial"/>
                        </a:defRPr>
                      </a:lvl4pPr>
                      <a:lvl5pPr marL="1865484" algn="l" defTabSz="932742" rtl="0" eaLnBrk="1" latinLnBrk="0" hangingPunct="1">
                        <a:defRPr sz="1800" b="1" kern="1200">
                          <a:solidFill>
                            <a:schemeClr val="lt1"/>
                          </a:solidFill>
                          <a:latin typeface="Arial"/>
                        </a:defRPr>
                      </a:lvl5pPr>
                      <a:lvl6pPr marL="2331856" algn="l" defTabSz="932742" rtl="0" eaLnBrk="1" latinLnBrk="0" hangingPunct="1">
                        <a:defRPr sz="1800" b="1" kern="1200">
                          <a:solidFill>
                            <a:schemeClr val="lt1"/>
                          </a:solidFill>
                          <a:latin typeface="Arial"/>
                        </a:defRPr>
                      </a:lvl6pPr>
                      <a:lvl7pPr marL="2798226" algn="l" defTabSz="932742" rtl="0" eaLnBrk="1" latinLnBrk="0" hangingPunct="1">
                        <a:defRPr sz="1800" b="1" kern="1200">
                          <a:solidFill>
                            <a:schemeClr val="lt1"/>
                          </a:solidFill>
                          <a:latin typeface="Arial"/>
                        </a:defRPr>
                      </a:lvl7pPr>
                      <a:lvl8pPr marL="3264597" algn="l" defTabSz="932742" rtl="0" eaLnBrk="1" latinLnBrk="0" hangingPunct="1">
                        <a:defRPr sz="1800" b="1" kern="1200">
                          <a:solidFill>
                            <a:schemeClr val="lt1"/>
                          </a:solidFill>
                          <a:latin typeface="Arial"/>
                        </a:defRPr>
                      </a:lvl8pPr>
                      <a:lvl9pPr marL="3730969" algn="l" defTabSz="932742" rtl="0" eaLnBrk="1" latinLnBrk="0" hangingPunct="1">
                        <a:defRPr sz="1800" b="1" kern="1200">
                          <a:solidFill>
                            <a:schemeClr val="lt1"/>
                          </a:solidFill>
                          <a:latin typeface="Arial"/>
                        </a:defRPr>
                      </a:lvl9pPr>
                    </a:lstStyle>
                    <a:p>
                      <a:r>
                        <a:rPr lang="en-US" sz="1600" dirty="0" smtClean="0">
                          <a:solidFill>
                            <a:srgbClr val="000000"/>
                          </a:solidFill>
                        </a:rPr>
                        <a:t>database</a:t>
                      </a:r>
                      <a:endParaRPr lang="en-US" sz="1600" dirty="0">
                        <a:solidFill>
                          <a:srgbClr val="000000"/>
                        </a:solidFill>
                      </a:endParaRPr>
                    </a:p>
                  </a:txBody>
                  <a:tcPr marL="91403" marR="91403" marT="45701" marB="45701">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00BCF2"/>
                    </a:solidFill>
                  </a:tcPr>
                </a:tc>
                <a:extLst>
                  <a:ext uri="{0D108BD9-81ED-4DB2-BD59-A6C34878D82A}">
                    <a16:rowId xmlns:a16="http://schemas.microsoft.com/office/drawing/2014/main" val="10000"/>
                  </a:ext>
                </a:extLst>
              </a:tr>
              <a:tr h="335146">
                <a:tc>
                  <a:txBody>
                    <a:bodyPr/>
                    <a:lstStyle>
                      <a:lvl1pPr marL="0" algn="l" defTabSz="932742" rtl="0" eaLnBrk="1" latinLnBrk="0" hangingPunct="1">
                        <a:defRPr sz="1800" kern="1200">
                          <a:solidFill>
                            <a:schemeClr val="dk1"/>
                          </a:solidFill>
                          <a:latin typeface="Arial"/>
                        </a:defRPr>
                      </a:lvl1pPr>
                      <a:lvl2pPr marL="466371" algn="l" defTabSz="932742" rtl="0" eaLnBrk="1" latinLnBrk="0" hangingPunct="1">
                        <a:defRPr sz="1800" kern="1200">
                          <a:solidFill>
                            <a:schemeClr val="dk1"/>
                          </a:solidFill>
                          <a:latin typeface="Arial"/>
                        </a:defRPr>
                      </a:lvl2pPr>
                      <a:lvl3pPr marL="932742" algn="l" defTabSz="932742" rtl="0" eaLnBrk="1" latinLnBrk="0" hangingPunct="1">
                        <a:defRPr sz="1800" kern="1200">
                          <a:solidFill>
                            <a:schemeClr val="dk1"/>
                          </a:solidFill>
                          <a:latin typeface="Arial"/>
                        </a:defRPr>
                      </a:lvl3pPr>
                      <a:lvl4pPr marL="1399113" algn="l" defTabSz="932742" rtl="0" eaLnBrk="1" latinLnBrk="0" hangingPunct="1">
                        <a:defRPr sz="1800" kern="1200">
                          <a:solidFill>
                            <a:schemeClr val="dk1"/>
                          </a:solidFill>
                          <a:latin typeface="Arial"/>
                        </a:defRPr>
                      </a:lvl4pPr>
                      <a:lvl5pPr marL="1865484" algn="l" defTabSz="932742" rtl="0" eaLnBrk="1" latinLnBrk="0" hangingPunct="1">
                        <a:defRPr sz="1800" kern="1200">
                          <a:solidFill>
                            <a:schemeClr val="dk1"/>
                          </a:solidFill>
                          <a:latin typeface="Arial"/>
                        </a:defRPr>
                      </a:lvl5pPr>
                      <a:lvl6pPr marL="2331856" algn="l" defTabSz="932742" rtl="0" eaLnBrk="1" latinLnBrk="0" hangingPunct="1">
                        <a:defRPr sz="1800" kern="1200">
                          <a:solidFill>
                            <a:schemeClr val="dk1"/>
                          </a:solidFill>
                          <a:latin typeface="Arial"/>
                        </a:defRPr>
                      </a:lvl6pPr>
                      <a:lvl7pPr marL="2798226" algn="l" defTabSz="932742" rtl="0" eaLnBrk="1" latinLnBrk="0" hangingPunct="1">
                        <a:defRPr sz="1800" kern="1200">
                          <a:solidFill>
                            <a:schemeClr val="dk1"/>
                          </a:solidFill>
                          <a:latin typeface="Arial"/>
                        </a:defRPr>
                      </a:lvl7pPr>
                      <a:lvl8pPr marL="3264597" algn="l" defTabSz="932742" rtl="0" eaLnBrk="1" latinLnBrk="0" hangingPunct="1">
                        <a:defRPr sz="1800" kern="1200">
                          <a:solidFill>
                            <a:schemeClr val="dk1"/>
                          </a:solidFill>
                          <a:latin typeface="Arial"/>
                        </a:defRPr>
                      </a:lvl8pPr>
                      <a:lvl9pPr marL="3730969" algn="l" defTabSz="932742" rtl="0" eaLnBrk="1" latinLnBrk="0" hangingPunct="1">
                        <a:defRPr sz="1800" kern="1200">
                          <a:solidFill>
                            <a:schemeClr val="dk1"/>
                          </a:solidFill>
                          <a:latin typeface="Arial"/>
                        </a:defRPr>
                      </a:lvl9pPr>
                    </a:lstStyle>
                    <a:p>
                      <a:r>
                        <a:rPr lang="en-US" sz="1600" b="1" dirty="0" smtClean="0">
                          <a:solidFill>
                            <a:srgbClr val="000000"/>
                          </a:solidFill>
                        </a:rPr>
                        <a:t>1</a:t>
                      </a:r>
                      <a:endParaRPr lang="en-US" sz="1600" b="1" dirty="0">
                        <a:solidFill>
                          <a:srgbClr val="000000"/>
                        </a:solidFill>
                      </a:endParaRPr>
                    </a:p>
                  </a:txBody>
                  <a:tcPr marL="91403" marR="91403" marT="45701" marB="45701">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BCF2">
                        <a:tint val="40000"/>
                      </a:srgbClr>
                    </a:solidFill>
                  </a:tcPr>
                </a:tc>
                <a:tc>
                  <a:txBody>
                    <a:bodyPr/>
                    <a:lstStyle>
                      <a:lvl1pPr marL="0" algn="l" defTabSz="932742" rtl="0" eaLnBrk="1" latinLnBrk="0" hangingPunct="1">
                        <a:defRPr sz="1800" kern="1200">
                          <a:solidFill>
                            <a:schemeClr val="dk1"/>
                          </a:solidFill>
                          <a:latin typeface="Arial"/>
                        </a:defRPr>
                      </a:lvl1pPr>
                      <a:lvl2pPr marL="466371" algn="l" defTabSz="932742" rtl="0" eaLnBrk="1" latinLnBrk="0" hangingPunct="1">
                        <a:defRPr sz="1800" kern="1200">
                          <a:solidFill>
                            <a:schemeClr val="dk1"/>
                          </a:solidFill>
                          <a:latin typeface="Arial"/>
                        </a:defRPr>
                      </a:lvl2pPr>
                      <a:lvl3pPr marL="932742" algn="l" defTabSz="932742" rtl="0" eaLnBrk="1" latinLnBrk="0" hangingPunct="1">
                        <a:defRPr sz="1800" kern="1200">
                          <a:solidFill>
                            <a:schemeClr val="dk1"/>
                          </a:solidFill>
                          <a:latin typeface="Arial"/>
                        </a:defRPr>
                      </a:lvl3pPr>
                      <a:lvl4pPr marL="1399113" algn="l" defTabSz="932742" rtl="0" eaLnBrk="1" latinLnBrk="0" hangingPunct="1">
                        <a:defRPr sz="1800" kern="1200">
                          <a:solidFill>
                            <a:schemeClr val="dk1"/>
                          </a:solidFill>
                          <a:latin typeface="Arial"/>
                        </a:defRPr>
                      </a:lvl4pPr>
                      <a:lvl5pPr marL="1865484" algn="l" defTabSz="932742" rtl="0" eaLnBrk="1" latinLnBrk="0" hangingPunct="1">
                        <a:defRPr sz="1800" kern="1200">
                          <a:solidFill>
                            <a:schemeClr val="dk1"/>
                          </a:solidFill>
                          <a:latin typeface="Arial"/>
                        </a:defRPr>
                      </a:lvl5pPr>
                      <a:lvl6pPr marL="2331856" algn="l" defTabSz="932742" rtl="0" eaLnBrk="1" latinLnBrk="0" hangingPunct="1">
                        <a:defRPr sz="1800" kern="1200">
                          <a:solidFill>
                            <a:schemeClr val="dk1"/>
                          </a:solidFill>
                          <a:latin typeface="Arial"/>
                        </a:defRPr>
                      </a:lvl6pPr>
                      <a:lvl7pPr marL="2798226" algn="l" defTabSz="932742" rtl="0" eaLnBrk="1" latinLnBrk="0" hangingPunct="1">
                        <a:defRPr sz="1800" kern="1200">
                          <a:solidFill>
                            <a:schemeClr val="dk1"/>
                          </a:solidFill>
                          <a:latin typeface="Arial"/>
                        </a:defRPr>
                      </a:lvl7pPr>
                      <a:lvl8pPr marL="3264597" algn="l" defTabSz="932742" rtl="0" eaLnBrk="1" latinLnBrk="0" hangingPunct="1">
                        <a:defRPr sz="1800" kern="1200">
                          <a:solidFill>
                            <a:schemeClr val="dk1"/>
                          </a:solidFill>
                          <a:latin typeface="Arial"/>
                        </a:defRPr>
                      </a:lvl8pPr>
                      <a:lvl9pPr marL="3730969" algn="l" defTabSz="932742" rtl="0" eaLnBrk="1" latinLnBrk="0" hangingPunct="1">
                        <a:defRPr sz="1800" kern="1200">
                          <a:solidFill>
                            <a:schemeClr val="dk1"/>
                          </a:solidFill>
                          <a:latin typeface="Arial"/>
                        </a:defRPr>
                      </a:lvl9pPr>
                    </a:lstStyle>
                    <a:p>
                      <a:r>
                        <a:rPr lang="en-US" sz="1600" b="1" dirty="0" smtClean="0">
                          <a:solidFill>
                            <a:srgbClr val="000000"/>
                          </a:solidFill>
                        </a:rPr>
                        <a:t>1</a:t>
                      </a:r>
                      <a:endParaRPr lang="en-US" sz="1600" b="1" dirty="0">
                        <a:solidFill>
                          <a:srgbClr val="000000"/>
                        </a:solidFill>
                      </a:endParaRPr>
                    </a:p>
                  </a:txBody>
                  <a:tcPr marL="91403" marR="91403" marT="45701" marB="45701">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BCF2">
                        <a:tint val="40000"/>
                      </a:srgbClr>
                    </a:solidFill>
                  </a:tcPr>
                </a:tc>
                <a:tc>
                  <a:txBody>
                    <a:bodyPr/>
                    <a:lstStyle>
                      <a:lvl1pPr marL="0" algn="l" defTabSz="932742" rtl="0" eaLnBrk="1" latinLnBrk="0" hangingPunct="1">
                        <a:defRPr sz="1800" kern="1200">
                          <a:solidFill>
                            <a:schemeClr val="dk1"/>
                          </a:solidFill>
                          <a:latin typeface="Arial"/>
                        </a:defRPr>
                      </a:lvl1pPr>
                      <a:lvl2pPr marL="466371" algn="l" defTabSz="932742" rtl="0" eaLnBrk="1" latinLnBrk="0" hangingPunct="1">
                        <a:defRPr sz="1800" kern="1200">
                          <a:solidFill>
                            <a:schemeClr val="dk1"/>
                          </a:solidFill>
                          <a:latin typeface="Arial"/>
                        </a:defRPr>
                      </a:lvl2pPr>
                      <a:lvl3pPr marL="932742" algn="l" defTabSz="932742" rtl="0" eaLnBrk="1" latinLnBrk="0" hangingPunct="1">
                        <a:defRPr sz="1800" kern="1200">
                          <a:solidFill>
                            <a:schemeClr val="dk1"/>
                          </a:solidFill>
                          <a:latin typeface="Arial"/>
                        </a:defRPr>
                      </a:lvl3pPr>
                      <a:lvl4pPr marL="1399113" algn="l" defTabSz="932742" rtl="0" eaLnBrk="1" latinLnBrk="0" hangingPunct="1">
                        <a:defRPr sz="1800" kern="1200">
                          <a:solidFill>
                            <a:schemeClr val="dk1"/>
                          </a:solidFill>
                          <a:latin typeface="Arial"/>
                        </a:defRPr>
                      </a:lvl4pPr>
                      <a:lvl5pPr marL="1865484" algn="l" defTabSz="932742" rtl="0" eaLnBrk="1" latinLnBrk="0" hangingPunct="1">
                        <a:defRPr sz="1800" kern="1200">
                          <a:solidFill>
                            <a:schemeClr val="dk1"/>
                          </a:solidFill>
                          <a:latin typeface="Arial"/>
                        </a:defRPr>
                      </a:lvl5pPr>
                      <a:lvl6pPr marL="2331856" algn="l" defTabSz="932742" rtl="0" eaLnBrk="1" latinLnBrk="0" hangingPunct="1">
                        <a:defRPr sz="1800" kern="1200">
                          <a:solidFill>
                            <a:schemeClr val="dk1"/>
                          </a:solidFill>
                          <a:latin typeface="Arial"/>
                        </a:defRPr>
                      </a:lvl6pPr>
                      <a:lvl7pPr marL="2798226" algn="l" defTabSz="932742" rtl="0" eaLnBrk="1" latinLnBrk="0" hangingPunct="1">
                        <a:defRPr sz="1800" kern="1200">
                          <a:solidFill>
                            <a:schemeClr val="dk1"/>
                          </a:solidFill>
                          <a:latin typeface="Arial"/>
                        </a:defRPr>
                      </a:lvl7pPr>
                      <a:lvl8pPr marL="3264597" algn="l" defTabSz="932742" rtl="0" eaLnBrk="1" latinLnBrk="0" hangingPunct="1">
                        <a:defRPr sz="1800" kern="1200">
                          <a:solidFill>
                            <a:schemeClr val="dk1"/>
                          </a:solidFill>
                          <a:latin typeface="Arial"/>
                        </a:defRPr>
                      </a:lvl8pPr>
                      <a:lvl9pPr marL="3730969" algn="l" defTabSz="932742" rtl="0" eaLnBrk="1" latinLnBrk="0" hangingPunct="1">
                        <a:defRPr sz="1800" kern="1200">
                          <a:solidFill>
                            <a:schemeClr val="dk1"/>
                          </a:solidFill>
                          <a:latin typeface="Arial"/>
                        </a:defRPr>
                      </a:lvl9pPr>
                    </a:lstStyle>
                    <a:p>
                      <a:r>
                        <a:rPr lang="en-US" sz="1600" b="1" kern="1200" dirty="0" smtClean="0">
                          <a:solidFill>
                            <a:srgbClr val="000000"/>
                          </a:solidFill>
                          <a:latin typeface="+mn-lt"/>
                          <a:ea typeface="+mn-ea"/>
                          <a:cs typeface="+mn-cs"/>
                        </a:rPr>
                        <a:t>Server1</a:t>
                      </a:r>
                      <a:endParaRPr lang="en-US" sz="1600" b="1" kern="1200" dirty="0">
                        <a:solidFill>
                          <a:srgbClr val="000000"/>
                        </a:solidFill>
                        <a:latin typeface="+mn-lt"/>
                        <a:ea typeface="+mn-ea"/>
                        <a:cs typeface="+mn-cs"/>
                      </a:endParaRPr>
                    </a:p>
                  </a:txBody>
                  <a:tcPr marL="91403" marR="91403" marT="45701" marB="45701">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BCF2">
                        <a:tint val="40000"/>
                      </a:srgbClr>
                    </a:solidFill>
                  </a:tcPr>
                </a:tc>
                <a:tc>
                  <a:txBody>
                    <a:bodyPr/>
                    <a:lstStyle>
                      <a:lvl1pPr marL="0" algn="l" defTabSz="932742" rtl="0" eaLnBrk="1" latinLnBrk="0" hangingPunct="1">
                        <a:defRPr sz="1800" kern="1200">
                          <a:solidFill>
                            <a:schemeClr val="dk1"/>
                          </a:solidFill>
                          <a:latin typeface="Arial"/>
                        </a:defRPr>
                      </a:lvl1pPr>
                      <a:lvl2pPr marL="466371" algn="l" defTabSz="932742" rtl="0" eaLnBrk="1" latinLnBrk="0" hangingPunct="1">
                        <a:defRPr sz="1800" kern="1200">
                          <a:solidFill>
                            <a:schemeClr val="dk1"/>
                          </a:solidFill>
                          <a:latin typeface="Arial"/>
                        </a:defRPr>
                      </a:lvl2pPr>
                      <a:lvl3pPr marL="932742" algn="l" defTabSz="932742" rtl="0" eaLnBrk="1" latinLnBrk="0" hangingPunct="1">
                        <a:defRPr sz="1800" kern="1200">
                          <a:solidFill>
                            <a:schemeClr val="dk1"/>
                          </a:solidFill>
                          <a:latin typeface="Arial"/>
                        </a:defRPr>
                      </a:lvl3pPr>
                      <a:lvl4pPr marL="1399113" algn="l" defTabSz="932742" rtl="0" eaLnBrk="1" latinLnBrk="0" hangingPunct="1">
                        <a:defRPr sz="1800" kern="1200">
                          <a:solidFill>
                            <a:schemeClr val="dk1"/>
                          </a:solidFill>
                          <a:latin typeface="Arial"/>
                        </a:defRPr>
                      </a:lvl4pPr>
                      <a:lvl5pPr marL="1865484" algn="l" defTabSz="932742" rtl="0" eaLnBrk="1" latinLnBrk="0" hangingPunct="1">
                        <a:defRPr sz="1800" kern="1200">
                          <a:solidFill>
                            <a:schemeClr val="dk1"/>
                          </a:solidFill>
                          <a:latin typeface="Arial"/>
                        </a:defRPr>
                      </a:lvl5pPr>
                      <a:lvl6pPr marL="2331856" algn="l" defTabSz="932742" rtl="0" eaLnBrk="1" latinLnBrk="0" hangingPunct="1">
                        <a:defRPr sz="1800" kern="1200">
                          <a:solidFill>
                            <a:schemeClr val="dk1"/>
                          </a:solidFill>
                          <a:latin typeface="Arial"/>
                        </a:defRPr>
                      </a:lvl6pPr>
                      <a:lvl7pPr marL="2798226" algn="l" defTabSz="932742" rtl="0" eaLnBrk="1" latinLnBrk="0" hangingPunct="1">
                        <a:defRPr sz="1800" kern="1200">
                          <a:solidFill>
                            <a:schemeClr val="dk1"/>
                          </a:solidFill>
                          <a:latin typeface="Arial"/>
                        </a:defRPr>
                      </a:lvl7pPr>
                      <a:lvl8pPr marL="3264597" algn="l" defTabSz="932742" rtl="0" eaLnBrk="1" latinLnBrk="0" hangingPunct="1">
                        <a:defRPr sz="1800" kern="1200">
                          <a:solidFill>
                            <a:schemeClr val="dk1"/>
                          </a:solidFill>
                          <a:latin typeface="Arial"/>
                        </a:defRPr>
                      </a:lvl8pPr>
                      <a:lvl9pPr marL="3730969" algn="l" defTabSz="932742" rtl="0" eaLnBrk="1" latinLnBrk="0" hangingPunct="1">
                        <a:defRPr sz="1800" kern="1200">
                          <a:solidFill>
                            <a:schemeClr val="dk1"/>
                          </a:solidFill>
                          <a:latin typeface="Arial"/>
                        </a:defRPr>
                      </a:lvl9pPr>
                    </a:lstStyle>
                    <a:p>
                      <a:r>
                        <a:rPr lang="en-US" sz="1600" b="1" dirty="0" smtClean="0">
                          <a:solidFill>
                            <a:srgbClr val="000000"/>
                          </a:solidFill>
                        </a:rPr>
                        <a:t>DB1</a:t>
                      </a:r>
                      <a:endParaRPr lang="en-US" sz="1600" b="1" dirty="0">
                        <a:solidFill>
                          <a:srgbClr val="000000"/>
                        </a:solidFill>
                      </a:endParaRPr>
                    </a:p>
                  </a:txBody>
                  <a:tcPr marL="91403" marR="91403" marT="45701" marB="45701">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BCF2">
                        <a:tint val="40000"/>
                      </a:srgbClr>
                    </a:solidFill>
                  </a:tcPr>
                </a:tc>
                <a:extLst>
                  <a:ext uri="{0D108BD9-81ED-4DB2-BD59-A6C34878D82A}">
                    <a16:rowId xmlns:a16="http://schemas.microsoft.com/office/drawing/2014/main" val="10001"/>
                  </a:ext>
                </a:extLst>
              </a:tr>
              <a:tr h="335146">
                <a:tc>
                  <a:txBody>
                    <a:bodyPr/>
                    <a:lstStyle>
                      <a:lvl1pPr marL="0" algn="l" defTabSz="932742" rtl="0" eaLnBrk="1" latinLnBrk="0" hangingPunct="1">
                        <a:defRPr sz="1800" kern="1200">
                          <a:solidFill>
                            <a:schemeClr val="dk1"/>
                          </a:solidFill>
                          <a:latin typeface="Arial"/>
                        </a:defRPr>
                      </a:lvl1pPr>
                      <a:lvl2pPr marL="466371" algn="l" defTabSz="932742" rtl="0" eaLnBrk="1" latinLnBrk="0" hangingPunct="1">
                        <a:defRPr sz="1800" kern="1200">
                          <a:solidFill>
                            <a:schemeClr val="dk1"/>
                          </a:solidFill>
                          <a:latin typeface="Arial"/>
                        </a:defRPr>
                      </a:lvl2pPr>
                      <a:lvl3pPr marL="932742" algn="l" defTabSz="932742" rtl="0" eaLnBrk="1" latinLnBrk="0" hangingPunct="1">
                        <a:defRPr sz="1800" kern="1200">
                          <a:solidFill>
                            <a:schemeClr val="dk1"/>
                          </a:solidFill>
                          <a:latin typeface="Arial"/>
                        </a:defRPr>
                      </a:lvl3pPr>
                      <a:lvl4pPr marL="1399113" algn="l" defTabSz="932742" rtl="0" eaLnBrk="1" latinLnBrk="0" hangingPunct="1">
                        <a:defRPr sz="1800" kern="1200">
                          <a:solidFill>
                            <a:schemeClr val="dk1"/>
                          </a:solidFill>
                          <a:latin typeface="Arial"/>
                        </a:defRPr>
                      </a:lvl4pPr>
                      <a:lvl5pPr marL="1865484" algn="l" defTabSz="932742" rtl="0" eaLnBrk="1" latinLnBrk="0" hangingPunct="1">
                        <a:defRPr sz="1800" kern="1200">
                          <a:solidFill>
                            <a:schemeClr val="dk1"/>
                          </a:solidFill>
                          <a:latin typeface="Arial"/>
                        </a:defRPr>
                      </a:lvl5pPr>
                      <a:lvl6pPr marL="2331856" algn="l" defTabSz="932742" rtl="0" eaLnBrk="1" latinLnBrk="0" hangingPunct="1">
                        <a:defRPr sz="1800" kern="1200">
                          <a:solidFill>
                            <a:schemeClr val="dk1"/>
                          </a:solidFill>
                          <a:latin typeface="Arial"/>
                        </a:defRPr>
                      </a:lvl6pPr>
                      <a:lvl7pPr marL="2798226" algn="l" defTabSz="932742" rtl="0" eaLnBrk="1" latinLnBrk="0" hangingPunct="1">
                        <a:defRPr sz="1800" kern="1200">
                          <a:solidFill>
                            <a:schemeClr val="dk1"/>
                          </a:solidFill>
                          <a:latin typeface="Arial"/>
                        </a:defRPr>
                      </a:lvl7pPr>
                      <a:lvl8pPr marL="3264597" algn="l" defTabSz="932742" rtl="0" eaLnBrk="1" latinLnBrk="0" hangingPunct="1">
                        <a:defRPr sz="1800" kern="1200">
                          <a:solidFill>
                            <a:schemeClr val="dk1"/>
                          </a:solidFill>
                          <a:latin typeface="Arial"/>
                        </a:defRPr>
                      </a:lvl8pPr>
                      <a:lvl9pPr marL="3730969" algn="l" defTabSz="932742" rtl="0" eaLnBrk="1" latinLnBrk="0" hangingPunct="1">
                        <a:defRPr sz="1800" kern="1200">
                          <a:solidFill>
                            <a:schemeClr val="dk1"/>
                          </a:solidFill>
                          <a:latin typeface="Arial"/>
                        </a:defRPr>
                      </a:lvl9pPr>
                    </a:lstStyle>
                    <a:p>
                      <a:r>
                        <a:rPr lang="en-US" sz="1600" b="1" dirty="0" smtClean="0">
                          <a:solidFill>
                            <a:srgbClr val="000000"/>
                          </a:solidFill>
                        </a:rPr>
                        <a:t>2</a:t>
                      </a:r>
                      <a:endParaRPr lang="en-US" sz="1600" b="1" dirty="0">
                        <a:solidFill>
                          <a:srgbClr val="000000"/>
                        </a:solidFill>
                      </a:endParaRPr>
                    </a:p>
                  </a:txBody>
                  <a:tcPr marL="91403" marR="91403" marT="45701" marB="4570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BCF2">
                        <a:tint val="20000"/>
                      </a:srgbClr>
                    </a:solidFill>
                  </a:tcPr>
                </a:tc>
                <a:tc>
                  <a:txBody>
                    <a:bodyPr/>
                    <a:lstStyle>
                      <a:lvl1pPr marL="0" algn="l" defTabSz="932742" rtl="0" eaLnBrk="1" latinLnBrk="0" hangingPunct="1">
                        <a:defRPr sz="1800" kern="1200">
                          <a:solidFill>
                            <a:schemeClr val="dk1"/>
                          </a:solidFill>
                          <a:latin typeface="Arial"/>
                        </a:defRPr>
                      </a:lvl1pPr>
                      <a:lvl2pPr marL="466371" algn="l" defTabSz="932742" rtl="0" eaLnBrk="1" latinLnBrk="0" hangingPunct="1">
                        <a:defRPr sz="1800" kern="1200">
                          <a:solidFill>
                            <a:schemeClr val="dk1"/>
                          </a:solidFill>
                          <a:latin typeface="Arial"/>
                        </a:defRPr>
                      </a:lvl2pPr>
                      <a:lvl3pPr marL="932742" algn="l" defTabSz="932742" rtl="0" eaLnBrk="1" latinLnBrk="0" hangingPunct="1">
                        <a:defRPr sz="1800" kern="1200">
                          <a:solidFill>
                            <a:schemeClr val="dk1"/>
                          </a:solidFill>
                          <a:latin typeface="Arial"/>
                        </a:defRPr>
                      </a:lvl3pPr>
                      <a:lvl4pPr marL="1399113" algn="l" defTabSz="932742" rtl="0" eaLnBrk="1" latinLnBrk="0" hangingPunct="1">
                        <a:defRPr sz="1800" kern="1200">
                          <a:solidFill>
                            <a:schemeClr val="dk1"/>
                          </a:solidFill>
                          <a:latin typeface="Arial"/>
                        </a:defRPr>
                      </a:lvl4pPr>
                      <a:lvl5pPr marL="1865484" algn="l" defTabSz="932742" rtl="0" eaLnBrk="1" latinLnBrk="0" hangingPunct="1">
                        <a:defRPr sz="1800" kern="1200">
                          <a:solidFill>
                            <a:schemeClr val="dk1"/>
                          </a:solidFill>
                          <a:latin typeface="Arial"/>
                        </a:defRPr>
                      </a:lvl5pPr>
                      <a:lvl6pPr marL="2331856" algn="l" defTabSz="932742" rtl="0" eaLnBrk="1" latinLnBrk="0" hangingPunct="1">
                        <a:defRPr sz="1800" kern="1200">
                          <a:solidFill>
                            <a:schemeClr val="dk1"/>
                          </a:solidFill>
                          <a:latin typeface="Arial"/>
                        </a:defRPr>
                      </a:lvl6pPr>
                      <a:lvl7pPr marL="2798226" algn="l" defTabSz="932742" rtl="0" eaLnBrk="1" latinLnBrk="0" hangingPunct="1">
                        <a:defRPr sz="1800" kern="1200">
                          <a:solidFill>
                            <a:schemeClr val="dk1"/>
                          </a:solidFill>
                          <a:latin typeface="Arial"/>
                        </a:defRPr>
                      </a:lvl7pPr>
                      <a:lvl8pPr marL="3264597" algn="l" defTabSz="932742" rtl="0" eaLnBrk="1" latinLnBrk="0" hangingPunct="1">
                        <a:defRPr sz="1800" kern="1200">
                          <a:solidFill>
                            <a:schemeClr val="dk1"/>
                          </a:solidFill>
                          <a:latin typeface="Arial"/>
                        </a:defRPr>
                      </a:lvl8pPr>
                      <a:lvl9pPr marL="3730969" algn="l" defTabSz="932742" rtl="0" eaLnBrk="1" latinLnBrk="0" hangingPunct="1">
                        <a:defRPr sz="1800" kern="1200">
                          <a:solidFill>
                            <a:schemeClr val="dk1"/>
                          </a:solidFill>
                          <a:latin typeface="Arial"/>
                        </a:defRPr>
                      </a:lvl9pPr>
                    </a:lstStyle>
                    <a:p>
                      <a:r>
                        <a:rPr lang="en-US" sz="1600" b="1" kern="1200" dirty="0" smtClean="0">
                          <a:solidFill>
                            <a:srgbClr val="000000"/>
                          </a:solidFill>
                          <a:latin typeface="+mn-lt"/>
                          <a:ea typeface="+mn-ea"/>
                          <a:cs typeface="+mn-cs"/>
                        </a:rPr>
                        <a:t>1</a:t>
                      </a:r>
                      <a:endParaRPr lang="en-US" sz="1600" b="1" kern="1200" dirty="0">
                        <a:solidFill>
                          <a:srgbClr val="000000"/>
                        </a:solidFill>
                        <a:latin typeface="+mn-lt"/>
                        <a:ea typeface="+mn-ea"/>
                        <a:cs typeface="+mn-cs"/>
                      </a:endParaRPr>
                    </a:p>
                  </a:txBody>
                  <a:tcPr marL="91403" marR="91403" marT="45701" marB="4570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BCF2">
                        <a:tint val="20000"/>
                      </a:srgbClr>
                    </a:solidFill>
                  </a:tcPr>
                </a:tc>
                <a:tc>
                  <a:txBody>
                    <a:bodyPr/>
                    <a:lstStyle>
                      <a:lvl1pPr marL="0" algn="l" defTabSz="932742" rtl="0" eaLnBrk="1" latinLnBrk="0" hangingPunct="1">
                        <a:defRPr sz="1800" kern="1200">
                          <a:solidFill>
                            <a:schemeClr val="dk1"/>
                          </a:solidFill>
                          <a:latin typeface="Arial"/>
                        </a:defRPr>
                      </a:lvl1pPr>
                      <a:lvl2pPr marL="466371" algn="l" defTabSz="932742" rtl="0" eaLnBrk="1" latinLnBrk="0" hangingPunct="1">
                        <a:defRPr sz="1800" kern="1200">
                          <a:solidFill>
                            <a:schemeClr val="dk1"/>
                          </a:solidFill>
                          <a:latin typeface="Arial"/>
                        </a:defRPr>
                      </a:lvl2pPr>
                      <a:lvl3pPr marL="932742" algn="l" defTabSz="932742" rtl="0" eaLnBrk="1" latinLnBrk="0" hangingPunct="1">
                        <a:defRPr sz="1800" kern="1200">
                          <a:solidFill>
                            <a:schemeClr val="dk1"/>
                          </a:solidFill>
                          <a:latin typeface="Arial"/>
                        </a:defRPr>
                      </a:lvl3pPr>
                      <a:lvl4pPr marL="1399113" algn="l" defTabSz="932742" rtl="0" eaLnBrk="1" latinLnBrk="0" hangingPunct="1">
                        <a:defRPr sz="1800" kern="1200">
                          <a:solidFill>
                            <a:schemeClr val="dk1"/>
                          </a:solidFill>
                          <a:latin typeface="Arial"/>
                        </a:defRPr>
                      </a:lvl4pPr>
                      <a:lvl5pPr marL="1865484" algn="l" defTabSz="932742" rtl="0" eaLnBrk="1" latinLnBrk="0" hangingPunct="1">
                        <a:defRPr sz="1800" kern="1200">
                          <a:solidFill>
                            <a:schemeClr val="dk1"/>
                          </a:solidFill>
                          <a:latin typeface="Arial"/>
                        </a:defRPr>
                      </a:lvl5pPr>
                      <a:lvl6pPr marL="2331856" algn="l" defTabSz="932742" rtl="0" eaLnBrk="1" latinLnBrk="0" hangingPunct="1">
                        <a:defRPr sz="1800" kern="1200">
                          <a:solidFill>
                            <a:schemeClr val="dk1"/>
                          </a:solidFill>
                          <a:latin typeface="Arial"/>
                        </a:defRPr>
                      </a:lvl6pPr>
                      <a:lvl7pPr marL="2798226" algn="l" defTabSz="932742" rtl="0" eaLnBrk="1" latinLnBrk="0" hangingPunct="1">
                        <a:defRPr sz="1800" kern="1200">
                          <a:solidFill>
                            <a:schemeClr val="dk1"/>
                          </a:solidFill>
                          <a:latin typeface="Arial"/>
                        </a:defRPr>
                      </a:lvl7pPr>
                      <a:lvl8pPr marL="3264597" algn="l" defTabSz="932742" rtl="0" eaLnBrk="1" latinLnBrk="0" hangingPunct="1">
                        <a:defRPr sz="1800" kern="1200">
                          <a:solidFill>
                            <a:schemeClr val="dk1"/>
                          </a:solidFill>
                          <a:latin typeface="Arial"/>
                        </a:defRPr>
                      </a:lvl8pPr>
                      <a:lvl9pPr marL="3730969" algn="l" defTabSz="932742" rtl="0" eaLnBrk="1" latinLnBrk="0" hangingPunct="1">
                        <a:defRPr sz="1800" kern="1200">
                          <a:solidFill>
                            <a:schemeClr val="dk1"/>
                          </a:solidFill>
                          <a:latin typeface="Arial"/>
                        </a:defRPr>
                      </a:lvl9pPr>
                    </a:lstStyle>
                    <a:p>
                      <a:r>
                        <a:rPr lang="en-US" sz="1600" b="1" kern="1200" dirty="0" smtClean="0">
                          <a:solidFill>
                            <a:srgbClr val="000000"/>
                          </a:solidFill>
                          <a:latin typeface="+mn-lt"/>
                          <a:ea typeface="+mn-ea"/>
                          <a:cs typeface="+mn-cs"/>
                        </a:rPr>
                        <a:t>Server1</a:t>
                      </a:r>
                      <a:endParaRPr lang="en-US" sz="1600" b="1" kern="1200" dirty="0">
                        <a:solidFill>
                          <a:srgbClr val="000000"/>
                        </a:solidFill>
                        <a:latin typeface="+mn-lt"/>
                        <a:ea typeface="+mn-ea"/>
                        <a:cs typeface="+mn-cs"/>
                      </a:endParaRPr>
                    </a:p>
                  </a:txBody>
                  <a:tcPr marL="91403" marR="91403" marT="45701" marB="4570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BCF2">
                        <a:tint val="20000"/>
                      </a:srgbClr>
                    </a:solidFill>
                  </a:tcPr>
                </a:tc>
                <a:tc>
                  <a:txBody>
                    <a:bodyPr/>
                    <a:lstStyle>
                      <a:lvl1pPr marL="0" algn="l" defTabSz="932742" rtl="0" eaLnBrk="1" latinLnBrk="0" hangingPunct="1">
                        <a:defRPr sz="1800" kern="1200">
                          <a:solidFill>
                            <a:schemeClr val="dk1"/>
                          </a:solidFill>
                          <a:latin typeface="Arial"/>
                        </a:defRPr>
                      </a:lvl1pPr>
                      <a:lvl2pPr marL="466371" algn="l" defTabSz="932742" rtl="0" eaLnBrk="1" latinLnBrk="0" hangingPunct="1">
                        <a:defRPr sz="1800" kern="1200">
                          <a:solidFill>
                            <a:schemeClr val="dk1"/>
                          </a:solidFill>
                          <a:latin typeface="Arial"/>
                        </a:defRPr>
                      </a:lvl2pPr>
                      <a:lvl3pPr marL="932742" algn="l" defTabSz="932742" rtl="0" eaLnBrk="1" latinLnBrk="0" hangingPunct="1">
                        <a:defRPr sz="1800" kern="1200">
                          <a:solidFill>
                            <a:schemeClr val="dk1"/>
                          </a:solidFill>
                          <a:latin typeface="Arial"/>
                        </a:defRPr>
                      </a:lvl3pPr>
                      <a:lvl4pPr marL="1399113" algn="l" defTabSz="932742" rtl="0" eaLnBrk="1" latinLnBrk="0" hangingPunct="1">
                        <a:defRPr sz="1800" kern="1200">
                          <a:solidFill>
                            <a:schemeClr val="dk1"/>
                          </a:solidFill>
                          <a:latin typeface="Arial"/>
                        </a:defRPr>
                      </a:lvl4pPr>
                      <a:lvl5pPr marL="1865484" algn="l" defTabSz="932742" rtl="0" eaLnBrk="1" latinLnBrk="0" hangingPunct="1">
                        <a:defRPr sz="1800" kern="1200">
                          <a:solidFill>
                            <a:schemeClr val="dk1"/>
                          </a:solidFill>
                          <a:latin typeface="Arial"/>
                        </a:defRPr>
                      </a:lvl5pPr>
                      <a:lvl6pPr marL="2331856" algn="l" defTabSz="932742" rtl="0" eaLnBrk="1" latinLnBrk="0" hangingPunct="1">
                        <a:defRPr sz="1800" kern="1200">
                          <a:solidFill>
                            <a:schemeClr val="dk1"/>
                          </a:solidFill>
                          <a:latin typeface="Arial"/>
                        </a:defRPr>
                      </a:lvl6pPr>
                      <a:lvl7pPr marL="2798226" algn="l" defTabSz="932742" rtl="0" eaLnBrk="1" latinLnBrk="0" hangingPunct="1">
                        <a:defRPr sz="1800" kern="1200">
                          <a:solidFill>
                            <a:schemeClr val="dk1"/>
                          </a:solidFill>
                          <a:latin typeface="Arial"/>
                        </a:defRPr>
                      </a:lvl7pPr>
                      <a:lvl8pPr marL="3264597" algn="l" defTabSz="932742" rtl="0" eaLnBrk="1" latinLnBrk="0" hangingPunct="1">
                        <a:defRPr sz="1800" kern="1200">
                          <a:solidFill>
                            <a:schemeClr val="dk1"/>
                          </a:solidFill>
                          <a:latin typeface="Arial"/>
                        </a:defRPr>
                      </a:lvl8pPr>
                      <a:lvl9pPr marL="3730969" algn="l" defTabSz="932742" rtl="0" eaLnBrk="1" latinLnBrk="0" hangingPunct="1">
                        <a:defRPr sz="1800" kern="1200">
                          <a:solidFill>
                            <a:schemeClr val="dk1"/>
                          </a:solidFill>
                          <a:latin typeface="Arial"/>
                        </a:defRPr>
                      </a:lvl9pPr>
                    </a:lstStyle>
                    <a:p>
                      <a:r>
                        <a:rPr lang="en-US" sz="1600" b="1" kern="1200" dirty="0" smtClean="0">
                          <a:solidFill>
                            <a:srgbClr val="000000"/>
                          </a:solidFill>
                          <a:latin typeface="+mn-lt"/>
                          <a:ea typeface="+mn-ea"/>
                          <a:cs typeface="+mn-cs"/>
                        </a:rPr>
                        <a:t>DB2</a:t>
                      </a:r>
                      <a:endParaRPr lang="en-US" sz="1600" b="1" kern="1200" dirty="0">
                        <a:solidFill>
                          <a:srgbClr val="000000"/>
                        </a:solidFill>
                        <a:latin typeface="+mn-lt"/>
                        <a:ea typeface="+mn-ea"/>
                        <a:cs typeface="+mn-cs"/>
                      </a:endParaRPr>
                    </a:p>
                  </a:txBody>
                  <a:tcPr marL="91403" marR="91403" marT="45701" marB="4570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BCF2">
                        <a:tint val="20000"/>
                      </a:srgbClr>
                    </a:solidFill>
                  </a:tcPr>
                </a:tc>
                <a:extLst>
                  <a:ext uri="{0D108BD9-81ED-4DB2-BD59-A6C34878D82A}">
                    <a16:rowId xmlns:a16="http://schemas.microsoft.com/office/drawing/2014/main" val="10002"/>
                  </a:ext>
                </a:extLst>
              </a:tr>
            </a:tbl>
          </a:graphicData>
        </a:graphic>
      </p:graphicFrame>
      <p:sp>
        <p:nvSpPr>
          <p:cNvPr id="33" name="TextBox 32"/>
          <p:cNvSpPr txBox="1"/>
          <p:nvPr/>
        </p:nvSpPr>
        <p:spPr>
          <a:xfrm>
            <a:off x="8167063" y="1339226"/>
            <a:ext cx="2320098" cy="331812"/>
          </a:xfrm>
          <a:prstGeom prst="rect">
            <a:avLst/>
          </a:prstGeom>
          <a:noFill/>
        </p:spPr>
        <p:txBody>
          <a:bodyPr wrap="square" rtlCol="0">
            <a:spAutoFit/>
          </a:bodyPr>
          <a:lstStyle/>
          <a:p>
            <a:pPr defTabSz="623863"/>
            <a:r>
              <a:rPr lang="fr-FR" sz="1568" b="1" dirty="0" smtClean="0">
                <a:solidFill>
                  <a:srgbClr val="FFFFFF"/>
                </a:solidFill>
                <a:latin typeface="Arial"/>
              </a:rPr>
              <a:t>[</a:t>
            </a:r>
            <a:r>
              <a:rPr lang="fr-FR" sz="1568" b="1" dirty="0" err="1" smtClean="0">
                <a:solidFill>
                  <a:srgbClr val="FFFFFF"/>
                </a:solidFill>
                <a:latin typeface="Arial"/>
              </a:rPr>
              <a:t>shardmaps_global</a:t>
            </a:r>
            <a:r>
              <a:rPr lang="fr-FR" sz="1568" b="1" dirty="0" smtClean="0">
                <a:solidFill>
                  <a:srgbClr val="FFFFFF"/>
                </a:solidFill>
                <a:latin typeface="Arial"/>
              </a:rPr>
              <a:t>]</a:t>
            </a:r>
            <a:endParaRPr lang="fr-FR" sz="1568" b="1" dirty="0">
              <a:solidFill>
                <a:srgbClr val="FFFFFF"/>
              </a:solidFill>
              <a:latin typeface="Arial"/>
            </a:endParaRPr>
          </a:p>
        </p:txBody>
      </p:sp>
      <p:graphicFrame>
        <p:nvGraphicFramePr>
          <p:cNvPr id="37" name="Table 36"/>
          <p:cNvGraphicFramePr>
            <a:graphicFrameLocks noGrp="1"/>
          </p:cNvGraphicFramePr>
          <p:nvPr>
            <p:extLst/>
          </p:nvPr>
        </p:nvGraphicFramePr>
        <p:xfrm>
          <a:off x="8289086" y="1648750"/>
          <a:ext cx="2783727" cy="670484"/>
        </p:xfrm>
        <a:graphic>
          <a:graphicData uri="http://schemas.openxmlformats.org/drawingml/2006/table">
            <a:tbl>
              <a:tblPr firstRow="1" bandRow="1"/>
              <a:tblGrid>
                <a:gridCol w="915928">
                  <a:extLst>
                    <a:ext uri="{9D8B030D-6E8A-4147-A177-3AD203B41FA5}">
                      <a16:colId xmlns:a16="http://schemas.microsoft.com/office/drawing/2014/main" val="20000"/>
                    </a:ext>
                  </a:extLst>
                </a:gridCol>
                <a:gridCol w="1867799">
                  <a:extLst>
                    <a:ext uri="{9D8B030D-6E8A-4147-A177-3AD203B41FA5}">
                      <a16:colId xmlns:a16="http://schemas.microsoft.com/office/drawing/2014/main" val="20001"/>
                    </a:ext>
                  </a:extLst>
                </a:gridCol>
              </a:tblGrid>
              <a:tr h="330387">
                <a:tc>
                  <a:txBody>
                    <a:bodyPr/>
                    <a:lstStyle>
                      <a:lvl1pPr marL="0" algn="l" defTabSz="932742" rtl="0" eaLnBrk="1" latinLnBrk="0" hangingPunct="1">
                        <a:defRPr sz="1800" b="1" kern="1200">
                          <a:solidFill>
                            <a:schemeClr val="lt1"/>
                          </a:solidFill>
                          <a:latin typeface="Arial"/>
                        </a:defRPr>
                      </a:lvl1pPr>
                      <a:lvl2pPr marL="466371" algn="l" defTabSz="932742" rtl="0" eaLnBrk="1" latinLnBrk="0" hangingPunct="1">
                        <a:defRPr sz="1800" b="1" kern="1200">
                          <a:solidFill>
                            <a:schemeClr val="lt1"/>
                          </a:solidFill>
                          <a:latin typeface="Arial"/>
                        </a:defRPr>
                      </a:lvl2pPr>
                      <a:lvl3pPr marL="932742" algn="l" defTabSz="932742" rtl="0" eaLnBrk="1" latinLnBrk="0" hangingPunct="1">
                        <a:defRPr sz="1800" b="1" kern="1200">
                          <a:solidFill>
                            <a:schemeClr val="lt1"/>
                          </a:solidFill>
                          <a:latin typeface="Arial"/>
                        </a:defRPr>
                      </a:lvl3pPr>
                      <a:lvl4pPr marL="1399113" algn="l" defTabSz="932742" rtl="0" eaLnBrk="1" latinLnBrk="0" hangingPunct="1">
                        <a:defRPr sz="1800" b="1" kern="1200">
                          <a:solidFill>
                            <a:schemeClr val="lt1"/>
                          </a:solidFill>
                          <a:latin typeface="Arial"/>
                        </a:defRPr>
                      </a:lvl4pPr>
                      <a:lvl5pPr marL="1865484" algn="l" defTabSz="932742" rtl="0" eaLnBrk="1" latinLnBrk="0" hangingPunct="1">
                        <a:defRPr sz="1800" b="1" kern="1200">
                          <a:solidFill>
                            <a:schemeClr val="lt1"/>
                          </a:solidFill>
                          <a:latin typeface="Arial"/>
                        </a:defRPr>
                      </a:lvl5pPr>
                      <a:lvl6pPr marL="2331856" algn="l" defTabSz="932742" rtl="0" eaLnBrk="1" latinLnBrk="0" hangingPunct="1">
                        <a:defRPr sz="1800" b="1" kern="1200">
                          <a:solidFill>
                            <a:schemeClr val="lt1"/>
                          </a:solidFill>
                          <a:latin typeface="Arial"/>
                        </a:defRPr>
                      </a:lvl6pPr>
                      <a:lvl7pPr marL="2798226" algn="l" defTabSz="932742" rtl="0" eaLnBrk="1" latinLnBrk="0" hangingPunct="1">
                        <a:defRPr sz="1800" b="1" kern="1200">
                          <a:solidFill>
                            <a:schemeClr val="lt1"/>
                          </a:solidFill>
                          <a:latin typeface="Arial"/>
                        </a:defRPr>
                      </a:lvl7pPr>
                      <a:lvl8pPr marL="3264597" algn="l" defTabSz="932742" rtl="0" eaLnBrk="1" latinLnBrk="0" hangingPunct="1">
                        <a:defRPr sz="1800" b="1" kern="1200">
                          <a:solidFill>
                            <a:schemeClr val="lt1"/>
                          </a:solidFill>
                          <a:latin typeface="Arial"/>
                        </a:defRPr>
                      </a:lvl8pPr>
                      <a:lvl9pPr marL="3730969" algn="l" defTabSz="932742" rtl="0" eaLnBrk="1" latinLnBrk="0" hangingPunct="1">
                        <a:defRPr sz="1800" b="1" kern="1200">
                          <a:solidFill>
                            <a:schemeClr val="lt1"/>
                          </a:solidFill>
                          <a:latin typeface="Arial"/>
                        </a:defRPr>
                      </a:lvl9pPr>
                    </a:lstStyle>
                    <a:p>
                      <a:r>
                        <a:rPr lang="en-US" sz="1600" b="1" dirty="0" err="1" smtClean="0">
                          <a:solidFill>
                            <a:srgbClr val="000000"/>
                          </a:solidFill>
                        </a:rPr>
                        <a:t>smid</a:t>
                      </a:r>
                      <a:r>
                        <a:rPr lang="en-US" sz="1600" b="1" dirty="0" smtClean="0">
                          <a:solidFill>
                            <a:srgbClr val="000000"/>
                          </a:solidFill>
                        </a:rPr>
                        <a:t> </a:t>
                      </a:r>
                      <a:endParaRPr lang="en-US" sz="1600" b="1" dirty="0">
                        <a:solidFill>
                          <a:srgbClr val="000000"/>
                        </a:solidFill>
                      </a:endParaRPr>
                    </a:p>
                  </a:txBody>
                  <a:tcPr marL="91403" marR="91403" marT="45701" marB="45701">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00BCF2"/>
                    </a:solidFill>
                  </a:tcPr>
                </a:tc>
                <a:tc>
                  <a:txBody>
                    <a:bodyPr/>
                    <a:lstStyle>
                      <a:lvl1pPr marL="0" algn="l" defTabSz="932742" rtl="0" eaLnBrk="1" latinLnBrk="0" hangingPunct="1">
                        <a:defRPr sz="1800" b="1" kern="1200">
                          <a:solidFill>
                            <a:schemeClr val="lt1"/>
                          </a:solidFill>
                          <a:latin typeface="Arial"/>
                        </a:defRPr>
                      </a:lvl1pPr>
                      <a:lvl2pPr marL="466371" algn="l" defTabSz="932742" rtl="0" eaLnBrk="1" latinLnBrk="0" hangingPunct="1">
                        <a:defRPr sz="1800" b="1" kern="1200">
                          <a:solidFill>
                            <a:schemeClr val="lt1"/>
                          </a:solidFill>
                          <a:latin typeface="Arial"/>
                        </a:defRPr>
                      </a:lvl2pPr>
                      <a:lvl3pPr marL="932742" algn="l" defTabSz="932742" rtl="0" eaLnBrk="1" latinLnBrk="0" hangingPunct="1">
                        <a:defRPr sz="1800" b="1" kern="1200">
                          <a:solidFill>
                            <a:schemeClr val="lt1"/>
                          </a:solidFill>
                          <a:latin typeface="Arial"/>
                        </a:defRPr>
                      </a:lvl3pPr>
                      <a:lvl4pPr marL="1399113" algn="l" defTabSz="932742" rtl="0" eaLnBrk="1" latinLnBrk="0" hangingPunct="1">
                        <a:defRPr sz="1800" b="1" kern="1200">
                          <a:solidFill>
                            <a:schemeClr val="lt1"/>
                          </a:solidFill>
                          <a:latin typeface="Arial"/>
                        </a:defRPr>
                      </a:lvl4pPr>
                      <a:lvl5pPr marL="1865484" algn="l" defTabSz="932742" rtl="0" eaLnBrk="1" latinLnBrk="0" hangingPunct="1">
                        <a:defRPr sz="1800" b="1" kern="1200">
                          <a:solidFill>
                            <a:schemeClr val="lt1"/>
                          </a:solidFill>
                          <a:latin typeface="Arial"/>
                        </a:defRPr>
                      </a:lvl5pPr>
                      <a:lvl6pPr marL="2331856" algn="l" defTabSz="932742" rtl="0" eaLnBrk="1" latinLnBrk="0" hangingPunct="1">
                        <a:defRPr sz="1800" b="1" kern="1200">
                          <a:solidFill>
                            <a:schemeClr val="lt1"/>
                          </a:solidFill>
                          <a:latin typeface="Arial"/>
                        </a:defRPr>
                      </a:lvl6pPr>
                      <a:lvl7pPr marL="2798226" algn="l" defTabSz="932742" rtl="0" eaLnBrk="1" latinLnBrk="0" hangingPunct="1">
                        <a:defRPr sz="1800" b="1" kern="1200">
                          <a:solidFill>
                            <a:schemeClr val="lt1"/>
                          </a:solidFill>
                          <a:latin typeface="Arial"/>
                        </a:defRPr>
                      </a:lvl7pPr>
                      <a:lvl8pPr marL="3264597" algn="l" defTabSz="932742" rtl="0" eaLnBrk="1" latinLnBrk="0" hangingPunct="1">
                        <a:defRPr sz="1800" b="1" kern="1200">
                          <a:solidFill>
                            <a:schemeClr val="lt1"/>
                          </a:solidFill>
                          <a:latin typeface="Arial"/>
                        </a:defRPr>
                      </a:lvl8pPr>
                      <a:lvl9pPr marL="3730969" algn="l" defTabSz="932742" rtl="0" eaLnBrk="1" latinLnBrk="0" hangingPunct="1">
                        <a:defRPr sz="1800" b="1" kern="1200">
                          <a:solidFill>
                            <a:schemeClr val="lt1"/>
                          </a:solidFill>
                          <a:latin typeface="Arial"/>
                        </a:defRPr>
                      </a:lvl9pPr>
                    </a:lstStyle>
                    <a:p>
                      <a:r>
                        <a:rPr lang="en-US" sz="1600" b="1" dirty="0" smtClean="0">
                          <a:solidFill>
                            <a:srgbClr val="000000"/>
                          </a:solidFill>
                        </a:rPr>
                        <a:t>name</a:t>
                      </a:r>
                      <a:endParaRPr lang="en-US" sz="1600" b="1" dirty="0">
                        <a:solidFill>
                          <a:srgbClr val="000000"/>
                        </a:solidFill>
                      </a:endParaRPr>
                    </a:p>
                  </a:txBody>
                  <a:tcPr marL="91403" marR="91403" marT="45701" marB="45701">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00BCF2"/>
                    </a:solidFill>
                  </a:tcPr>
                </a:tc>
                <a:extLst>
                  <a:ext uri="{0D108BD9-81ED-4DB2-BD59-A6C34878D82A}">
                    <a16:rowId xmlns:a16="http://schemas.microsoft.com/office/drawing/2014/main" val="10000"/>
                  </a:ext>
                </a:extLst>
              </a:tr>
              <a:tr h="335146">
                <a:tc>
                  <a:txBody>
                    <a:bodyPr/>
                    <a:lstStyle>
                      <a:lvl1pPr marL="0" algn="l" defTabSz="932742" rtl="0" eaLnBrk="1" latinLnBrk="0" hangingPunct="1">
                        <a:defRPr sz="1800" kern="1200">
                          <a:solidFill>
                            <a:schemeClr val="dk1"/>
                          </a:solidFill>
                          <a:latin typeface="Arial"/>
                        </a:defRPr>
                      </a:lvl1pPr>
                      <a:lvl2pPr marL="466371" algn="l" defTabSz="932742" rtl="0" eaLnBrk="1" latinLnBrk="0" hangingPunct="1">
                        <a:defRPr sz="1800" kern="1200">
                          <a:solidFill>
                            <a:schemeClr val="dk1"/>
                          </a:solidFill>
                          <a:latin typeface="Arial"/>
                        </a:defRPr>
                      </a:lvl2pPr>
                      <a:lvl3pPr marL="932742" algn="l" defTabSz="932742" rtl="0" eaLnBrk="1" latinLnBrk="0" hangingPunct="1">
                        <a:defRPr sz="1800" kern="1200">
                          <a:solidFill>
                            <a:schemeClr val="dk1"/>
                          </a:solidFill>
                          <a:latin typeface="Arial"/>
                        </a:defRPr>
                      </a:lvl3pPr>
                      <a:lvl4pPr marL="1399113" algn="l" defTabSz="932742" rtl="0" eaLnBrk="1" latinLnBrk="0" hangingPunct="1">
                        <a:defRPr sz="1800" kern="1200">
                          <a:solidFill>
                            <a:schemeClr val="dk1"/>
                          </a:solidFill>
                          <a:latin typeface="Arial"/>
                        </a:defRPr>
                      </a:lvl4pPr>
                      <a:lvl5pPr marL="1865484" algn="l" defTabSz="932742" rtl="0" eaLnBrk="1" latinLnBrk="0" hangingPunct="1">
                        <a:defRPr sz="1800" kern="1200">
                          <a:solidFill>
                            <a:schemeClr val="dk1"/>
                          </a:solidFill>
                          <a:latin typeface="Arial"/>
                        </a:defRPr>
                      </a:lvl5pPr>
                      <a:lvl6pPr marL="2331856" algn="l" defTabSz="932742" rtl="0" eaLnBrk="1" latinLnBrk="0" hangingPunct="1">
                        <a:defRPr sz="1800" kern="1200">
                          <a:solidFill>
                            <a:schemeClr val="dk1"/>
                          </a:solidFill>
                          <a:latin typeface="Arial"/>
                        </a:defRPr>
                      </a:lvl6pPr>
                      <a:lvl7pPr marL="2798226" algn="l" defTabSz="932742" rtl="0" eaLnBrk="1" latinLnBrk="0" hangingPunct="1">
                        <a:defRPr sz="1800" kern="1200">
                          <a:solidFill>
                            <a:schemeClr val="dk1"/>
                          </a:solidFill>
                          <a:latin typeface="Arial"/>
                        </a:defRPr>
                      </a:lvl7pPr>
                      <a:lvl8pPr marL="3264597" algn="l" defTabSz="932742" rtl="0" eaLnBrk="1" latinLnBrk="0" hangingPunct="1">
                        <a:defRPr sz="1800" kern="1200">
                          <a:solidFill>
                            <a:schemeClr val="dk1"/>
                          </a:solidFill>
                          <a:latin typeface="Arial"/>
                        </a:defRPr>
                      </a:lvl8pPr>
                      <a:lvl9pPr marL="3730969" algn="l" defTabSz="932742" rtl="0" eaLnBrk="1" latinLnBrk="0" hangingPunct="1">
                        <a:defRPr sz="1800" kern="1200">
                          <a:solidFill>
                            <a:schemeClr val="dk1"/>
                          </a:solidFill>
                          <a:latin typeface="Arial"/>
                        </a:defRPr>
                      </a:lvl9pPr>
                    </a:lstStyle>
                    <a:p>
                      <a:r>
                        <a:rPr lang="en-US" sz="1600" b="1" dirty="0" smtClean="0">
                          <a:solidFill>
                            <a:srgbClr val="000000"/>
                          </a:solidFill>
                        </a:rPr>
                        <a:t>1</a:t>
                      </a:r>
                      <a:endParaRPr lang="en-US" sz="1600" b="1" dirty="0">
                        <a:solidFill>
                          <a:srgbClr val="000000"/>
                        </a:solidFill>
                      </a:endParaRPr>
                    </a:p>
                  </a:txBody>
                  <a:tcPr marL="91403" marR="91403" marT="45701" marB="45701">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BCF2">
                        <a:tint val="40000"/>
                      </a:srgbClr>
                    </a:solidFill>
                  </a:tcPr>
                </a:tc>
                <a:tc>
                  <a:txBody>
                    <a:bodyPr/>
                    <a:lstStyle>
                      <a:lvl1pPr marL="0" algn="l" defTabSz="932742" rtl="0" eaLnBrk="1" latinLnBrk="0" hangingPunct="1">
                        <a:defRPr sz="1800" kern="1200">
                          <a:solidFill>
                            <a:schemeClr val="dk1"/>
                          </a:solidFill>
                          <a:latin typeface="Arial"/>
                        </a:defRPr>
                      </a:lvl1pPr>
                      <a:lvl2pPr marL="466371" algn="l" defTabSz="932742" rtl="0" eaLnBrk="1" latinLnBrk="0" hangingPunct="1">
                        <a:defRPr sz="1800" kern="1200">
                          <a:solidFill>
                            <a:schemeClr val="dk1"/>
                          </a:solidFill>
                          <a:latin typeface="Arial"/>
                        </a:defRPr>
                      </a:lvl2pPr>
                      <a:lvl3pPr marL="932742" algn="l" defTabSz="932742" rtl="0" eaLnBrk="1" latinLnBrk="0" hangingPunct="1">
                        <a:defRPr sz="1800" kern="1200">
                          <a:solidFill>
                            <a:schemeClr val="dk1"/>
                          </a:solidFill>
                          <a:latin typeface="Arial"/>
                        </a:defRPr>
                      </a:lvl3pPr>
                      <a:lvl4pPr marL="1399113" algn="l" defTabSz="932742" rtl="0" eaLnBrk="1" latinLnBrk="0" hangingPunct="1">
                        <a:defRPr sz="1800" kern="1200">
                          <a:solidFill>
                            <a:schemeClr val="dk1"/>
                          </a:solidFill>
                          <a:latin typeface="Arial"/>
                        </a:defRPr>
                      </a:lvl4pPr>
                      <a:lvl5pPr marL="1865484" algn="l" defTabSz="932742" rtl="0" eaLnBrk="1" latinLnBrk="0" hangingPunct="1">
                        <a:defRPr sz="1800" kern="1200">
                          <a:solidFill>
                            <a:schemeClr val="dk1"/>
                          </a:solidFill>
                          <a:latin typeface="Arial"/>
                        </a:defRPr>
                      </a:lvl5pPr>
                      <a:lvl6pPr marL="2331856" algn="l" defTabSz="932742" rtl="0" eaLnBrk="1" latinLnBrk="0" hangingPunct="1">
                        <a:defRPr sz="1800" kern="1200">
                          <a:solidFill>
                            <a:schemeClr val="dk1"/>
                          </a:solidFill>
                          <a:latin typeface="Arial"/>
                        </a:defRPr>
                      </a:lvl6pPr>
                      <a:lvl7pPr marL="2798226" algn="l" defTabSz="932742" rtl="0" eaLnBrk="1" latinLnBrk="0" hangingPunct="1">
                        <a:defRPr sz="1800" kern="1200">
                          <a:solidFill>
                            <a:schemeClr val="dk1"/>
                          </a:solidFill>
                          <a:latin typeface="Arial"/>
                        </a:defRPr>
                      </a:lvl7pPr>
                      <a:lvl8pPr marL="3264597" algn="l" defTabSz="932742" rtl="0" eaLnBrk="1" latinLnBrk="0" hangingPunct="1">
                        <a:defRPr sz="1800" kern="1200">
                          <a:solidFill>
                            <a:schemeClr val="dk1"/>
                          </a:solidFill>
                          <a:latin typeface="Arial"/>
                        </a:defRPr>
                      </a:lvl8pPr>
                      <a:lvl9pPr marL="3730969" algn="l" defTabSz="932742" rtl="0" eaLnBrk="1" latinLnBrk="0" hangingPunct="1">
                        <a:defRPr sz="1800" kern="1200">
                          <a:solidFill>
                            <a:schemeClr val="dk1"/>
                          </a:solidFill>
                          <a:latin typeface="Arial"/>
                        </a:defRPr>
                      </a:lvl9pPr>
                    </a:lstStyle>
                    <a:p>
                      <a:r>
                        <a:rPr lang="en-US" sz="1600" b="1" dirty="0" err="1" smtClean="0">
                          <a:solidFill>
                            <a:srgbClr val="000000"/>
                          </a:solidFill>
                        </a:rPr>
                        <a:t>RangeShardMap</a:t>
                      </a:r>
                      <a:endParaRPr lang="en-US" sz="1600" b="1" dirty="0">
                        <a:solidFill>
                          <a:srgbClr val="000000"/>
                        </a:solidFill>
                      </a:endParaRPr>
                    </a:p>
                  </a:txBody>
                  <a:tcPr marL="91403" marR="91403" marT="45701" marB="45701">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BCF2">
                        <a:tint val="40000"/>
                      </a:srgbClr>
                    </a:solidFill>
                  </a:tcPr>
                </a:tc>
                <a:extLst>
                  <a:ext uri="{0D108BD9-81ED-4DB2-BD59-A6C34878D82A}">
                    <a16:rowId xmlns:a16="http://schemas.microsoft.com/office/drawing/2014/main" val="10001"/>
                  </a:ext>
                </a:extLst>
              </a:tr>
            </a:tbl>
          </a:graphicData>
        </a:graphic>
      </p:graphicFrame>
      <p:sp>
        <p:nvSpPr>
          <p:cNvPr id="39" name="TextBox 38"/>
          <p:cNvSpPr txBox="1"/>
          <p:nvPr/>
        </p:nvSpPr>
        <p:spPr>
          <a:xfrm>
            <a:off x="8184657" y="3712949"/>
            <a:ext cx="2634225" cy="331812"/>
          </a:xfrm>
          <a:prstGeom prst="rect">
            <a:avLst/>
          </a:prstGeom>
          <a:noFill/>
        </p:spPr>
        <p:txBody>
          <a:bodyPr wrap="square" rtlCol="0">
            <a:spAutoFit/>
          </a:bodyPr>
          <a:lstStyle/>
          <a:p>
            <a:pPr defTabSz="623863"/>
            <a:r>
              <a:rPr lang="fr-FR" sz="1200" b="1" dirty="0" smtClean="0">
                <a:solidFill>
                  <a:srgbClr val="FFFFFF"/>
                </a:solidFill>
                <a:latin typeface="Arial"/>
              </a:rPr>
              <a:t>[</a:t>
            </a:r>
            <a:r>
              <a:rPr lang="fr-FR" sz="1568" b="1" dirty="0" err="1" smtClean="0">
                <a:solidFill>
                  <a:srgbClr val="FFFFFF"/>
                </a:solidFill>
                <a:latin typeface="Arial"/>
              </a:rPr>
              <a:t>shard_mappings_global</a:t>
            </a:r>
            <a:r>
              <a:rPr lang="fr-FR" sz="1200" b="1" dirty="0" smtClean="0">
                <a:solidFill>
                  <a:srgbClr val="FFFFFF"/>
                </a:solidFill>
                <a:latin typeface="Arial"/>
              </a:rPr>
              <a:t>]</a:t>
            </a:r>
            <a:endParaRPr lang="fr-FR" sz="1200" b="1" dirty="0">
              <a:solidFill>
                <a:srgbClr val="FFFFFF"/>
              </a:solidFill>
              <a:latin typeface="Arial"/>
            </a:endParaRPr>
          </a:p>
        </p:txBody>
      </p:sp>
      <p:graphicFrame>
        <p:nvGraphicFramePr>
          <p:cNvPr id="40" name="Table 39"/>
          <p:cNvGraphicFramePr>
            <a:graphicFrameLocks noGrp="1"/>
          </p:cNvGraphicFramePr>
          <p:nvPr>
            <p:extLst/>
          </p:nvPr>
        </p:nvGraphicFramePr>
        <p:xfrm>
          <a:off x="8289085" y="4026564"/>
          <a:ext cx="3309760" cy="1005726"/>
        </p:xfrm>
        <a:graphic>
          <a:graphicData uri="http://schemas.openxmlformats.org/drawingml/2006/table">
            <a:tbl>
              <a:tblPr firstRow="1" bandRow="1"/>
              <a:tblGrid>
                <a:gridCol w="710266">
                  <a:extLst>
                    <a:ext uri="{9D8B030D-6E8A-4147-A177-3AD203B41FA5}">
                      <a16:colId xmlns:a16="http://schemas.microsoft.com/office/drawing/2014/main" val="20000"/>
                    </a:ext>
                  </a:extLst>
                </a:gridCol>
                <a:gridCol w="717413">
                  <a:extLst>
                    <a:ext uri="{9D8B030D-6E8A-4147-A177-3AD203B41FA5}">
                      <a16:colId xmlns:a16="http://schemas.microsoft.com/office/drawing/2014/main" val="20001"/>
                    </a:ext>
                  </a:extLst>
                </a:gridCol>
                <a:gridCol w="595117">
                  <a:extLst>
                    <a:ext uri="{9D8B030D-6E8A-4147-A177-3AD203B41FA5}">
                      <a16:colId xmlns:a16="http://schemas.microsoft.com/office/drawing/2014/main" val="20002"/>
                    </a:ext>
                  </a:extLst>
                </a:gridCol>
                <a:gridCol w="627736">
                  <a:extLst>
                    <a:ext uri="{9D8B030D-6E8A-4147-A177-3AD203B41FA5}">
                      <a16:colId xmlns:a16="http://schemas.microsoft.com/office/drawing/2014/main" val="20003"/>
                    </a:ext>
                  </a:extLst>
                </a:gridCol>
                <a:gridCol w="659228">
                  <a:extLst>
                    <a:ext uri="{9D8B030D-6E8A-4147-A177-3AD203B41FA5}">
                      <a16:colId xmlns:a16="http://schemas.microsoft.com/office/drawing/2014/main" val="20004"/>
                    </a:ext>
                  </a:extLst>
                </a:gridCol>
              </a:tblGrid>
              <a:tr h="330387">
                <a:tc>
                  <a:txBody>
                    <a:bodyPr/>
                    <a:lstStyle>
                      <a:lvl1pPr marL="0" algn="l" defTabSz="932742" rtl="0" eaLnBrk="1" latinLnBrk="0" hangingPunct="1">
                        <a:defRPr sz="1800" b="1" kern="1200">
                          <a:solidFill>
                            <a:schemeClr val="lt1"/>
                          </a:solidFill>
                          <a:latin typeface="Arial"/>
                        </a:defRPr>
                      </a:lvl1pPr>
                      <a:lvl2pPr marL="466371" algn="l" defTabSz="932742" rtl="0" eaLnBrk="1" latinLnBrk="0" hangingPunct="1">
                        <a:defRPr sz="1800" b="1" kern="1200">
                          <a:solidFill>
                            <a:schemeClr val="lt1"/>
                          </a:solidFill>
                          <a:latin typeface="Arial"/>
                        </a:defRPr>
                      </a:lvl2pPr>
                      <a:lvl3pPr marL="932742" algn="l" defTabSz="932742" rtl="0" eaLnBrk="1" latinLnBrk="0" hangingPunct="1">
                        <a:defRPr sz="1800" b="1" kern="1200">
                          <a:solidFill>
                            <a:schemeClr val="lt1"/>
                          </a:solidFill>
                          <a:latin typeface="Arial"/>
                        </a:defRPr>
                      </a:lvl3pPr>
                      <a:lvl4pPr marL="1399113" algn="l" defTabSz="932742" rtl="0" eaLnBrk="1" latinLnBrk="0" hangingPunct="1">
                        <a:defRPr sz="1800" b="1" kern="1200">
                          <a:solidFill>
                            <a:schemeClr val="lt1"/>
                          </a:solidFill>
                          <a:latin typeface="Arial"/>
                        </a:defRPr>
                      </a:lvl4pPr>
                      <a:lvl5pPr marL="1865484" algn="l" defTabSz="932742" rtl="0" eaLnBrk="1" latinLnBrk="0" hangingPunct="1">
                        <a:defRPr sz="1800" b="1" kern="1200">
                          <a:solidFill>
                            <a:schemeClr val="lt1"/>
                          </a:solidFill>
                          <a:latin typeface="Arial"/>
                        </a:defRPr>
                      </a:lvl5pPr>
                      <a:lvl6pPr marL="2331856" algn="l" defTabSz="932742" rtl="0" eaLnBrk="1" latinLnBrk="0" hangingPunct="1">
                        <a:defRPr sz="1800" b="1" kern="1200">
                          <a:solidFill>
                            <a:schemeClr val="lt1"/>
                          </a:solidFill>
                          <a:latin typeface="Arial"/>
                        </a:defRPr>
                      </a:lvl6pPr>
                      <a:lvl7pPr marL="2798226" algn="l" defTabSz="932742" rtl="0" eaLnBrk="1" latinLnBrk="0" hangingPunct="1">
                        <a:defRPr sz="1800" b="1" kern="1200">
                          <a:solidFill>
                            <a:schemeClr val="lt1"/>
                          </a:solidFill>
                          <a:latin typeface="Arial"/>
                        </a:defRPr>
                      </a:lvl7pPr>
                      <a:lvl8pPr marL="3264597" algn="l" defTabSz="932742" rtl="0" eaLnBrk="1" latinLnBrk="0" hangingPunct="1">
                        <a:defRPr sz="1800" b="1" kern="1200">
                          <a:solidFill>
                            <a:schemeClr val="lt1"/>
                          </a:solidFill>
                          <a:latin typeface="Arial"/>
                        </a:defRPr>
                      </a:lvl8pPr>
                      <a:lvl9pPr marL="3730969" algn="l" defTabSz="932742" rtl="0" eaLnBrk="1" latinLnBrk="0" hangingPunct="1">
                        <a:defRPr sz="1800" b="1" kern="1200">
                          <a:solidFill>
                            <a:schemeClr val="lt1"/>
                          </a:solidFill>
                          <a:latin typeface="Arial"/>
                        </a:defRPr>
                      </a:lvl9pPr>
                    </a:lstStyle>
                    <a:p>
                      <a:r>
                        <a:rPr lang="en-US" sz="1600" dirty="0" smtClean="0">
                          <a:solidFill>
                            <a:srgbClr val="000000"/>
                          </a:solidFill>
                        </a:rPr>
                        <a:t>mid</a:t>
                      </a:r>
                      <a:endParaRPr lang="en-US" sz="1600" dirty="0">
                        <a:solidFill>
                          <a:srgbClr val="000000"/>
                        </a:solidFill>
                      </a:endParaRPr>
                    </a:p>
                  </a:txBody>
                  <a:tcPr marL="91403" marR="91403" marT="45701" marB="45701">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00BCF2"/>
                    </a:solidFill>
                  </a:tcPr>
                </a:tc>
                <a:tc>
                  <a:txBody>
                    <a:bodyPr/>
                    <a:lstStyle>
                      <a:lvl1pPr marL="0" algn="l" defTabSz="932742" rtl="0" eaLnBrk="1" latinLnBrk="0" hangingPunct="1">
                        <a:defRPr sz="1800" b="1" kern="1200">
                          <a:solidFill>
                            <a:schemeClr val="lt1"/>
                          </a:solidFill>
                          <a:latin typeface="Arial"/>
                        </a:defRPr>
                      </a:lvl1pPr>
                      <a:lvl2pPr marL="466371" algn="l" defTabSz="932742" rtl="0" eaLnBrk="1" latinLnBrk="0" hangingPunct="1">
                        <a:defRPr sz="1800" b="1" kern="1200">
                          <a:solidFill>
                            <a:schemeClr val="lt1"/>
                          </a:solidFill>
                          <a:latin typeface="Arial"/>
                        </a:defRPr>
                      </a:lvl2pPr>
                      <a:lvl3pPr marL="932742" algn="l" defTabSz="932742" rtl="0" eaLnBrk="1" latinLnBrk="0" hangingPunct="1">
                        <a:defRPr sz="1800" b="1" kern="1200">
                          <a:solidFill>
                            <a:schemeClr val="lt1"/>
                          </a:solidFill>
                          <a:latin typeface="Arial"/>
                        </a:defRPr>
                      </a:lvl3pPr>
                      <a:lvl4pPr marL="1399113" algn="l" defTabSz="932742" rtl="0" eaLnBrk="1" latinLnBrk="0" hangingPunct="1">
                        <a:defRPr sz="1800" b="1" kern="1200">
                          <a:solidFill>
                            <a:schemeClr val="lt1"/>
                          </a:solidFill>
                          <a:latin typeface="Arial"/>
                        </a:defRPr>
                      </a:lvl4pPr>
                      <a:lvl5pPr marL="1865484" algn="l" defTabSz="932742" rtl="0" eaLnBrk="1" latinLnBrk="0" hangingPunct="1">
                        <a:defRPr sz="1800" b="1" kern="1200">
                          <a:solidFill>
                            <a:schemeClr val="lt1"/>
                          </a:solidFill>
                          <a:latin typeface="Arial"/>
                        </a:defRPr>
                      </a:lvl5pPr>
                      <a:lvl6pPr marL="2331856" algn="l" defTabSz="932742" rtl="0" eaLnBrk="1" latinLnBrk="0" hangingPunct="1">
                        <a:defRPr sz="1800" b="1" kern="1200">
                          <a:solidFill>
                            <a:schemeClr val="lt1"/>
                          </a:solidFill>
                          <a:latin typeface="Arial"/>
                        </a:defRPr>
                      </a:lvl6pPr>
                      <a:lvl7pPr marL="2798226" algn="l" defTabSz="932742" rtl="0" eaLnBrk="1" latinLnBrk="0" hangingPunct="1">
                        <a:defRPr sz="1800" b="1" kern="1200">
                          <a:solidFill>
                            <a:schemeClr val="lt1"/>
                          </a:solidFill>
                          <a:latin typeface="Arial"/>
                        </a:defRPr>
                      </a:lvl7pPr>
                      <a:lvl8pPr marL="3264597" algn="l" defTabSz="932742" rtl="0" eaLnBrk="1" latinLnBrk="0" hangingPunct="1">
                        <a:defRPr sz="1800" b="1" kern="1200">
                          <a:solidFill>
                            <a:schemeClr val="lt1"/>
                          </a:solidFill>
                          <a:latin typeface="Arial"/>
                        </a:defRPr>
                      </a:lvl8pPr>
                      <a:lvl9pPr marL="3730969" algn="l" defTabSz="932742" rtl="0" eaLnBrk="1" latinLnBrk="0" hangingPunct="1">
                        <a:defRPr sz="1800" b="1" kern="1200">
                          <a:solidFill>
                            <a:schemeClr val="lt1"/>
                          </a:solidFill>
                          <a:latin typeface="Arial"/>
                        </a:defRPr>
                      </a:lvl9pPr>
                    </a:lstStyle>
                    <a:p>
                      <a:r>
                        <a:rPr lang="en-US" sz="1600" dirty="0" err="1" smtClean="0">
                          <a:solidFill>
                            <a:srgbClr val="000000"/>
                          </a:solidFill>
                        </a:rPr>
                        <a:t>smid</a:t>
                      </a:r>
                      <a:r>
                        <a:rPr lang="en-US" sz="1600" dirty="0" smtClean="0">
                          <a:solidFill>
                            <a:srgbClr val="000000"/>
                          </a:solidFill>
                        </a:rPr>
                        <a:t> </a:t>
                      </a:r>
                      <a:endParaRPr lang="en-US" sz="1600" dirty="0">
                        <a:solidFill>
                          <a:srgbClr val="000000"/>
                        </a:solidFill>
                      </a:endParaRPr>
                    </a:p>
                  </a:txBody>
                  <a:tcPr marL="91403" marR="91403" marT="45701" marB="45701">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00BCF2"/>
                    </a:solidFill>
                  </a:tcPr>
                </a:tc>
                <a:tc>
                  <a:txBody>
                    <a:bodyPr/>
                    <a:lstStyle>
                      <a:lvl1pPr marL="0" algn="l" defTabSz="932742" rtl="0" eaLnBrk="1" latinLnBrk="0" hangingPunct="1">
                        <a:defRPr sz="1800" b="1" kern="1200">
                          <a:solidFill>
                            <a:schemeClr val="lt1"/>
                          </a:solidFill>
                          <a:latin typeface="Arial"/>
                        </a:defRPr>
                      </a:lvl1pPr>
                      <a:lvl2pPr marL="466371" algn="l" defTabSz="932742" rtl="0" eaLnBrk="1" latinLnBrk="0" hangingPunct="1">
                        <a:defRPr sz="1800" b="1" kern="1200">
                          <a:solidFill>
                            <a:schemeClr val="lt1"/>
                          </a:solidFill>
                          <a:latin typeface="Arial"/>
                        </a:defRPr>
                      </a:lvl2pPr>
                      <a:lvl3pPr marL="932742" algn="l" defTabSz="932742" rtl="0" eaLnBrk="1" latinLnBrk="0" hangingPunct="1">
                        <a:defRPr sz="1800" b="1" kern="1200">
                          <a:solidFill>
                            <a:schemeClr val="lt1"/>
                          </a:solidFill>
                          <a:latin typeface="Arial"/>
                        </a:defRPr>
                      </a:lvl3pPr>
                      <a:lvl4pPr marL="1399113" algn="l" defTabSz="932742" rtl="0" eaLnBrk="1" latinLnBrk="0" hangingPunct="1">
                        <a:defRPr sz="1800" b="1" kern="1200">
                          <a:solidFill>
                            <a:schemeClr val="lt1"/>
                          </a:solidFill>
                          <a:latin typeface="Arial"/>
                        </a:defRPr>
                      </a:lvl4pPr>
                      <a:lvl5pPr marL="1865484" algn="l" defTabSz="932742" rtl="0" eaLnBrk="1" latinLnBrk="0" hangingPunct="1">
                        <a:defRPr sz="1800" b="1" kern="1200">
                          <a:solidFill>
                            <a:schemeClr val="lt1"/>
                          </a:solidFill>
                          <a:latin typeface="Arial"/>
                        </a:defRPr>
                      </a:lvl5pPr>
                      <a:lvl6pPr marL="2331856" algn="l" defTabSz="932742" rtl="0" eaLnBrk="1" latinLnBrk="0" hangingPunct="1">
                        <a:defRPr sz="1800" b="1" kern="1200">
                          <a:solidFill>
                            <a:schemeClr val="lt1"/>
                          </a:solidFill>
                          <a:latin typeface="Arial"/>
                        </a:defRPr>
                      </a:lvl6pPr>
                      <a:lvl7pPr marL="2798226" algn="l" defTabSz="932742" rtl="0" eaLnBrk="1" latinLnBrk="0" hangingPunct="1">
                        <a:defRPr sz="1800" b="1" kern="1200">
                          <a:solidFill>
                            <a:schemeClr val="lt1"/>
                          </a:solidFill>
                          <a:latin typeface="Arial"/>
                        </a:defRPr>
                      </a:lvl7pPr>
                      <a:lvl8pPr marL="3264597" algn="l" defTabSz="932742" rtl="0" eaLnBrk="1" latinLnBrk="0" hangingPunct="1">
                        <a:defRPr sz="1800" b="1" kern="1200">
                          <a:solidFill>
                            <a:schemeClr val="lt1"/>
                          </a:solidFill>
                          <a:latin typeface="Arial"/>
                        </a:defRPr>
                      </a:lvl8pPr>
                      <a:lvl9pPr marL="3730969" algn="l" defTabSz="932742" rtl="0" eaLnBrk="1" latinLnBrk="0" hangingPunct="1">
                        <a:defRPr sz="1800" b="1" kern="1200">
                          <a:solidFill>
                            <a:schemeClr val="lt1"/>
                          </a:solidFill>
                          <a:latin typeface="Arial"/>
                        </a:defRPr>
                      </a:lvl9pPr>
                    </a:lstStyle>
                    <a:p>
                      <a:r>
                        <a:rPr lang="en-US" sz="1600" dirty="0" smtClean="0">
                          <a:solidFill>
                            <a:srgbClr val="000000"/>
                          </a:solidFill>
                        </a:rPr>
                        <a:t>min</a:t>
                      </a:r>
                      <a:endParaRPr lang="en-US" sz="1600" dirty="0">
                        <a:solidFill>
                          <a:srgbClr val="000000"/>
                        </a:solidFill>
                      </a:endParaRPr>
                    </a:p>
                  </a:txBody>
                  <a:tcPr marL="91403" marR="91403" marT="45701" marB="45701">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00BCF2"/>
                    </a:solidFill>
                  </a:tcPr>
                </a:tc>
                <a:tc>
                  <a:txBody>
                    <a:bodyPr/>
                    <a:lstStyle>
                      <a:lvl1pPr marL="0" algn="l" defTabSz="932742" rtl="0" eaLnBrk="1" latinLnBrk="0" hangingPunct="1">
                        <a:defRPr sz="1800" b="1" kern="1200">
                          <a:solidFill>
                            <a:schemeClr val="lt1"/>
                          </a:solidFill>
                          <a:latin typeface="Arial"/>
                        </a:defRPr>
                      </a:lvl1pPr>
                      <a:lvl2pPr marL="466371" algn="l" defTabSz="932742" rtl="0" eaLnBrk="1" latinLnBrk="0" hangingPunct="1">
                        <a:defRPr sz="1800" b="1" kern="1200">
                          <a:solidFill>
                            <a:schemeClr val="lt1"/>
                          </a:solidFill>
                          <a:latin typeface="Arial"/>
                        </a:defRPr>
                      </a:lvl2pPr>
                      <a:lvl3pPr marL="932742" algn="l" defTabSz="932742" rtl="0" eaLnBrk="1" latinLnBrk="0" hangingPunct="1">
                        <a:defRPr sz="1800" b="1" kern="1200">
                          <a:solidFill>
                            <a:schemeClr val="lt1"/>
                          </a:solidFill>
                          <a:latin typeface="Arial"/>
                        </a:defRPr>
                      </a:lvl3pPr>
                      <a:lvl4pPr marL="1399113" algn="l" defTabSz="932742" rtl="0" eaLnBrk="1" latinLnBrk="0" hangingPunct="1">
                        <a:defRPr sz="1800" b="1" kern="1200">
                          <a:solidFill>
                            <a:schemeClr val="lt1"/>
                          </a:solidFill>
                          <a:latin typeface="Arial"/>
                        </a:defRPr>
                      </a:lvl4pPr>
                      <a:lvl5pPr marL="1865484" algn="l" defTabSz="932742" rtl="0" eaLnBrk="1" latinLnBrk="0" hangingPunct="1">
                        <a:defRPr sz="1800" b="1" kern="1200">
                          <a:solidFill>
                            <a:schemeClr val="lt1"/>
                          </a:solidFill>
                          <a:latin typeface="Arial"/>
                        </a:defRPr>
                      </a:lvl5pPr>
                      <a:lvl6pPr marL="2331856" algn="l" defTabSz="932742" rtl="0" eaLnBrk="1" latinLnBrk="0" hangingPunct="1">
                        <a:defRPr sz="1800" b="1" kern="1200">
                          <a:solidFill>
                            <a:schemeClr val="lt1"/>
                          </a:solidFill>
                          <a:latin typeface="Arial"/>
                        </a:defRPr>
                      </a:lvl6pPr>
                      <a:lvl7pPr marL="2798226" algn="l" defTabSz="932742" rtl="0" eaLnBrk="1" latinLnBrk="0" hangingPunct="1">
                        <a:defRPr sz="1800" b="1" kern="1200">
                          <a:solidFill>
                            <a:schemeClr val="lt1"/>
                          </a:solidFill>
                          <a:latin typeface="Arial"/>
                        </a:defRPr>
                      </a:lvl7pPr>
                      <a:lvl8pPr marL="3264597" algn="l" defTabSz="932742" rtl="0" eaLnBrk="1" latinLnBrk="0" hangingPunct="1">
                        <a:defRPr sz="1800" b="1" kern="1200">
                          <a:solidFill>
                            <a:schemeClr val="lt1"/>
                          </a:solidFill>
                          <a:latin typeface="Arial"/>
                        </a:defRPr>
                      </a:lvl8pPr>
                      <a:lvl9pPr marL="3730969" algn="l" defTabSz="932742" rtl="0" eaLnBrk="1" latinLnBrk="0" hangingPunct="1">
                        <a:defRPr sz="1800" b="1" kern="1200">
                          <a:solidFill>
                            <a:schemeClr val="lt1"/>
                          </a:solidFill>
                          <a:latin typeface="Arial"/>
                        </a:defRPr>
                      </a:lvl9pPr>
                    </a:lstStyle>
                    <a:p>
                      <a:r>
                        <a:rPr lang="en-US" sz="1600" dirty="0" smtClean="0">
                          <a:solidFill>
                            <a:srgbClr val="000000"/>
                          </a:solidFill>
                        </a:rPr>
                        <a:t>max</a:t>
                      </a:r>
                      <a:endParaRPr lang="en-US" sz="1600" dirty="0">
                        <a:solidFill>
                          <a:srgbClr val="000000"/>
                        </a:solidFill>
                      </a:endParaRPr>
                    </a:p>
                  </a:txBody>
                  <a:tcPr marL="91403" marR="91403" marT="45701" marB="45701">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00BCF2"/>
                    </a:solidFill>
                  </a:tcPr>
                </a:tc>
                <a:tc>
                  <a:txBody>
                    <a:bodyPr/>
                    <a:lstStyle>
                      <a:lvl1pPr marL="0" algn="l" defTabSz="932742" rtl="0" eaLnBrk="1" latinLnBrk="0" hangingPunct="1">
                        <a:defRPr sz="1800" b="1" kern="1200">
                          <a:solidFill>
                            <a:schemeClr val="lt1"/>
                          </a:solidFill>
                          <a:latin typeface="Arial"/>
                        </a:defRPr>
                      </a:lvl1pPr>
                      <a:lvl2pPr marL="466371" algn="l" defTabSz="932742" rtl="0" eaLnBrk="1" latinLnBrk="0" hangingPunct="1">
                        <a:defRPr sz="1800" b="1" kern="1200">
                          <a:solidFill>
                            <a:schemeClr val="lt1"/>
                          </a:solidFill>
                          <a:latin typeface="Arial"/>
                        </a:defRPr>
                      </a:lvl2pPr>
                      <a:lvl3pPr marL="932742" algn="l" defTabSz="932742" rtl="0" eaLnBrk="1" latinLnBrk="0" hangingPunct="1">
                        <a:defRPr sz="1800" b="1" kern="1200">
                          <a:solidFill>
                            <a:schemeClr val="lt1"/>
                          </a:solidFill>
                          <a:latin typeface="Arial"/>
                        </a:defRPr>
                      </a:lvl3pPr>
                      <a:lvl4pPr marL="1399113" algn="l" defTabSz="932742" rtl="0" eaLnBrk="1" latinLnBrk="0" hangingPunct="1">
                        <a:defRPr sz="1800" b="1" kern="1200">
                          <a:solidFill>
                            <a:schemeClr val="lt1"/>
                          </a:solidFill>
                          <a:latin typeface="Arial"/>
                        </a:defRPr>
                      </a:lvl4pPr>
                      <a:lvl5pPr marL="1865484" algn="l" defTabSz="932742" rtl="0" eaLnBrk="1" latinLnBrk="0" hangingPunct="1">
                        <a:defRPr sz="1800" b="1" kern="1200">
                          <a:solidFill>
                            <a:schemeClr val="lt1"/>
                          </a:solidFill>
                          <a:latin typeface="Arial"/>
                        </a:defRPr>
                      </a:lvl5pPr>
                      <a:lvl6pPr marL="2331856" algn="l" defTabSz="932742" rtl="0" eaLnBrk="1" latinLnBrk="0" hangingPunct="1">
                        <a:defRPr sz="1800" b="1" kern="1200">
                          <a:solidFill>
                            <a:schemeClr val="lt1"/>
                          </a:solidFill>
                          <a:latin typeface="Arial"/>
                        </a:defRPr>
                      </a:lvl6pPr>
                      <a:lvl7pPr marL="2798226" algn="l" defTabSz="932742" rtl="0" eaLnBrk="1" latinLnBrk="0" hangingPunct="1">
                        <a:defRPr sz="1800" b="1" kern="1200">
                          <a:solidFill>
                            <a:schemeClr val="lt1"/>
                          </a:solidFill>
                          <a:latin typeface="Arial"/>
                        </a:defRPr>
                      </a:lvl7pPr>
                      <a:lvl8pPr marL="3264597" algn="l" defTabSz="932742" rtl="0" eaLnBrk="1" latinLnBrk="0" hangingPunct="1">
                        <a:defRPr sz="1800" b="1" kern="1200">
                          <a:solidFill>
                            <a:schemeClr val="lt1"/>
                          </a:solidFill>
                          <a:latin typeface="Arial"/>
                        </a:defRPr>
                      </a:lvl8pPr>
                      <a:lvl9pPr marL="3730969" algn="l" defTabSz="932742" rtl="0" eaLnBrk="1" latinLnBrk="0" hangingPunct="1">
                        <a:defRPr sz="1800" b="1" kern="1200">
                          <a:solidFill>
                            <a:schemeClr val="lt1"/>
                          </a:solidFill>
                          <a:latin typeface="Arial"/>
                        </a:defRPr>
                      </a:lvl9pPr>
                    </a:lstStyle>
                    <a:p>
                      <a:r>
                        <a:rPr lang="en-US" sz="1600" dirty="0" smtClean="0">
                          <a:solidFill>
                            <a:srgbClr val="000000"/>
                          </a:solidFill>
                        </a:rPr>
                        <a:t>Sid</a:t>
                      </a:r>
                      <a:endParaRPr lang="en-US" sz="1600" dirty="0">
                        <a:solidFill>
                          <a:srgbClr val="000000"/>
                        </a:solidFill>
                      </a:endParaRPr>
                    </a:p>
                  </a:txBody>
                  <a:tcPr marL="91403" marR="91403" marT="45701" marB="45701">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00BCF2"/>
                    </a:solidFill>
                  </a:tcPr>
                </a:tc>
                <a:extLst>
                  <a:ext uri="{0D108BD9-81ED-4DB2-BD59-A6C34878D82A}">
                    <a16:rowId xmlns:a16="http://schemas.microsoft.com/office/drawing/2014/main" val="10000"/>
                  </a:ext>
                </a:extLst>
              </a:tr>
              <a:tr h="330387">
                <a:tc>
                  <a:txBody>
                    <a:bodyPr/>
                    <a:lstStyle>
                      <a:lvl1pPr marL="0" algn="l" defTabSz="932742" rtl="0" eaLnBrk="1" latinLnBrk="0" hangingPunct="1">
                        <a:defRPr sz="1800" kern="1200">
                          <a:solidFill>
                            <a:schemeClr val="dk1"/>
                          </a:solidFill>
                          <a:latin typeface="Arial"/>
                        </a:defRPr>
                      </a:lvl1pPr>
                      <a:lvl2pPr marL="466371" algn="l" defTabSz="932742" rtl="0" eaLnBrk="1" latinLnBrk="0" hangingPunct="1">
                        <a:defRPr sz="1800" kern="1200">
                          <a:solidFill>
                            <a:schemeClr val="dk1"/>
                          </a:solidFill>
                          <a:latin typeface="Arial"/>
                        </a:defRPr>
                      </a:lvl2pPr>
                      <a:lvl3pPr marL="932742" algn="l" defTabSz="932742" rtl="0" eaLnBrk="1" latinLnBrk="0" hangingPunct="1">
                        <a:defRPr sz="1800" kern="1200">
                          <a:solidFill>
                            <a:schemeClr val="dk1"/>
                          </a:solidFill>
                          <a:latin typeface="Arial"/>
                        </a:defRPr>
                      </a:lvl3pPr>
                      <a:lvl4pPr marL="1399113" algn="l" defTabSz="932742" rtl="0" eaLnBrk="1" latinLnBrk="0" hangingPunct="1">
                        <a:defRPr sz="1800" kern="1200">
                          <a:solidFill>
                            <a:schemeClr val="dk1"/>
                          </a:solidFill>
                          <a:latin typeface="Arial"/>
                        </a:defRPr>
                      </a:lvl4pPr>
                      <a:lvl5pPr marL="1865484" algn="l" defTabSz="932742" rtl="0" eaLnBrk="1" latinLnBrk="0" hangingPunct="1">
                        <a:defRPr sz="1800" kern="1200">
                          <a:solidFill>
                            <a:schemeClr val="dk1"/>
                          </a:solidFill>
                          <a:latin typeface="Arial"/>
                        </a:defRPr>
                      </a:lvl5pPr>
                      <a:lvl6pPr marL="2331856" algn="l" defTabSz="932742" rtl="0" eaLnBrk="1" latinLnBrk="0" hangingPunct="1">
                        <a:defRPr sz="1800" kern="1200">
                          <a:solidFill>
                            <a:schemeClr val="dk1"/>
                          </a:solidFill>
                          <a:latin typeface="Arial"/>
                        </a:defRPr>
                      </a:lvl6pPr>
                      <a:lvl7pPr marL="2798226" algn="l" defTabSz="932742" rtl="0" eaLnBrk="1" latinLnBrk="0" hangingPunct="1">
                        <a:defRPr sz="1800" kern="1200">
                          <a:solidFill>
                            <a:schemeClr val="dk1"/>
                          </a:solidFill>
                          <a:latin typeface="Arial"/>
                        </a:defRPr>
                      </a:lvl7pPr>
                      <a:lvl8pPr marL="3264597" algn="l" defTabSz="932742" rtl="0" eaLnBrk="1" latinLnBrk="0" hangingPunct="1">
                        <a:defRPr sz="1800" kern="1200">
                          <a:solidFill>
                            <a:schemeClr val="dk1"/>
                          </a:solidFill>
                          <a:latin typeface="Arial"/>
                        </a:defRPr>
                      </a:lvl8pPr>
                      <a:lvl9pPr marL="3730969" algn="l" defTabSz="932742" rtl="0" eaLnBrk="1" latinLnBrk="0" hangingPunct="1">
                        <a:defRPr sz="1800" kern="1200">
                          <a:solidFill>
                            <a:schemeClr val="dk1"/>
                          </a:solidFill>
                          <a:latin typeface="Arial"/>
                        </a:defRPr>
                      </a:lvl9pPr>
                    </a:lstStyle>
                    <a:p>
                      <a:r>
                        <a:rPr lang="en-US" sz="1600" b="1" dirty="0" smtClean="0">
                          <a:solidFill>
                            <a:srgbClr val="000000"/>
                          </a:solidFill>
                        </a:rPr>
                        <a:t>1</a:t>
                      </a:r>
                      <a:endParaRPr lang="en-US" sz="1600" b="1" dirty="0">
                        <a:solidFill>
                          <a:srgbClr val="000000"/>
                        </a:solidFill>
                      </a:endParaRPr>
                    </a:p>
                  </a:txBody>
                  <a:tcPr marL="91403" marR="91403" marT="45701" marB="45701">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BCF2">
                        <a:tint val="40000"/>
                      </a:srgbClr>
                    </a:solidFill>
                  </a:tcPr>
                </a:tc>
                <a:tc>
                  <a:txBody>
                    <a:bodyPr/>
                    <a:lstStyle>
                      <a:lvl1pPr marL="0" algn="l" defTabSz="932742" rtl="0" eaLnBrk="1" latinLnBrk="0" hangingPunct="1">
                        <a:defRPr sz="1800" kern="1200">
                          <a:solidFill>
                            <a:schemeClr val="dk1"/>
                          </a:solidFill>
                          <a:latin typeface="Arial"/>
                        </a:defRPr>
                      </a:lvl1pPr>
                      <a:lvl2pPr marL="466371" algn="l" defTabSz="932742" rtl="0" eaLnBrk="1" latinLnBrk="0" hangingPunct="1">
                        <a:defRPr sz="1800" kern="1200">
                          <a:solidFill>
                            <a:schemeClr val="dk1"/>
                          </a:solidFill>
                          <a:latin typeface="Arial"/>
                        </a:defRPr>
                      </a:lvl2pPr>
                      <a:lvl3pPr marL="932742" algn="l" defTabSz="932742" rtl="0" eaLnBrk="1" latinLnBrk="0" hangingPunct="1">
                        <a:defRPr sz="1800" kern="1200">
                          <a:solidFill>
                            <a:schemeClr val="dk1"/>
                          </a:solidFill>
                          <a:latin typeface="Arial"/>
                        </a:defRPr>
                      </a:lvl3pPr>
                      <a:lvl4pPr marL="1399113" algn="l" defTabSz="932742" rtl="0" eaLnBrk="1" latinLnBrk="0" hangingPunct="1">
                        <a:defRPr sz="1800" kern="1200">
                          <a:solidFill>
                            <a:schemeClr val="dk1"/>
                          </a:solidFill>
                          <a:latin typeface="Arial"/>
                        </a:defRPr>
                      </a:lvl4pPr>
                      <a:lvl5pPr marL="1865484" algn="l" defTabSz="932742" rtl="0" eaLnBrk="1" latinLnBrk="0" hangingPunct="1">
                        <a:defRPr sz="1800" kern="1200">
                          <a:solidFill>
                            <a:schemeClr val="dk1"/>
                          </a:solidFill>
                          <a:latin typeface="Arial"/>
                        </a:defRPr>
                      </a:lvl5pPr>
                      <a:lvl6pPr marL="2331856" algn="l" defTabSz="932742" rtl="0" eaLnBrk="1" latinLnBrk="0" hangingPunct="1">
                        <a:defRPr sz="1800" kern="1200">
                          <a:solidFill>
                            <a:schemeClr val="dk1"/>
                          </a:solidFill>
                          <a:latin typeface="Arial"/>
                        </a:defRPr>
                      </a:lvl6pPr>
                      <a:lvl7pPr marL="2798226" algn="l" defTabSz="932742" rtl="0" eaLnBrk="1" latinLnBrk="0" hangingPunct="1">
                        <a:defRPr sz="1800" kern="1200">
                          <a:solidFill>
                            <a:schemeClr val="dk1"/>
                          </a:solidFill>
                          <a:latin typeface="Arial"/>
                        </a:defRPr>
                      </a:lvl7pPr>
                      <a:lvl8pPr marL="3264597" algn="l" defTabSz="932742" rtl="0" eaLnBrk="1" latinLnBrk="0" hangingPunct="1">
                        <a:defRPr sz="1800" kern="1200">
                          <a:solidFill>
                            <a:schemeClr val="dk1"/>
                          </a:solidFill>
                          <a:latin typeface="Arial"/>
                        </a:defRPr>
                      </a:lvl8pPr>
                      <a:lvl9pPr marL="3730969" algn="l" defTabSz="932742" rtl="0" eaLnBrk="1" latinLnBrk="0" hangingPunct="1">
                        <a:defRPr sz="1800" kern="1200">
                          <a:solidFill>
                            <a:schemeClr val="dk1"/>
                          </a:solidFill>
                          <a:latin typeface="Arial"/>
                        </a:defRPr>
                      </a:lvl9pPr>
                    </a:lstStyle>
                    <a:p>
                      <a:r>
                        <a:rPr lang="en-US" sz="1600" b="1" dirty="0" smtClean="0">
                          <a:solidFill>
                            <a:srgbClr val="000000"/>
                          </a:solidFill>
                        </a:rPr>
                        <a:t>1</a:t>
                      </a:r>
                      <a:endParaRPr lang="en-US" sz="1600" b="1" dirty="0">
                        <a:solidFill>
                          <a:srgbClr val="000000"/>
                        </a:solidFill>
                      </a:endParaRPr>
                    </a:p>
                  </a:txBody>
                  <a:tcPr marL="91403" marR="91403" marT="45701" marB="45701">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BCF2">
                        <a:tint val="40000"/>
                      </a:srgbClr>
                    </a:solidFill>
                  </a:tcPr>
                </a:tc>
                <a:tc>
                  <a:txBody>
                    <a:bodyPr/>
                    <a:lstStyle>
                      <a:lvl1pPr marL="0" algn="l" defTabSz="932742" rtl="0" eaLnBrk="1" latinLnBrk="0" hangingPunct="1">
                        <a:defRPr sz="1800" kern="1200">
                          <a:solidFill>
                            <a:schemeClr val="dk1"/>
                          </a:solidFill>
                          <a:latin typeface="Arial"/>
                        </a:defRPr>
                      </a:lvl1pPr>
                      <a:lvl2pPr marL="466371" algn="l" defTabSz="932742" rtl="0" eaLnBrk="1" latinLnBrk="0" hangingPunct="1">
                        <a:defRPr sz="1800" kern="1200">
                          <a:solidFill>
                            <a:schemeClr val="dk1"/>
                          </a:solidFill>
                          <a:latin typeface="Arial"/>
                        </a:defRPr>
                      </a:lvl2pPr>
                      <a:lvl3pPr marL="932742" algn="l" defTabSz="932742" rtl="0" eaLnBrk="1" latinLnBrk="0" hangingPunct="1">
                        <a:defRPr sz="1800" kern="1200">
                          <a:solidFill>
                            <a:schemeClr val="dk1"/>
                          </a:solidFill>
                          <a:latin typeface="Arial"/>
                        </a:defRPr>
                      </a:lvl3pPr>
                      <a:lvl4pPr marL="1399113" algn="l" defTabSz="932742" rtl="0" eaLnBrk="1" latinLnBrk="0" hangingPunct="1">
                        <a:defRPr sz="1800" kern="1200">
                          <a:solidFill>
                            <a:schemeClr val="dk1"/>
                          </a:solidFill>
                          <a:latin typeface="Arial"/>
                        </a:defRPr>
                      </a:lvl4pPr>
                      <a:lvl5pPr marL="1865484" algn="l" defTabSz="932742" rtl="0" eaLnBrk="1" latinLnBrk="0" hangingPunct="1">
                        <a:defRPr sz="1800" kern="1200">
                          <a:solidFill>
                            <a:schemeClr val="dk1"/>
                          </a:solidFill>
                          <a:latin typeface="Arial"/>
                        </a:defRPr>
                      </a:lvl5pPr>
                      <a:lvl6pPr marL="2331856" algn="l" defTabSz="932742" rtl="0" eaLnBrk="1" latinLnBrk="0" hangingPunct="1">
                        <a:defRPr sz="1800" kern="1200">
                          <a:solidFill>
                            <a:schemeClr val="dk1"/>
                          </a:solidFill>
                          <a:latin typeface="Arial"/>
                        </a:defRPr>
                      </a:lvl6pPr>
                      <a:lvl7pPr marL="2798226" algn="l" defTabSz="932742" rtl="0" eaLnBrk="1" latinLnBrk="0" hangingPunct="1">
                        <a:defRPr sz="1800" kern="1200">
                          <a:solidFill>
                            <a:schemeClr val="dk1"/>
                          </a:solidFill>
                          <a:latin typeface="Arial"/>
                        </a:defRPr>
                      </a:lvl7pPr>
                      <a:lvl8pPr marL="3264597" algn="l" defTabSz="932742" rtl="0" eaLnBrk="1" latinLnBrk="0" hangingPunct="1">
                        <a:defRPr sz="1800" kern="1200">
                          <a:solidFill>
                            <a:schemeClr val="dk1"/>
                          </a:solidFill>
                          <a:latin typeface="Arial"/>
                        </a:defRPr>
                      </a:lvl8pPr>
                      <a:lvl9pPr marL="3730969" algn="l" defTabSz="932742" rtl="0" eaLnBrk="1" latinLnBrk="0" hangingPunct="1">
                        <a:defRPr sz="1800" kern="1200">
                          <a:solidFill>
                            <a:schemeClr val="dk1"/>
                          </a:solidFill>
                          <a:latin typeface="Arial"/>
                        </a:defRPr>
                      </a:lvl9pPr>
                    </a:lstStyle>
                    <a:p>
                      <a:r>
                        <a:rPr lang="en-US" sz="1600" b="1" dirty="0" smtClean="0">
                          <a:solidFill>
                            <a:srgbClr val="000000"/>
                          </a:solidFill>
                        </a:rPr>
                        <a:t>0</a:t>
                      </a:r>
                      <a:endParaRPr lang="en-US" sz="1600" b="1" dirty="0">
                        <a:solidFill>
                          <a:srgbClr val="000000"/>
                        </a:solidFill>
                      </a:endParaRPr>
                    </a:p>
                  </a:txBody>
                  <a:tcPr marL="91403" marR="91403" marT="45701" marB="45701">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BCF2">
                        <a:tint val="40000"/>
                      </a:srgbClr>
                    </a:solidFill>
                  </a:tcPr>
                </a:tc>
                <a:tc>
                  <a:txBody>
                    <a:bodyPr/>
                    <a:lstStyle>
                      <a:lvl1pPr marL="0" algn="l" defTabSz="932742" rtl="0" eaLnBrk="1" latinLnBrk="0" hangingPunct="1">
                        <a:defRPr sz="1800" kern="1200">
                          <a:solidFill>
                            <a:schemeClr val="dk1"/>
                          </a:solidFill>
                          <a:latin typeface="Arial"/>
                        </a:defRPr>
                      </a:lvl1pPr>
                      <a:lvl2pPr marL="466371" algn="l" defTabSz="932742" rtl="0" eaLnBrk="1" latinLnBrk="0" hangingPunct="1">
                        <a:defRPr sz="1800" kern="1200">
                          <a:solidFill>
                            <a:schemeClr val="dk1"/>
                          </a:solidFill>
                          <a:latin typeface="Arial"/>
                        </a:defRPr>
                      </a:lvl2pPr>
                      <a:lvl3pPr marL="932742" algn="l" defTabSz="932742" rtl="0" eaLnBrk="1" latinLnBrk="0" hangingPunct="1">
                        <a:defRPr sz="1800" kern="1200">
                          <a:solidFill>
                            <a:schemeClr val="dk1"/>
                          </a:solidFill>
                          <a:latin typeface="Arial"/>
                        </a:defRPr>
                      </a:lvl3pPr>
                      <a:lvl4pPr marL="1399113" algn="l" defTabSz="932742" rtl="0" eaLnBrk="1" latinLnBrk="0" hangingPunct="1">
                        <a:defRPr sz="1800" kern="1200">
                          <a:solidFill>
                            <a:schemeClr val="dk1"/>
                          </a:solidFill>
                          <a:latin typeface="Arial"/>
                        </a:defRPr>
                      </a:lvl4pPr>
                      <a:lvl5pPr marL="1865484" algn="l" defTabSz="932742" rtl="0" eaLnBrk="1" latinLnBrk="0" hangingPunct="1">
                        <a:defRPr sz="1800" kern="1200">
                          <a:solidFill>
                            <a:schemeClr val="dk1"/>
                          </a:solidFill>
                          <a:latin typeface="Arial"/>
                        </a:defRPr>
                      </a:lvl5pPr>
                      <a:lvl6pPr marL="2331856" algn="l" defTabSz="932742" rtl="0" eaLnBrk="1" latinLnBrk="0" hangingPunct="1">
                        <a:defRPr sz="1800" kern="1200">
                          <a:solidFill>
                            <a:schemeClr val="dk1"/>
                          </a:solidFill>
                          <a:latin typeface="Arial"/>
                        </a:defRPr>
                      </a:lvl6pPr>
                      <a:lvl7pPr marL="2798226" algn="l" defTabSz="932742" rtl="0" eaLnBrk="1" latinLnBrk="0" hangingPunct="1">
                        <a:defRPr sz="1800" kern="1200">
                          <a:solidFill>
                            <a:schemeClr val="dk1"/>
                          </a:solidFill>
                          <a:latin typeface="Arial"/>
                        </a:defRPr>
                      </a:lvl7pPr>
                      <a:lvl8pPr marL="3264597" algn="l" defTabSz="932742" rtl="0" eaLnBrk="1" latinLnBrk="0" hangingPunct="1">
                        <a:defRPr sz="1800" kern="1200">
                          <a:solidFill>
                            <a:schemeClr val="dk1"/>
                          </a:solidFill>
                          <a:latin typeface="Arial"/>
                        </a:defRPr>
                      </a:lvl8pPr>
                      <a:lvl9pPr marL="3730969" algn="l" defTabSz="932742" rtl="0" eaLnBrk="1" latinLnBrk="0" hangingPunct="1">
                        <a:defRPr sz="1800" kern="1200">
                          <a:solidFill>
                            <a:schemeClr val="dk1"/>
                          </a:solidFill>
                          <a:latin typeface="Arial"/>
                        </a:defRPr>
                      </a:lvl9pPr>
                    </a:lstStyle>
                    <a:p>
                      <a:r>
                        <a:rPr lang="en-US" sz="1600" b="1" dirty="0" smtClean="0">
                          <a:solidFill>
                            <a:srgbClr val="000000"/>
                          </a:solidFill>
                        </a:rPr>
                        <a:t>100</a:t>
                      </a:r>
                      <a:endParaRPr lang="en-US" sz="1600" b="1" dirty="0">
                        <a:solidFill>
                          <a:srgbClr val="000000"/>
                        </a:solidFill>
                      </a:endParaRPr>
                    </a:p>
                  </a:txBody>
                  <a:tcPr marL="91403" marR="91403" marT="45701" marB="45701">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BCF2">
                        <a:tint val="40000"/>
                      </a:srgbClr>
                    </a:solidFill>
                  </a:tcPr>
                </a:tc>
                <a:tc>
                  <a:txBody>
                    <a:bodyPr/>
                    <a:lstStyle>
                      <a:lvl1pPr marL="0" algn="l" defTabSz="932742" rtl="0" eaLnBrk="1" latinLnBrk="0" hangingPunct="1">
                        <a:defRPr sz="1800" kern="1200">
                          <a:solidFill>
                            <a:schemeClr val="dk1"/>
                          </a:solidFill>
                          <a:latin typeface="Arial"/>
                        </a:defRPr>
                      </a:lvl1pPr>
                      <a:lvl2pPr marL="466371" algn="l" defTabSz="932742" rtl="0" eaLnBrk="1" latinLnBrk="0" hangingPunct="1">
                        <a:defRPr sz="1800" kern="1200">
                          <a:solidFill>
                            <a:schemeClr val="dk1"/>
                          </a:solidFill>
                          <a:latin typeface="Arial"/>
                        </a:defRPr>
                      </a:lvl2pPr>
                      <a:lvl3pPr marL="932742" algn="l" defTabSz="932742" rtl="0" eaLnBrk="1" latinLnBrk="0" hangingPunct="1">
                        <a:defRPr sz="1800" kern="1200">
                          <a:solidFill>
                            <a:schemeClr val="dk1"/>
                          </a:solidFill>
                          <a:latin typeface="Arial"/>
                        </a:defRPr>
                      </a:lvl3pPr>
                      <a:lvl4pPr marL="1399113" algn="l" defTabSz="932742" rtl="0" eaLnBrk="1" latinLnBrk="0" hangingPunct="1">
                        <a:defRPr sz="1800" kern="1200">
                          <a:solidFill>
                            <a:schemeClr val="dk1"/>
                          </a:solidFill>
                          <a:latin typeface="Arial"/>
                        </a:defRPr>
                      </a:lvl4pPr>
                      <a:lvl5pPr marL="1865484" algn="l" defTabSz="932742" rtl="0" eaLnBrk="1" latinLnBrk="0" hangingPunct="1">
                        <a:defRPr sz="1800" kern="1200">
                          <a:solidFill>
                            <a:schemeClr val="dk1"/>
                          </a:solidFill>
                          <a:latin typeface="Arial"/>
                        </a:defRPr>
                      </a:lvl5pPr>
                      <a:lvl6pPr marL="2331856" algn="l" defTabSz="932742" rtl="0" eaLnBrk="1" latinLnBrk="0" hangingPunct="1">
                        <a:defRPr sz="1800" kern="1200">
                          <a:solidFill>
                            <a:schemeClr val="dk1"/>
                          </a:solidFill>
                          <a:latin typeface="Arial"/>
                        </a:defRPr>
                      </a:lvl6pPr>
                      <a:lvl7pPr marL="2798226" algn="l" defTabSz="932742" rtl="0" eaLnBrk="1" latinLnBrk="0" hangingPunct="1">
                        <a:defRPr sz="1800" kern="1200">
                          <a:solidFill>
                            <a:schemeClr val="dk1"/>
                          </a:solidFill>
                          <a:latin typeface="Arial"/>
                        </a:defRPr>
                      </a:lvl7pPr>
                      <a:lvl8pPr marL="3264597" algn="l" defTabSz="932742" rtl="0" eaLnBrk="1" latinLnBrk="0" hangingPunct="1">
                        <a:defRPr sz="1800" kern="1200">
                          <a:solidFill>
                            <a:schemeClr val="dk1"/>
                          </a:solidFill>
                          <a:latin typeface="Arial"/>
                        </a:defRPr>
                      </a:lvl8pPr>
                      <a:lvl9pPr marL="3730969" algn="l" defTabSz="932742" rtl="0" eaLnBrk="1" latinLnBrk="0" hangingPunct="1">
                        <a:defRPr sz="1800" kern="1200">
                          <a:solidFill>
                            <a:schemeClr val="dk1"/>
                          </a:solidFill>
                          <a:latin typeface="Arial"/>
                        </a:defRPr>
                      </a:lvl9pPr>
                    </a:lstStyle>
                    <a:p>
                      <a:r>
                        <a:rPr lang="en-US" sz="1600" b="1" dirty="0" smtClean="0">
                          <a:solidFill>
                            <a:srgbClr val="000000"/>
                          </a:solidFill>
                        </a:rPr>
                        <a:t>1</a:t>
                      </a:r>
                      <a:endParaRPr lang="en-US" sz="1600" b="1" dirty="0">
                        <a:solidFill>
                          <a:srgbClr val="000000"/>
                        </a:solidFill>
                      </a:endParaRPr>
                    </a:p>
                  </a:txBody>
                  <a:tcPr marL="91403" marR="91403" marT="45701" marB="45701">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BCF2">
                        <a:tint val="40000"/>
                      </a:srgbClr>
                    </a:solidFill>
                  </a:tcPr>
                </a:tc>
                <a:extLst>
                  <a:ext uri="{0D108BD9-81ED-4DB2-BD59-A6C34878D82A}">
                    <a16:rowId xmlns:a16="http://schemas.microsoft.com/office/drawing/2014/main" val="10001"/>
                  </a:ext>
                </a:extLst>
              </a:tr>
              <a:tr h="330387">
                <a:tc>
                  <a:txBody>
                    <a:bodyPr/>
                    <a:lstStyle>
                      <a:lvl1pPr marL="0" algn="l" defTabSz="932742" rtl="0" eaLnBrk="1" latinLnBrk="0" hangingPunct="1">
                        <a:defRPr sz="1800" kern="1200">
                          <a:solidFill>
                            <a:schemeClr val="dk1"/>
                          </a:solidFill>
                          <a:latin typeface="Arial"/>
                        </a:defRPr>
                      </a:lvl1pPr>
                      <a:lvl2pPr marL="466371" algn="l" defTabSz="932742" rtl="0" eaLnBrk="1" latinLnBrk="0" hangingPunct="1">
                        <a:defRPr sz="1800" kern="1200">
                          <a:solidFill>
                            <a:schemeClr val="dk1"/>
                          </a:solidFill>
                          <a:latin typeface="Arial"/>
                        </a:defRPr>
                      </a:lvl2pPr>
                      <a:lvl3pPr marL="932742" algn="l" defTabSz="932742" rtl="0" eaLnBrk="1" latinLnBrk="0" hangingPunct="1">
                        <a:defRPr sz="1800" kern="1200">
                          <a:solidFill>
                            <a:schemeClr val="dk1"/>
                          </a:solidFill>
                          <a:latin typeface="Arial"/>
                        </a:defRPr>
                      </a:lvl3pPr>
                      <a:lvl4pPr marL="1399113" algn="l" defTabSz="932742" rtl="0" eaLnBrk="1" latinLnBrk="0" hangingPunct="1">
                        <a:defRPr sz="1800" kern="1200">
                          <a:solidFill>
                            <a:schemeClr val="dk1"/>
                          </a:solidFill>
                          <a:latin typeface="Arial"/>
                        </a:defRPr>
                      </a:lvl4pPr>
                      <a:lvl5pPr marL="1865484" algn="l" defTabSz="932742" rtl="0" eaLnBrk="1" latinLnBrk="0" hangingPunct="1">
                        <a:defRPr sz="1800" kern="1200">
                          <a:solidFill>
                            <a:schemeClr val="dk1"/>
                          </a:solidFill>
                          <a:latin typeface="Arial"/>
                        </a:defRPr>
                      </a:lvl5pPr>
                      <a:lvl6pPr marL="2331856" algn="l" defTabSz="932742" rtl="0" eaLnBrk="1" latinLnBrk="0" hangingPunct="1">
                        <a:defRPr sz="1800" kern="1200">
                          <a:solidFill>
                            <a:schemeClr val="dk1"/>
                          </a:solidFill>
                          <a:latin typeface="Arial"/>
                        </a:defRPr>
                      </a:lvl6pPr>
                      <a:lvl7pPr marL="2798226" algn="l" defTabSz="932742" rtl="0" eaLnBrk="1" latinLnBrk="0" hangingPunct="1">
                        <a:defRPr sz="1800" kern="1200">
                          <a:solidFill>
                            <a:schemeClr val="dk1"/>
                          </a:solidFill>
                          <a:latin typeface="Arial"/>
                        </a:defRPr>
                      </a:lvl7pPr>
                      <a:lvl8pPr marL="3264597" algn="l" defTabSz="932742" rtl="0" eaLnBrk="1" latinLnBrk="0" hangingPunct="1">
                        <a:defRPr sz="1800" kern="1200">
                          <a:solidFill>
                            <a:schemeClr val="dk1"/>
                          </a:solidFill>
                          <a:latin typeface="Arial"/>
                        </a:defRPr>
                      </a:lvl8pPr>
                      <a:lvl9pPr marL="3730969" algn="l" defTabSz="932742" rtl="0" eaLnBrk="1" latinLnBrk="0" hangingPunct="1">
                        <a:defRPr sz="1800" kern="1200">
                          <a:solidFill>
                            <a:schemeClr val="dk1"/>
                          </a:solidFill>
                          <a:latin typeface="Arial"/>
                        </a:defRPr>
                      </a:lvl9pPr>
                    </a:lstStyle>
                    <a:p>
                      <a:r>
                        <a:rPr lang="en-US" sz="1600" b="1" dirty="0" smtClean="0">
                          <a:solidFill>
                            <a:srgbClr val="000000"/>
                          </a:solidFill>
                        </a:rPr>
                        <a:t>2</a:t>
                      </a:r>
                      <a:endParaRPr lang="en-US" sz="1600" b="1" dirty="0">
                        <a:solidFill>
                          <a:srgbClr val="000000"/>
                        </a:solidFill>
                      </a:endParaRPr>
                    </a:p>
                  </a:txBody>
                  <a:tcPr marL="91403" marR="91403" marT="45701" marB="4570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BCF2">
                        <a:tint val="20000"/>
                      </a:srgbClr>
                    </a:solidFill>
                  </a:tcPr>
                </a:tc>
                <a:tc>
                  <a:txBody>
                    <a:bodyPr/>
                    <a:lstStyle>
                      <a:lvl1pPr marL="0" algn="l" defTabSz="932742" rtl="0" eaLnBrk="1" latinLnBrk="0" hangingPunct="1">
                        <a:defRPr sz="1800" kern="1200">
                          <a:solidFill>
                            <a:schemeClr val="dk1"/>
                          </a:solidFill>
                          <a:latin typeface="Arial"/>
                        </a:defRPr>
                      </a:lvl1pPr>
                      <a:lvl2pPr marL="466371" algn="l" defTabSz="932742" rtl="0" eaLnBrk="1" latinLnBrk="0" hangingPunct="1">
                        <a:defRPr sz="1800" kern="1200">
                          <a:solidFill>
                            <a:schemeClr val="dk1"/>
                          </a:solidFill>
                          <a:latin typeface="Arial"/>
                        </a:defRPr>
                      </a:lvl2pPr>
                      <a:lvl3pPr marL="932742" algn="l" defTabSz="932742" rtl="0" eaLnBrk="1" latinLnBrk="0" hangingPunct="1">
                        <a:defRPr sz="1800" kern="1200">
                          <a:solidFill>
                            <a:schemeClr val="dk1"/>
                          </a:solidFill>
                          <a:latin typeface="Arial"/>
                        </a:defRPr>
                      </a:lvl3pPr>
                      <a:lvl4pPr marL="1399113" algn="l" defTabSz="932742" rtl="0" eaLnBrk="1" latinLnBrk="0" hangingPunct="1">
                        <a:defRPr sz="1800" kern="1200">
                          <a:solidFill>
                            <a:schemeClr val="dk1"/>
                          </a:solidFill>
                          <a:latin typeface="Arial"/>
                        </a:defRPr>
                      </a:lvl4pPr>
                      <a:lvl5pPr marL="1865484" algn="l" defTabSz="932742" rtl="0" eaLnBrk="1" latinLnBrk="0" hangingPunct="1">
                        <a:defRPr sz="1800" kern="1200">
                          <a:solidFill>
                            <a:schemeClr val="dk1"/>
                          </a:solidFill>
                          <a:latin typeface="Arial"/>
                        </a:defRPr>
                      </a:lvl5pPr>
                      <a:lvl6pPr marL="2331856" algn="l" defTabSz="932742" rtl="0" eaLnBrk="1" latinLnBrk="0" hangingPunct="1">
                        <a:defRPr sz="1800" kern="1200">
                          <a:solidFill>
                            <a:schemeClr val="dk1"/>
                          </a:solidFill>
                          <a:latin typeface="Arial"/>
                        </a:defRPr>
                      </a:lvl6pPr>
                      <a:lvl7pPr marL="2798226" algn="l" defTabSz="932742" rtl="0" eaLnBrk="1" latinLnBrk="0" hangingPunct="1">
                        <a:defRPr sz="1800" kern="1200">
                          <a:solidFill>
                            <a:schemeClr val="dk1"/>
                          </a:solidFill>
                          <a:latin typeface="Arial"/>
                        </a:defRPr>
                      </a:lvl7pPr>
                      <a:lvl8pPr marL="3264597" algn="l" defTabSz="932742" rtl="0" eaLnBrk="1" latinLnBrk="0" hangingPunct="1">
                        <a:defRPr sz="1800" kern="1200">
                          <a:solidFill>
                            <a:schemeClr val="dk1"/>
                          </a:solidFill>
                          <a:latin typeface="Arial"/>
                        </a:defRPr>
                      </a:lvl8pPr>
                      <a:lvl9pPr marL="3730969" algn="l" defTabSz="932742" rtl="0" eaLnBrk="1" latinLnBrk="0" hangingPunct="1">
                        <a:defRPr sz="1800" kern="1200">
                          <a:solidFill>
                            <a:schemeClr val="dk1"/>
                          </a:solidFill>
                          <a:latin typeface="Arial"/>
                        </a:defRPr>
                      </a:lvl9pPr>
                    </a:lstStyle>
                    <a:p>
                      <a:r>
                        <a:rPr lang="en-US" sz="1600" b="1" dirty="0" smtClean="0">
                          <a:solidFill>
                            <a:srgbClr val="000000"/>
                          </a:solidFill>
                        </a:rPr>
                        <a:t>1</a:t>
                      </a:r>
                      <a:endParaRPr lang="en-US" sz="1600" b="1" dirty="0">
                        <a:solidFill>
                          <a:srgbClr val="000000"/>
                        </a:solidFill>
                      </a:endParaRPr>
                    </a:p>
                  </a:txBody>
                  <a:tcPr marL="91403" marR="91403" marT="45701" marB="4570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BCF2">
                        <a:tint val="20000"/>
                      </a:srgbClr>
                    </a:solidFill>
                  </a:tcPr>
                </a:tc>
                <a:tc>
                  <a:txBody>
                    <a:bodyPr/>
                    <a:lstStyle>
                      <a:lvl1pPr marL="0" algn="l" defTabSz="932742" rtl="0" eaLnBrk="1" latinLnBrk="0" hangingPunct="1">
                        <a:defRPr sz="1800" kern="1200">
                          <a:solidFill>
                            <a:schemeClr val="dk1"/>
                          </a:solidFill>
                          <a:latin typeface="Arial"/>
                        </a:defRPr>
                      </a:lvl1pPr>
                      <a:lvl2pPr marL="466371" algn="l" defTabSz="932742" rtl="0" eaLnBrk="1" latinLnBrk="0" hangingPunct="1">
                        <a:defRPr sz="1800" kern="1200">
                          <a:solidFill>
                            <a:schemeClr val="dk1"/>
                          </a:solidFill>
                          <a:latin typeface="Arial"/>
                        </a:defRPr>
                      </a:lvl2pPr>
                      <a:lvl3pPr marL="932742" algn="l" defTabSz="932742" rtl="0" eaLnBrk="1" latinLnBrk="0" hangingPunct="1">
                        <a:defRPr sz="1800" kern="1200">
                          <a:solidFill>
                            <a:schemeClr val="dk1"/>
                          </a:solidFill>
                          <a:latin typeface="Arial"/>
                        </a:defRPr>
                      </a:lvl3pPr>
                      <a:lvl4pPr marL="1399113" algn="l" defTabSz="932742" rtl="0" eaLnBrk="1" latinLnBrk="0" hangingPunct="1">
                        <a:defRPr sz="1800" kern="1200">
                          <a:solidFill>
                            <a:schemeClr val="dk1"/>
                          </a:solidFill>
                          <a:latin typeface="Arial"/>
                        </a:defRPr>
                      </a:lvl4pPr>
                      <a:lvl5pPr marL="1865484" algn="l" defTabSz="932742" rtl="0" eaLnBrk="1" latinLnBrk="0" hangingPunct="1">
                        <a:defRPr sz="1800" kern="1200">
                          <a:solidFill>
                            <a:schemeClr val="dk1"/>
                          </a:solidFill>
                          <a:latin typeface="Arial"/>
                        </a:defRPr>
                      </a:lvl5pPr>
                      <a:lvl6pPr marL="2331856" algn="l" defTabSz="932742" rtl="0" eaLnBrk="1" latinLnBrk="0" hangingPunct="1">
                        <a:defRPr sz="1800" kern="1200">
                          <a:solidFill>
                            <a:schemeClr val="dk1"/>
                          </a:solidFill>
                          <a:latin typeface="Arial"/>
                        </a:defRPr>
                      </a:lvl6pPr>
                      <a:lvl7pPr marL="2798226" algn="l" defTabSz="932742" rtl="0" eaLnBrk="1" latinLnBrk="0" hangingPunct="1">
                        <a:defRPr sz="1800" kern="1200">
                          <a:solidFill>
                            <a:schemeClr val="dk1"/>
                          </a:solidFill>
                          <a:latin typeface="Arial"/>
                        </a:defRPr>
                      </a:lvl7pPr>
                      <a:lvl8pPr marL="3264597" algn="l" defTabSz="932742" rtl="0" eaLnBrk="1" latinLnBrk="0" hangingPunct="1">
                        <a:defRPr sz="1800" kern="1200">
                          <a:solidFill>
                            <a:schemeClr val="dk1"/>
                          </a:solidFill>
                          <a:latin typeface="Arial"/>
                        </a:defRPr>
                      </a:lvl8pPr>
                      <a:lvl9pPr marL="3730969" algn="l" defTabSz="932742" rtl="0" eaLnBrk="1" latinLnBrk="0" hangingPunct="1">
                        <a:defRPr sz="1800" kern="1200">
                          <a:solidFill>
                            <a:schemeClr val="dk1"/>
                          </a:solidFill>
                          <a:latin typeface="Arial"/>
                        </a:defRPr>
                      </a:lvl9pPr>
                    </a:lstStyle>
                    <a:p>
                      <a:r>
                        <a:rPr lang="en-US" sz="1600" b="1" dirty="0" smtClean="0">
                          <a:solidFill>
                            <a:srgbClr val="000000"/>
                          </a:solidFill>
                        </a:rPr>
                        <a:t>100</a:t>
                      </a:r>
                      <a:endParaRPr lang="en-US" sz="1600" b="1" dirty="0">
                        <a:solidFill>
                          <a:srgbClr val="000000"/>
                        </a:solidFill>
                      </a:endParaRPr>
                    </a:p>
                  </a:txBody>
                  <a:tcPr marL="91403" marR="91403" marT="45701" marB="4570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BCF2">
                        <a:tint val="20000"/>
                      </a:srgbClr>
                    </a:solidFill>
                  </a:tcPr>
                </a:tc>
                <a:tc>
                  <a:txBody>
                    <a:bodyPr/>
                    <a:lstStyle>
                      <a:lvl1pPr marL="0" algn="l" defTabSz="932742" rtl="0" eaLnBrk="1" latinLnBrk="0" hangingPunct="1">
                        <a:defRPr sz="1800" kern="1200">
                          <a:solidFill>
                            <a:schemeClr val="dk1"/>
                          </a:solidFill>
                          <a:latin typeface="Arial"/>
                        </a:defRPr>
                      </a:lvl1pPr>
                      <a:lvl2pPr marL="466371" algn="l" defTabSz="932742" rtl="0" eaLnBrk="1" latinLnBrk="0" hangingPunct="1">
                        <a:defRPr sz="1800" kern="1200">
                          <a:solidFill>
                            <a:schemeClr val="dk1"/>
                          </a:solidFill>
                          <a:latin typeface="Arial"/>
                        </a:defRPr>
                      </a:lvl2pPr>
                      <a:lvl3pPr marL="932742" algn="l" defTabSz="932742" rtl="0" eaLnBrk="1" latinLnBrk="0" hangingPunct="1">
                        <a:defRPr sz="1800" kern="1200">
                          <a:solidFill>
                            <a:schemeClr val="dk1"/>
                          </a:solidFill>
                          <a:latin typeface="Arial"/>
                        </a:defRPr>
                      </a:lvl3pPr>
                      <a:lvl4pPr marL="1399113" algn="l" defTabSz="932742" rtl="0" eaLnBrk="1" latinLnBrk="0" hangingPunct="1">
                        <a:defRPr sz="1800" kern="1200">
                          <a:solidFill>
                            <a:schemeClr val="dk1"/>
                          </a:solidFill>
                          <a:latin typeface="Arial"/>
                        </a:defRPr>
                      </a:lvl4pPr>
                      <a:lvl5pPr marL="1865484" algn="l" defTabSz="932742" rtl="0" eaLnBrk="1" latinLnBrk="0" hangingPunct="1">
                        <a:defRPr sz="1800" kern="1200">
                          <a:solidFill>
                            <a:schemeClr val="dk1"/>
                          </a:solidFill>
                          <a:latin typeface="Arial"/>
                        </a:defRPr>
                      </a:lvl5pPr>
                      <a:lvl6pPr marL="2331856" algn="l" defTabSz="932742" rtl="0" eaLnBrk="1" latinLnBrk="0" hangingPunct="1">
                        <a:defRPr sz="1800" kern="1200">
                          <a:solidFill>
                            <a:schemeClr val="dk1"/>
                          </a:solidFill>
                          <a:latin typeface="Arial"/>
                        </a:defRPr>
                      </a:lvl6pPr>
                      <a:lvl7pPr marL="2798226" algn="l" defTabSz="932742" rtl="0" eaLnBrk="1" latinLnBrk="0" hangingPunct="1">
                        <a:defRPr sz="1800" kern="1200">
                          <a:solidFill>
                            <a:schemeClr val="dk1"/>
                          </a:solidFill>
                          <a:latin typeface="Arial"/>
                        </a:defRPr>
                      </a:lvl7pPr>
                      <a:lvl8pPr marL="3264597" algn="l" defTabSz="932742" rtl="0" eaLnBrk="1" latinLnBrk="0" hangingPunct="1">
                        <a:defRPr sz="1800" kern="1200">
                          <a:solidFill>
                            <a:schemeClr val="dk1"/>
                          </a:solidFill>
                          <a:latin typeface="Arial"/>
                        </a:defRPr>
                      </a:lvl8pPr>
                      <a:lvl9pPr marL="3730969" algn="l" defTabSz="932742" rtl="0" eaLnBrk="1" latinLnBrk="0" hangingPunct="1">
                        <a:defRPr sz="1800" kern="1200">
                          <a:solidFill>
                            <a:schemeClr val="dk1"/>
                          </a:solidFill>
                          <a:latin typeface="Arial"/>
                        </a:defRPr>
                      </a:lvl9pPr>
                    </a:lstStyle>
                    <a:p>
                      <a:r>
                        <a:rPr lang="en-US" sz="1600" b="1" dirty="0" smtClean="0">
                          <a:solidFill>
                            <a:srgbClr val="000000"/>
                          </a:solidFill>
                        </a:rPr>
                        <a:t>200</a:t>
                      </a:r>
                      <a:endParaRPr lang="en-US" sz="1600" b="1" dirty="0">
                        <a:solidFill>
                          <a:srgbClr val="000000"/>
                        </a:solidFill>
                      </a:endParaRPr>
                    </a:p>
                  </a:txBody>
                  <a:tcPr marL="91403" marR="91403" marT="45701" marB="4570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BCF2">
                        <a:tint val="20000"/>
                      </a:srgbClr>
                    </a:solidFill>
                  </a:tcPr>
                </a:tc>
                <a:tc>
                  <a:txBody>
                    <a:bodyPr/>
                    <a:lstStyle>
                      <a:lvl1pPr marL="0" algn="l" defTabSz="932742" rtl="0" eaLnBrk="1" latinLnBrk="0" hangingPunct="1">
                        <a:defRPr sz="1800" kern="1200">
                          <a:solidFill>
                            <a:schemeClr val="dk1"/>
                          </a:solidFill>
                          <a:latin typeface="Arial"/>
                        </a:defRPr>
                      </a:lvl1pPr>
                      <a:lvl2pPr marL="466371" algn="l" defTabSz="932742" rtl="0" eaLnBrk="1" latinLnBrk="0" hangingPunct="1">
                        <a:defRPr sz="1800" kern="1200">
                          <a:solidFill>
                            <a:schemeClr val="dk1"/>
                          </a:solidFill>
                          <a:latin typeface="Arial"/>
                        </a:defRPr>
                      </a:lvl2pPr>
                      <a:lvl3pPr marL="932742" algn="l" defTabSz="932742" rtl="0" eaLnBrk="1" latinLnBrk="0" hangingPunct="1">
                        <a:defRPr sz="1800" kern="1200">
                          <a:solidFill>
                            <a:schemeClr val="dk1"/>
                          </a:solidFill>
                          <a:latin typeface="Arial"/>
                        </a:defRPr>
                      </a:lvl3pPr>
                      <a:lvl4pPr marL="1399113" algn="l" defTabSz="932742" rtl="0" eaLnBrk="1" latinLnBrk="0" hangingPunct="1">
                        <a:defRPr sz="1800" kern="1200">
                          <a:solidFill>
                            <a:schemeClr val="dk1"/>
                          </a:solidFill>
                          <a:latin typeface="Arial"/>
                        </a:defRPr>
                      </a:lvl4pPr>
                      <a:lvl5pPr marL="1865484" algn="l" defTabSz="932742" rtl="0" eaLnBrk="1" latinLnBrk="0" hangingPunct="1">
                        <a:defRPr sz="1800" kern="1200">
                          <a:solidFill>
                            <a:schemeClr val="dk1"/>
                          </a:solidFill>
                          <a:latin typeface="Arial"/>
                        </a:defRPr>
                      </a:lvl5pPr>
                      <a:lvl6pPr marL="2331856" algn="l" defTabSz="932742" rtl="0" eaLnBrk="1" latinLnBrk="0" hangingPunct="1">
                        <a:defRPr sz="1800" kern="1200">
                          <a:solidFill>
                            <a:schemeClr val="dk1"/>
                          </a:solidFill>
                          <a:latin typeface="Arial"/>
                        </a:defRPr>
                      </a:lvl6pPr>
                      <a:lvl7pPr marL="2798226" algn="l" defTabSz="932742" rtl="0" eaLnBrk="1" latinLnBrk="0" hangingPunct="1">
                        <a:defRPr sz="1800" kern="1200">
                          <a:solidFill>
                            <a:schemeClr val="dk1"/>
                          </a:solidFill>
                          <a:latin typeface="Arial"/>
                        </a:defRPr>
                      </a:lvl7pPr>
                      <a:lvl8pPr marL="3264597" algn="l" defTabSz="932742" rtl="0" eaLnBrk="1" latinLnBrk="0" hangingPunct="1">
                        <a:defRPr sz="1800" kern="1200">
                          <a:solidFill>
                            <a:schemeClr val="dk1"/>
                          </a:solidFill>
                          <a:latin typeface="Arial"/>
                        </a:defRPr>
                      </a:lvl8pPr>
                      <a:lvl9pPr marL="3730969" algn="l" defTabSz="932742" rtl="0" eaLnBrk="1" latinLnBrk="0" hangingPunct="1">
                        <a:defRPr sz="1800" kern="1200">
                          <a:solidFill>
                            <a:schemeClr val="dk1"/>
                          </a:solidFill>
                          <a:latin typeface="Arial"/>
                        </a:defRPr>
                      </a:lvl9pPr>
                    </a:lstStyle>
                    <a:p>
                      <a:r>
                        <a:rPr lang="en-US" sz="1600" b="1" dirty="0" smtClean="0">
                          <a:solidFill>
                            <a:srgbClr val="000000"/>
                          </a:solidFill>
                        </a:rPr>
                        <a:t>2</a:t>
                      </a:r>
                      <a:endParaRPr lang="en-US" sz="1600" b="1" dirty="0">
                        <a:solidFill>
                          <a:srgbClr val="000000"/>
                        </a:solidFill>
                      </a:endParaRPr>
                    </a:p>
                  </a:txBody>
                  <a:tcPr marL="91403" marR="91403" marT="45701" marB="4570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BCF2">
                        <a:tint val="20000"/>
                      </a:srgbClr>
                    </a:solidFill>
                  </a:tcPr>
                </a:tc>
                <a:extLst>
                  <a:ext uri="{0D108BD9-81ED-4DB2-BD59-A6C34878D82A}">
                    <a16:rowId xmlns:a16="http://schemas.microsoft.com/office/drawing/2014/main" val="10002"/>
                  </a:ext>
                </a:extLst>
              </a:tr>
            </a:tbl>
          </a:graphicData>
        </a:graphic>
      </p:graphicFrame>
      <p:sp>
        <p:nvSpPr>
          <p:cNvPr id="41" name="Can 40"/>
          <p:cNvSpPr/>
          <p:nvPr/>
        </p:nvSpPr>
        <p:spPr bwMode="auto">
          <a:xfrm>
            <a:off x="1358589" y="5481922"/>
            <a:ext cx="1085872" cy="1097335"/>
          </a:xfrm>
          <a:prstGeom prst="can">
            <a:avLst/>
          </a:prstGeom>
          <a:solidFill>
            <a:srgbClr val="0072C6"/>
          </a:solidFill>
          <a:ln w="28575" cap="flat" cmpd="sng" algn="ctr">
            <a:solidFill>
              <a:sysClr val="window" lastClr="FFFFFF"/>
            </a:solidFill>
            <a:prstDash val="solid"/>
            <a:headEnd type="none" w="med" len="med"/>
            <a:tailEnd type="none" w="med" len="med"/>
          </a:ln>
          <a:effectLst/>
        </p:spPr>
        <p:txBody>
          <a:bodyPr vert="horz" wrap="square" lIns="0" tIns="45708" rIns="0" bIns="45708" numCol="1" rtlCol="0" anchor="ctr" anchorCtr="0" compatLnSpc="1">
            <a:prstTxWarp prst="textNoShape">
              <a:avLst/>
            </a:prstTxWarp>
          </a:bodyPr>
          <a:lstStyle/>
          <a:p>
            <a:pPr marL="0" marR="0" lvl="0" indent="0" algn="ctr" defTabSz="913916" eaLnBrk="1" fontAlgn="base" latinLnBrk="0" hangingPunct="1">
              <a:lnSpc>
                <a:spcPct val="100000"/>
              </a:lnSpc>
              <a:spcBef>
                <a:spcPct val="0"/>
              </a:spcBef>
              <a:spcAft>
                <a:spcPct val="0"/>
              </a:spcAft>
              <a:buClrTx/>
              <a:buSzTx/>
              <a:buFontTx/>
              <a:buNone/>
              <a:tabLst/>
              <a:defRPr/>
            </a:pPr>
            <a:endParaRPr kumimoji="0" lang="fr-FR" sz="2450" b="0" i="0" u="none" strike="noStrike" kern="0" cap="none" spc="0" normalizeH="0" baseline="0" noProof="0" dirty="0" smtClean="0">
              <a:ln>
                <a:noFill/>
              </a:ln>
              <a:solidFill>
                <a:prstClr val="white"/>
              </a:solidFill>
              <a:effectLst/>
              <a:uLnTx/>
              <a:uFillTx/>
              <a:latin typeface="Arial"/>
              <a:ea typeface="+mn-ea"/>
              <a:cs typeface="+mn-cs"/>
            </a:endParaRPr>
          </a:p>
          <a:p>
            <a:pPr marL="0" marR="0" lvl="0" indent="0" algn="ctr" defTabSz="913916" eaLnBrk="1" fontAlgn="base" latinLnBrk="0" hangingPunct="1">
              <a:lnSpc>
                <a:spcPct val="100000"/>
              </a:lnSpc>
              <a:spcBef>
                <a:spcPct val="0"/>
              </a:spcBef>
              <a:spcAft>
                <a:spcPct val="0"/>
              </a:spcAft>
              <a:buClrTx/>
              <a:buSzTx/>
              <a:buFontTx/>
              <a:buNone/>
              <a:tabLst/>
              <a:defRPr/>
            </a:pPr>
            <a:endParaRPr kumimoji="0" lang="fr-FR" sz="2450" b="0" i="0" u="none" strike="noStrike" kern="0" cap="none" spc="0" normalizeH="0" baseline="0" noProof="0" dirty="0" smtClean="0">
              <a:ln>
                <a:noFill/>
              </a:ln>
              <a:solidFill>
                <a:prstClr val="white"/>
              </a:solidFill>
              <a:effectLst/>
              <a:uLnTx/>
              <a:uFillTx/>
              <a:latin typeface="Arial"/>
              <a:ea typeface="+mn-ea"/>
              <a:cs typeface="+mn-cs"/>
            </a:endParaRPr>
          </a:p>
          <a:p>
            <a:pPr marL="0" marR="0" lvl="0" indent="0" algn="ctr" defTabSz="913916" eaLnBrk="1" fontAlgn="base" latinLnBrk="0" hangingPunct="1">
              <a:lnSpc>
                <a:spcPct val="100000"/>
              </a:lnSpc>
              <a:spcBef>
                <a:spcPct val="0"/>
              </a:spcBef>
              <a:spcAft>
                <a:spcPct val="0"/>
              </a:spcAft>
              <a:buClrTx/>
              <a:buSzTx/>
              <a:buFontTx/>
              <a:buNone/>
              <a:tabLst/>
              <a:defRPr/>
            </a:pPr>
            <a:endParaRPr kumimoji="0" lang="fr-FR" sz="2450" b="1" i="0" u="none" strike="noStrike" kern="0" cap="none" spc="0" normalizeH="0" baseline="0" noProof="0" dirty="0" smtClean="0">
              <a:ln>
                <a:noFill/>
              </a:ln>
              <a:solidFill>
                <a:prstClr val="white"/>
              </a:solidFill>
              <a:effectLst/>
              <a:uLnTx/>
              <a:uFillTx/>
              <a:latin typeface="Arial"/>
              <a:ea typeface="+mn-ea"/>
              <a:cs typeface="+mn-cs"/>
            </a:endParaRPr>
          </a:p>
          <a:p>
            <a:pPr marL="0" marR="0" lvl="0" indent="0" algn="ctr" defTabSz="913916" eaLnBrk="1" fontAlgn="base" latinLnBrk="0" hangingPunct="1">
              <a:lnSpc>
                <a:spcPct val="100000"/>
              </a:lnSpc>
              <a:spcBef>
                <a:spcPct val="0"/>
              </a:spcBef>
              <a:spcAft>
                <a:spcPct val="0"/>
              </a:spcAft>
              <a:buClrTx/>
              <a:buSzTx/>
              <a:buFontTx/>
              <a:buNone/>
              <a:tabLst/>
              <a:defRPr/>
            </a:pPr>
            <a:r>
              <a:rPr kumimoji="0" lang="fr-FR" sz="2450" b="1" i="0" u="none" strike="noStrike" kern="0" cap="none" spc="0" normalizeH="0" baseline="0" noProof="0" dirty="0" smtClean="0">
                <a:ln>
                  <a:noFill/>
                </a:ln>
                <a:solidFill>
                  <a:prstClr val="white"/>
                </a:solidFill>
                <a:effectLst/>
                <a:uLnTx/>
                <a:uFillTx/>
                <a:latin typeface="Arial"/>
                <a:ea typeface="+mn-ea"/>
                <a:cs typeface="+mn-cs"/>
              </a:rPr>
              <a:t>DB</a:t>
            </a:r>
            <a:r>
              <a:rPr kumimoji="0" lang="fr-FR" sz="2450" b="1" i="0" u="none" strike="noStrike" kern="0" cap="none" spc="0" normalizeH="0" baseline="-25000" noProof="0" dirty="0" smtClean="0">
                <a:ln>
                  <a:noFill/>
                </a:ln>
                <a:solidFill>
                  <a:prstClr val="white"/>
                </a:solidFill>
                <a:effectLst/>
                <a:uLnTx/>
                <a:uFillTx/>
                <a:latin typeface="Arial"/>
                <a:ea typeface="+mn-ea"/>
                <a:cs typeface="+mn-cs"/>
              </a:rPr>
              <a:t>1</a:t>
            </a:r>
          </a:p>
          <a:p>
            <a:pPr marL="0" marR="0" lvl="0" indent="0" algn="ctr" defTabSz="913916" eaLnBrk="1" fontAlgn="base" latinLnBrk="0" hangingPunct="1">
              <a:lnSpc>
                <a:spcPct val="100000"/>
              </a:lnSpc>
              <a:spcBef>
                <a:spcPct val="0"/>
              </a:spcBef>
              <a:spcAft>
                <a:spcPct val="0"/>
              </a:spcAft>
              <a:buClrTx/>
              <a:buSzTx/>
              <a:buFontTx/>
              <a:buNone/>
              <a:tabLst/>
              <a:defRPr/>
            </a:pPr>
            <a:r>
              <a:rPr kumimoji="0" lang="fr-FR" sz="1960" b="1" i="0" u="none" strike="noStrike" kern="0" cap="none" spc="0" normalizeH="0" baseline="-25000" noProof="0" dirty="0" smtClean="0">
                <a:ln>
                  <a:noFill/>
                </a:ln>
                <a:solidFill>
                  <a:prstClr val="white"/>
                </a:solidFill>
                <a:effectLst/>
                <a:uLnTx/>
                <a:uFillTx/>
                <a:latin typeface="Arial"/>
                <a:ea typeface="+mn-ea"/>
                <a:cs typeface="+mn-cs"/>
              </a:rPr>
              <a:t>[0-100)</a:t>
            </a:r>
            <a:endParaRPr kumimoji="0" lang="fr-FR" sz="2450" b="1" i="0" u="none" strike="noStrike" kern="0" cap="none" spc="0" normalizeH="0" baseline="-25000" noProof="0" dirty="0" smtClean="0">
              <a:ln>
                <a:noFill/>
              </a:ln>
              <a:solidFill>
                <a:prstClr val="white"/>
              </a:solidFill>
              <a:effectLst/>
              <a:uLnTx/>
              <a:uFillTx/>
              <a:latin typeface="Arial"/>
              <a:ea typeface="+mn-ea"/>
              <a:cs typeface="+mn-cs"/>
            </a:endParaRPr>
          </a:p>
          <a:p>
            <a:pPr marL="0" marR="0" lvl="0" indent="0" algn="ctr" defTabSz="913916" eaLnBrk="1" fontAlgn="base" latinLnBrk="0" hangingPunct="1">
              <a:lnSpc>
                <a:spcPct val="100000"/>
              </a:lnSpc>
              <a:spcBef>
                <a:spcPct val="0"/>
              </a:spcBef>
              <a:spcAft>
                <a:spcPct val="0"/>
              </a:spcAft>
              <a:buClrTx/>
              <a:buSzTx/>
              <a:buFontTx/>
              <a:buNone/>
              <a:tabLst/>
              <a:defRPr/>
            </a:pPr>
            <a:endParaRPr kumimoji="0" lang="fr-FR" sz="2450" b="0" i="0" u="none" strike="noStrike" kern="0" cap="none" spc="0" normalizeH="0" baseline="-25000" noProof="0" dirty="0" smtClean="0">
              <a:ln>
                <a:noFill/>
              </a:ln>
              <a:solidFill>
                <a:prstClr val="white"/>
              </a:solidFill>
              <a:effectLst/>
              <a:uLnTx/>
              <a:uFillTx/>
              <a:latin typeface="Arial"/>
              <a:ea typeface="+mn-ea"/>
              <a:cs typeface="+mn-cs"/>
            </a:endParaRPr>
          </a:p>
          <a:p>
            <a:pPr marL="0" marR="0" lvl="0" indent="0" algn="ctr" defTabSz="913916" eaLnBrk="1" fontAlgn="base" latinLnBrk="0" hangingPunct="1">
              <a:lnSpc>
                <a:spcPct val="100000"/>
              </a:lnSpc>
              <a:spcBef>
                <a:spcPct val="0"/>
              </a:spcBef>
              <a:spcAft>
                <a:spcPct val="0"/>
              </a:spcAft>
              <a:buClrTx/>
              <a:buSzTx/>
              <a:buFontTx/>
              <a:buNone/>
              <a:tabLst/>
              <a:defRPr/>
            </a:pPr>
            <a:endParaRPr kumimoji="0" lang="fr-FR" sz="2450" b="0" i="0" u="none" strike="noStrike" kern="0" cap="none" spc="0" normalizeH="0" baseline="-25000" noProof="0" dirty="0" smtClean="0">
              <a:ln>
                <a:noFill/>
              </a:ln>
              <a:solidFill>
                <a:prstClr val="white"/>
              </a:solidFill>
              <a:effectLst/>
              <a:uLnTx/>
              <a:uFillTx/>
              <a:latin typeface="Arial"/>
              <a:ea typeface="+mn-ea"/>
              <a:cs typeface="+mn-cs"/>
            </a:endParaRPr>
          </a:p>
          <a:p>
            <a:pPr marL="0" marR="0" lvl="0" indent="0" algn="ctr" defTabSz="913916" eaLnBrk="1" fontAlgn="base" latinLnBrk="0" hangingPunct="1">
              <a:lnSpc>
                <a:spcPct val="100000"/>
              </a:lnSpc>
              <a:spcBef>
                <a:spcPct val="0"/>
              </a:spcBef>
              <a:spcAft>
                <a:spcPct val="0"/>
              </a:spcAft>
              <a:buClrTx/>
              <a:buSzTx/>
              <a:buFontTx/>
              <a:buNone/>
              <a:tabLst/>
              <a:defRPr/>
            </a:pPr>
            <a:endParaRPr kumimoji="0" lang="fr-FR" sz="2450" b="0" i="0" u="none" strike="noStrike" kern="0" cap="none" spc="0" normalizeH="0" baseline="-25000" noProof="0" dirty="0" smtClean="0">
              <a:ln>
                <a:noFill/>
              </a:ln>
              <a:solidFill>
                <a:prstClr val="white"/>
              </a:solidFill>
              <a:effectLst/>
              <a:uLnTx/>
              <a:uFillTx/>
              <a:latin typeface="Arial"/>
              <a:ea typeface="+mn-ea"/>
              <a:cs typeface="+mn-cs"/>
            </a:endParaRPr>
          </a:p>
          <a:p>
            <a:pPr marL="0" marR="0" lvl="0" indent="0" algn="ctr" defTabSz="913916" eaLnBrk="1" fontAlgn="base" latinLnBrk="0" hangingPunct="1">
              <a:lnSpc>
                <a:spcPct val="100000"/>
              </a:lnSpc>
              <a:spcBef>
                <a:spcPct val="0"/>
              </a:spcBef>
              <a:spcAft>
                <a:spcPct val="0"/>
              </a:spcAft>
              <a:buClrTx/>
              <a:buSzTx/>
              <a:buFontTx/>
              <a:buNone/>
              <a:tabLst/>
              <a:defRPr/>
            </a:pPr>
            <a:endParaRPr kumimoji="0" lang="fr-FR" sz="2450" b="0" i="0" u="none" strike="noStrike" kern="0" cap="none" spc="0" normalizeH="0" baseline="-25000" noProof="0" dirty="0" smtClean="0">
              <a:ln>
                <a:noFill/>
              </a:ln>
              <a:solidFill>
                <a:prstClr val="white"/>
              </a:solidFill>
              <a:effectLst/>
              <a:uLnTx/>
              <a:uFillTx/>
              <a:latin typeface="Arial"/>
              <a:ea typeface="+mn-ea"/>
              <a:cs typeface="+mn-cs"/>
            </a:endParaRPr>
          </a:p>
        </p:txBody>
      </p:sp>
      <p:sp>
        <p:nvSpPr>
          <p:cNvPr id="42" name="TextBox 41"/>
          <p:cNvSpPr txBox="1"/>
          <p:nvPr/>
        </p:nvSpPr>
        <p:spPr>
          <a:xfrm>
            <a:off x="8775425" y="5896963"/>
            <a:ext cx="1282251" cy="469359"/>
          </a:xfrm>
          <a:prstGeom prst="rect">
            <a:avLst/>
          </a:prstGeom>
          <a:noFill/>
          <a:ln>
            <a:solidFill>
              <a:sysClr val="window" lastClr="FFFFFF"/>
            </a:solidFill>
          </a:ln>
        </p:spPr>
        <p:txBody>
          <a:bodyPr wrap="square" rtlCol="0">
            <a:spAutoFit/>
          </a:bodyPr>
          <a:lstStyle/>
          <a:p>
            <a:pPr marL="0" marR="0" lvl="0" indent="0" defTabSz="623863" eaLnBrk="1" fontAlgn="auto" latinLnBrk="0" hangingPunct="1">
              <a:lnSpc>
                <a:spcPct val="100000"/>
              </a:lnSpc>
              <a:spcBef>
                <a:spcPts val="0"/>
              </a:spcBef>
              <a:spcAft>
                <a:spcPts val="0"/>
              </a:spcAft>
              <a:buClrTx/>
              <a:buSzTx/>
              <a:buFontTx/>
              <a:buNone/>
              <a:tabLst/>
              <a:defRPr/>
            </a:pPr>
            <a:r>
              <a:rPr kumimoji="0" lang="fr-FR" sz="2450" b="0" i="0" u="none" strike="noStrike" kern="0" cap="none" spc="0" normalizeH="0" baseline="0" noProof="0" dirty="0" smtClean="0">
                <a:ln>
                  <a:noFill/>
                </a:ln>
                <a:solidFill>
                  <a:srgbClr val="0072C6"/>
                </a:solidFill>
                <a:effectLst/>
                <a:uLnTx/>
                <a:uFillTx/>
                <a:latin typeface="Arial"/>
              </a:rPr>
              <a:t>. . .</a:t>
            </a:r>
          </a:p>
        </p:txBody>
      </p:sp>
      <p:sp>
        <p:nvSpPr>
          <p:cNvPr id="43" name="Can 42"/>
          <p:cNvSpPr/>
          <p:nvPr/>
        </p:nvSpPr>
        <p:spPr bwMode="auto">
          <a:xfrm>
            <a:off x="2593827" y="5483104"/>
            <a:ext cx="1085872" cy="1097335"/>
          </a:xfrm>
          <a:prstGeom prst="can">
            <a:avLst/>
          </a:prstGeom>
          <a:solidFill>
            <a:srgbClr val="0072C6"/>
          </a:solidFill>
          <a:ln w="28575" cap="flat" cmpd="sng" algn="ctr">
            <a:solidFill>
              <a:sysClr val="window" lastClr="FFFFFF"/>
            </a:solidFill>
            <a:prstDash val="solid"/>
            <a:headEnd type="none" w="med" len="med"/>
            <a:tailEnd type="none" w="med" len="med"/>
          </a:ln>
          <a:effectLst/>
        </p:spPr>
        <p:txBody>
          <a:bodyPr vert="horz" wrap="square" lIns="0" tIns="45708" rIns="0" bIns="45708" numCol="1" rtlCol="0" anchor="ctr" anchorCtr="0" compatLnSpc="1">
            <a:prstTxWarp prst="textNoShape">
              <a:avLst/>
            </a:prstTxWarp>
          </a:bodyPr>
          <a:lstStyle/>
          <a:p>
            <a:pPr marL="0" marR="0" lvl="0" indent="0" algn="ctr" defTabSz="913916" eaLnBrk="1" fontAlgn="base" latinLnBrk="0" hangingPunct="1">
              <a:lnSpc>
                <a:spcPct val="100000"/>
              </a:lnSpc>
              <a:spcBef>
                <a:spcPct val="0"/>
              </a:spcBef>
              <a:spcAft>
                <a:spcPct val="0"/>
              </a:spcAft>
              <a:buClrTx/>
              <a:buSzTx/>
              <a:buFontTx/>
              <a:buNone/>
              <a:tabLst/>
              <a:defRPr/>
            </a:pPr>
            <a:endParaRPr kumimoji="0" lang="fr-FR" sz="2450" b="0" i="0" u="none" strike="noStrike" kern="0" cap="none" spc="0" normalizeH="0" baseline="0" noProof="0" dirty="0" smtClean="0">
              <a:ln>
                <a:noFill/>
              </a:ln>
              <a:solidFill>
                <a:prstClr val="white"/>
              </a:solidFill>
              <a:effectLst/>
              <a:uLnTx/>
              <a:uFillTx/>
              <a:latin typeface="Arial"/>
              <a:ea typeface="+mn-ea"/>
              <a:cs typeface="+mn-cs"/>
            </a:endParaRPr>
          </a:p>
          <a:p>
            <a:pPr marL="0" marR="0" lvl="0" indent="0" algn="ctr" defTabSz="913916" eaLnBrk="1" fontAlgn="base" latinLnBrk="0" hangingPunct="1">
              <a:lnSpc>
                <a:spcPct val="100000"/>
              </a:lnSpc>
              <a:spcBef>
                <a:spcPct val="0"/>
              </a:spcBef>
              <a:spcAft>
                <a:spcPct val="0"/>
              </a:spcAft>
              <a:buClrTx/>
              <a:buSzTx/>
              <a:buFontTx/>
              <a:buNone/>
              <a:tabLst/>
              <a:defRPr/>
            </a:pPr>
            <a:endParaRPr kumimoji="0" lang="fr-FR" sz="2450" b="0" i="0" u="none" strike="noStrike" kern="0" cap="none" spc="0" normalizeH="0" baseline="0" noProof="0" dirty="0" smtClean="0">
              <a:ln>
                <a:noFill/>
              </a:ln>
              <a:solidFill>
                <a:prstClr val="white"/>
              </a:solidFill>
              <a:effectLst/>
              <a:uLnTx/>
              <a:uFillTx/>
              <a:latin typeface="Arial"/>
              <a:ea typeface="+mn-ea"/>
              <a:cs typeface="+mn-cs"/>
            </a:endParaRPr>
          </a:p>
          <a:p>
            <a:pPr marL="0" marR="0" lvl="0" indent="0" algn="ctr" defTabSz="913916" eaLnBrk="1" fontAlgn="base" latinLnBrk="0" hangingPunct="1">
              <a:lnSpc>
                <a:spcPct val="100000"/>
              </a:lnSpc>
              <a:spcBef>
                <a:spcPct val="0"/>
              </a:spcBef>
              <a:spcAft>
                <a:spcPct val="0"/>
              </a:spcAft>
              <a:buClrTx/>
              <a:buSzTx/>
              <a:buFontTx/>
              <a:buNone/>
              <a:tabLst/>
              <a:defRPr/>
            </a:pPr>
            <a:endParaRPr kumimoji="0" lang="fr-FR" sz="2450" b="1" i="0" u="none" strike="noStrike" kern="0" cap="none" spc="0" normalizeH="0" baseline="0" noProof="0" dirty="0" smtClean="0">
              <a:ln>
                <a:noFill/>
              </a:ln>
              <a:solidFill>
                <a:prstClr val="white"/>
              </a:solidFill>
              <a:effectLst/>
              <a:uLnTx/>
              <a:uFillTx/>
              <a:latin typeface="Arial"/>
              <a:ea typeface="+mn-ea"/>
              <a:cs typeface="+mn-cs"/>
            </a:endParaRPr>
          </a:p>
          <a:p>
            <a:pPr marL="0" marR="0" lvl="0" indent="0" algn="ctr" defTabSz="913916" eaLnBrk="1" fontAlgn="base" latinLnBrk="0" hangingPunct="1">
              <a:lnSpc>
                <a:spcPct val="100000"/>
              </a:lnSpc>
              <a:spcBef>
                <a:spcPct val="0"/>
              </a:spcBef>
              <a:spcAft>
                <a:spcPct val="0"/>
              </a:spcAft>
              <a:buClrTx/>
              <a:buSzTx/>
              <a:buFontTx/>
              <a:buNone/>
              <a:tabLst/>
              <a:defRPr/>
            </a:pPr>
            <a:r>
              <a:rPr kumimoji="0" lang="fr-FR" sz="2450" b="1" i="0" u="none" strike="noStrike" kern="0" cap="none" spc="0" normalizeH="0" baseline="0" noProof="0" dirty="0" smtClean="0">
                <a:ln>
                  <a:noFill/>
                </a:ln>
                <a:solidFill>
                  <a:prstClr val="white"/>
                </a:solidFill>
                <a:effectLst/>
                <a:uLnTx/>
                <a:uFillTx/>
                <a:latin typeface="Arial"/>
                <a:ea typeface="+mn-ea"/>
                <a:cs typeface="+mn-cs"/>
              </a:rPr>
              <a:t>DB</a:t>
            </a:r>
            <a:r>
              <a:rPr kumimoji="0" lang="fr-FR" sz="2450" b="1" i="0" u="none" strike="noStrike" kern="0" cap="none" spc="0" normalizeH="0" baseline="-25000" noProof="0" dirty="0" smtClean="0">
                <a:ln>
                  <a:noFill/>
                </a:ln>
                <a:solidFill>
                  <a:prstClr val="white"/>
                </a:solidFill>
                <a:effectLst/>
                <a:uLnTx/>
                <a:uFillTx/>
                <a:latin typeface="Arial"/>
                <a:ea typeface="+mn-ea"/>
                <a:cs typeface="+mn-cs"/>
              </a:rPr>
              <a:t>2</a:t>
            </a:r>
          </a:p>
          <a:p>
            <a:pPr marL="0" marR="0" lvl="0" indent="0" algn="ctr" defTabSz="913916" eaLnBrk="1" fontAlgn="base" latinLnBrk="0" hangingPunct="1">
              <a:lnSpc>
                <a:spcPct val="100000"/>
              </a:lnSpc>
              <a:spcBef>
                <a:spcPct val="0"/>
              </a:spcBef>
              <a:spcAft>
                <a:spcPct val="0"/>
              </a:spcAft>
              <a:buClrTx/>
              <a:buSzTx/>
              <a:buFontTx/>
              <a:buNone/>
              <a:tabLst/>
              <a:defRPr/>
            </a:pPr>
            <a:r>
              <a:rPr kumimoji="0" lang="fr-FR" sz="1960" b="1" i="0" u="none" strike="noStrike" kern="0" cap="none" spc="0" normalizeH="0" baseline="-25000" noProof="0" dirty="0" smtClean="0">
                <a:ln>
                  <a:noFill/>
                </a:ln>
                <a:solidFill>
                  <a:prstClr val="white"/>
                </a:solidFill>
                <a:effectLst/>
                <a:uLnTx/>
                <a:uFillTx/>
                <a:latin typeface="Arial"/>
                <a:ea typeface="+mn-ea"/>
                <a:cs typeface="+mn-cs"/>
              </a:rPr>
              <a:t>[100-200)</a:t>
            </a:r>
            <a:endParaRPr kumimoji="0" lang="fr-FR" sz="2450" b="1" i="0" u="none" strike="noStrike" kern="0" cap="none" spc="0" normalizeH="0" baseline="-25000" noProof="0" dirty="0" smtClean="0">
              <a:ln>
                <a:noFill/>
              </a:ln>
              <a:solidFill>
                <a:prstClr val="white"/>
              </a:solidFill>
              <a:effectLst/>
              <a:uLnTx/>
              <a:uFillTx/>
              <a:latin typeface="Arial"/>
              <a:ea typeface="+mn-ea"/>
              <a:cs typeface="+mn-cs"/>
            </a:endParaRPr>
          </a:p>
          <a:p>
            <a:pPr marL="0" marR="0" lvl="0" indent="0" algn="ctr" defTabSz="913916" eaLnBrk="1" fontAlgn="base" latinLnBrk="0" hangingPunct="1">
              <a:lnSpc>
                <a:spcPct val="100000"/>
              </a:lnSpc>
              <a:spcBef>
                <a:spcPct val="0"/>
              </a:spcBef>
              <a:spcAft>
                <a:spcPct val="0"/>
              </a:spcAft>
              <a:buClrTx/>
              <a:buSzTx/>
              <a:buFontTx/>
              <a:buNone/>
              <a:tabLst/>
              <a:defRPr/>
            </a:pPr>
            <a:endParaRPr kumimoji="0" lang="fr-FR" sz="2450" b="0" i="0" u="none" strike="noStrike" kern="0" cap="none" spc="0" normalizeH="0" baseline="-25000" noProof="0" dirty="0" smtClean="0">
              <a:ln>
                <a:noFill/>
              </a:ln>
              <a:solidFill>
                <a:prstClr val="white"/>
              </a:solidFill>
              <a:effectLst/>
              <a:uLnTx/>
              <a:uFillTx/>
              <a:latin typeface="Arial"/>
              <a:ea typeface="+mn-ea"/>
              <a:cs typeface="+mn-cs"/>
            </a:endParaRPr>
          </a:p>
          <a:p>
            <a:pPr marL="0" marR="0" lvl="0" indent="0" algn="ctr" defTabSz="913916" eaLnBrk="1" fontAlgn="base" latinLnBrk="0" hangingPunct="1">
              <a:lnSpc>
                <a:spcPct val="100000"/>
              </a:lnSpc>
              <a:spcBef>
                <a:spcPct val="0"/>
              </a:spcBef>
              <a:spcAft>
                <a:spcPct val="0"/>
              </a:spcAft>
              <a:buClrTx/>
              <a:buSzTx/>
              <a:buFontTx/>
              <a:buNone/>
              <a:tabLst/>
              <a:defRPr/>
            </a:pPr>
            <a:endParaRPr kumimoji="0" lang="fr-FR" sz="2450" b="0" i="0" u="none" strike="noStrike" kern="0" cap="none" spc="0" normalizeH="0" baseline="-25000" noProof="0" dirty="0" smtClean="0">
              <a:ln>
                <a:noFill/>
              </a:ln>
              <a:solidFill>
                <a:prstClr val="white"/>
              </a:solidFill>
              <a:effectLst/>
              <a:uLnTx/>
              <a:uFillTx/>
              <a:latin typeface="Arial"/>
              <a:ea typeface="+mn-ea"/>
              <a:cs typeface="+mn-cs"/>
            </a:endParaRPr>
          </a:p>
          <a:p>
            <a:pPr marL="0" marR="0" lvl="0" indent="0" algn="ctr" defTabSz="913916" eaLnBrk="1" fontAlgn="base" latinLnBrk="0" hangingPunct="1">
              <a:lnSpc>
                <a:spcPct val="100000"/>
              </a:lnSpc>
              <a:spcBef>
                <a:spcPct val="0"/>
              </a:spcBef>
              <a:spcAft>
                <a:spcPct val="0"/>
              </a:spcAft>
              <a:buClrTx/>
              <a:buSzTx/>
              <a:buFontTx/>
              <a:buNone/>
              <a:tabLst/>
              <a:defRPr/>
            </a:pPr>
            <a:endParaRPr kumimoji="0" lang="fr-FR" sz="2450" b="0" i="0" u="none" strike="noStrike" kern="0" cap="none" spc="0" normalizeH="0" baseline="-25000" noProof="0" dirty="0" smtClean="0">
              <a:ln>
                <a:noFill/>
              </a:ln>
              <a:solidFill>
                <a:prstClr val="white"/>
              </a:solidFill>
              <a:effectLst/>
              <a:uLnTx/>
              <a:uFillTx/>
              <a:latin typeface="Arial"/>
              <a:ea typeface="+mn-ea"/>
              <a:cs typeface="+mn-cs"/>
            </a:endParaRPr>
          </a:p>
          <a:p>
            <a:pPr marL="0" marR="0" lvl="0" indent="0" algn="ctr" defTabSz="913916" eaLnBrk="1" fontAlgn="base" latinLnBrk="0" hangingPunct="1">
              <a:lnSpc>
                <a:spcPct val="100000"/>
              </a:lnSpc>
              <a:spcBef>
                <a:spcPct val="0"/>
              </a:spcBef>
              <a:spcAft>
                <a:spcPct val="0"/>
              </a:spcAft>
              <a:buClrTx/>
              <a:buSzTx/>
              <a:buFontTx/>
              <a:buNone/>
              <a:tabLst/>
              <a:defRPr/>
            </a:pPr>
            <a:endParaRPr kumimoji="0" lang="fr-FR" sz="2450" b="0" i="0" u="none" strike="noStrike" kern="0" cap="none" spc="0" normalizeH="0" baseline="-25000" noProof="0" dirty="0" smtClean="0">
              <a:ln>
                <a:noFill/>
              </a:ln>
              <a:solidFill>
                <a:prstClr val="white"/>
              </a:solidFill>
              <a:effectLst/>
              <a:uLnTx/>
              <a:uFillTx/>
              <a:latin typeface="Arial"/>
              <a:ea typeface="+mn-ea"/>
              <a:cs typeface="+mn-cs"/>
            </a:endParaRPr>
          </a:p>
        </p:txBody>
      </p:sp>
      <p:sp>
        <p:nvSpPr>
          <p:cNvPr id="44" name="Can 43"/>
          <p:cNvSpPr/>
          <p:nvPr/>
        </p:nvSpPr>
        <p:spPr bwMode="auto">
          <a:xfrm>
            <a:off x="3834475" y="5497232"/>
            <a:ext cx="1085872" cy="1097335"/>
          </a:xfrm>
          <a:prstGeom prst="can">
            <a:avLst/>
          </a:prstGeom>
          <a:solidFill>
            <a:srgbClr val="0072C6"/>
          </a:solidFill>
          <a:ln w="28575" cap="flat" cmpd="sng" algn="ctr">
            <a:solidFill>
              <a:sysClr val="window" lastClr="FFFFFF"/>
            </a:solidFill>
            <a:prstDash val="solid"/>
            <a:headEnd type="none" w="med" len="med"/>
            <a:tailEnd type="none" w="med" len="med"/>
          </a:ln>
          <a:effectLst/>
        </p:spPr>
        <p:txBody>
          <a:bodyPr vert="horz" wrap="square" lIns="0" tIns="45708" rIns="0" bIns="45708" numCol="1" rtlCol="0" anchor="ctr" anchorCtr="0" compatLnSpc="1">
            <a:prstTxWarp prst="textNoShape">
              <a:avLst/>
            </a:prstTxWarp>
          </a:bodyPr>
          <a:lstStyle/>
          <a:p>
            <a:pPr marL="0" marR="0" lvl="0" indent="0" algn="ctr" defTabSz="913916" eaLnBrk="1" fontAlgn="base" latinLnBrk="0" hangingPunct="1">
              <a:lnSpc>
                <a:spcPct val="100000"/>
              </a:lnSpc>
              <a:spcBef>
                <a:spcPct val="0"/>
              </a:spcBef>
              <a:spcAft>
                <a:spcPct val="0"/>
              </a:spcAft>
              <a:buClrTx/>
              <a:buSzTx/>
              <a:buFontTx/>
              <a:buNone/>
              <a:tabLst/>
              <a:defRPr/>
            </a:pPr>
            <a:endParaRPr kumimoji="0" lang="fr-FR" sz="2450" b="0" i="0" u="none" strike="noStrike" kern="0" cap="none" spc="0" normalizeH="0" baseline="0" noProof="0" dirty="0" smtClean="0">
              <a:ln>
                <a:noFill/>
              </a:ln>
              <a:solidFill>
                <a:prstClr val="white"/>
              </a:solidFill>
              <a:effectLst/>
              <a:uLnTx/>
              <a:uFillTx/>
              <a:latin typeface="Arial"/>
              <a:ea typeface="+mn-ea"/>
              <a:cs typeface="+mn-cs"/>
            </a:endParaRPr>
          </a:p>
          <a:p>
            <a:pPr marL="0" marR="0" lvl="0" indent="0" algn="ctr" defTabSz="913916" eaLnBrk="1" fontAlgn="base" latinLnBrk="0" hangingPunct="1">
              <a:lnSpc>
                <a:spcPct val="100000"/>
              </a:lnSpc>
              <a:spcBef>
                <a:spcPct val="0"/>
              </a:spcBef>
              <a:spcAft>
                <a:spcPct val="0"/>
              </a:spcAft>
              <a:buClrTx/>
              <a:buSzTx/>
              <a:buFontTx/>
              <a:buNone/>
              <a:tabLst/>
              <a:defRPr/>
            </a:pPr>
            <a:endParaRPr kumimoji="0" lang="fr-FR" sz="2450" b="0" i="0" u="none" strike="noStrike" kern="0" cap="none" spc="0" normalizeH="0" baseline="0" noProof="0" dirty="0" smtClean="0">
              <a:ln>
                <a:noFill/>
              </a:ln>
              <a:solidFill>
                <a:prstClr val="white"/>
              </a:solidFill>
              <a:effectLst/>
              <a:uLnTx/>
              <a:uFillTx/>
              <a:latin typeface="Arial"/>
              <a:ea typeface="+mn-ea"/>
              <a:cs typeface="+mn-cs"/>
            </a:endParaRPr>
          </a:p>
          <a:p>
            <a:pPr marL="0" marR="0" lvl="0" indent="0" algn="ctr" defTabSz="913916" eaLnBrk="1" fontAlgn="base" latinLnBrk="0" hangingPunct="1">
              <a:lnSpc>
                <a:spcPct val="100000"/>
              </a:lnSpc>
              <a:spcBef>
                <a:spcPct val="0"/>
              </a:spcBef>
              <a:spcAft>
                <a:spcPct val="0"/>
              </a:spcAft>
              <a:buClrTx/>
              <a:buSzTx/>
              <a:buFontTx/>
              <a:buNone/>
              <a:tabLst/>
              <a:defRPr/>
            </a:pPr>
            <a:endParaRPr kumimoji="0" lang="fr-FR" sz="2450" b="1" i="0" u="none" strike="noStrike" kern="0" cap="none" spc="0" normalizeH="0" baseline="0" noProof="0" dirty="0" smtClean="0">
              <a:ln>
                <a:noFill/>
              </a:ln>
              <a:solidFill>
                <a:prstClr val="white"/>
              </a:solidFill>
              <a:effectLst/>
              <a:uLnTx/>
              <a:uFillTx/>
              <a:latin typeface="Arial"/>
              <a:ea typeface="+mn-ea"/>
              <a:cs typeface="+mn-cs"/>
            </a:endParaRPr>
          </a:p>
          <a:p>
            <a:pPr marL="0" marR="0" lvl="0" indent="0" algn="ctr" defTabSz="913916" eaLnBrk="1" fontAlgn="base" latinLnBrk="0" hangingPunct="1">
              <a:lnSpc>
                <a:spcPct val="100000"/>
              </a:lnSpc>
              <a:spcBef>
                <a:spcPct val="0"/>
              </a:spcBef>
              <a:spcAft>
                <a:spcPct val="0"/>
              </a:spcAft>
              <a:buClrTx/>
              <a:buSzTx/>
              <a:buFontTx/>
              <a:buNone/>
              <a:tabLst/>
              <a:defRPr/>
            </a:pPr>
            <a:r>
              <a:rPr kumimoji="0" lang="fr-FR" sz="2450" b="1" i="0" u="none" strike="noStrike" kern="0" cap="none" spc="0" normalizeH="0" baseline="0" noProof="0" dirty="0" smtClean="0">
                <a:ln>
                  <a:noFill/>
                </a:ln>
                <a:solidFill>
                  <a:prstClr val="white"/>
                </a:solidFill>
                <a:effectLst/>
                <a:uLnTx/>
                <a:uFillTx/>
                <a:latin typeface="Arial"/>
                <a:ea typeface="+mn-ea"/>
                <a:cs typeface="+mn-cs"/>
              </a:rPr>
              <a:t>DB</a:t>
            </a:r>
            <a:r>
              <a:rPr kumimoji="0" lang="fr-FR" sz="2450" b="1" i="0" u="none" strike="noStrike" kern="0" cap="none" spc="0" normalizeH="0" baseline="-25000" noProof="0" dirty="0" smtClean="0">
                <a:ln>
                  <a:noFill/>
                </a:ln>
                <a:solidFill>
                  <a:prstClr val="white"/>
                </a:solidFill>
                <a:effectLst/>
                <a:uLnTx/>
                <a:uFillTx/>
                <a:latin typeface="Arial"/>
                <a:ea typeface="+mn-ea"/>
                <a:cs typeface="+mn-cs"/>
              </a:rPr>
              <a:t>3</a:t>
            </a:r>
          </a:p>
          <a:p>
            <a:pPr marL="0" marR="0" lvl="0" indent="0" algn="ctr" defTabSz="913916" eaLnBrk="1" fontAlgn="base" latinLnBrk="0" hangingPunct="1">
              <a:lnSpc>
                <a:spcPct val="100000"/>
              </a:lnSpc>
              <a:spcBef>
                <a:spcPct val="0"/>
              </a:spcBef>
              <a:spcAft>
                <a:spcPct val="0"/>
              </a:spcAft>
              <a:buClrTx/>
              <a:buSzTx/>
              <a:buFontTx/>
              <a:buNone/>
              <a:tabLst/>
              <a:defRPr/>
            </a:pPr>
            <a:r>
              <a:rPr kumimoji="0" lang="fr-FR" sz="1960" b="1" i="0" u="none" strike="noStrike" kern="0" cap="none" spc="0" normalizeH="0" baseline="-25000" noProof="0" dirty="0" smtClean="0">
                <a:ln>
                  <a:noFill/>
                </a:ln>
                <a:solidFill>
                  <a:prstClr val="white"/>
                </a:solidFill>
                <a:effectLst/>
                <a:uLnTx/>
                <a:uFillTx/>
                <a:latin typeface="Arial"/>
                <a:ea typeface="+mn-ea"/>
                <a:cs typeface="+mn-cs"/>
              </a:rPr>
              <a:t>[200-300)</a:t>
            </a:r>
            <a:endParaRPr kumimoji="0" lang="fr-FR" sz="2450" b="1" i="0" u="none" strike="noStrike" kern="0" cap="none" spc="0" normalizeH="0" baseline="-25000" noProof="0" dirty="0" smtClean="0">
              <a:ln>
                <a:noFill/>
              </a:ln>
              <a:solidFill>
                <a:prstClr val="white"/>
              </a:solidFill>
              <a:effectLst/>
              <a:uLnTx/>
              <a:uFillTx/>
              <a:latin typeface="Arial"/>
              <a:ea typeface="+mn-ea"/>
              <a:cs typeface="+mn-cs"/>
            </a:endParaRPr>
          </a:p>
          <a:p>
            <a:pPr marL="0" marR="0" lvl="0" indent="0" algn="ctr" defTabSz="913916" eaLnBrk="1" fontAlgn="base" latinLnBrk="0" hangingPunct="1">
              <a:lnSpc>
                <a:spcPct val="100000"/>
              </a:lnSpc>
              <a:spcBef>
                <a:spcPct val="0"/>
              </a:spcBef>
              <a:spcAft>
                <a:spcPct val="0"/>
              </a:spcAft>
              <a:buClrTx/>
              <a:buSzTx/>
              <a:buFontTx/>
              <a:buNone/>
              <a:tabLst/>
              <a:defRPr/>
            </a:pPr>
            <a:endParaRPr kumimoji="0" lang="fr-FR" sz="2450" b="0" i="0" u="none" strike="noStrike" kern="0" cap="none" spc="0" normalizeH="0" baseline="-25000" noProof="0" dirty="0" smtClean="0">
              <a:ln>
                <a:noFill/>
              </a:ln>
              <a:solidFill>
                <a:prstClr val="white"/>
              </a:solidFill>
              <a:effectLst/>
              <a:uLnTx/>
              <a:uFillTx/>
              <a:latin typeface="Arial"/>
              <a:ea typeface="+mn-ea"/>
              <a:cs typeface="+mn-cs"/>
            </a:endParaRPr>
          </a:p>
          <a:p>
            <a:pPr marL="0" marR="0" lvl="0" indent="0" algn="ctr" defTabSz="913916" eaLnBrk="1" fontAlgn="base" latinLnBrk="0" hangingPunct="1">
              <a:lnSpc>
                <a:spcPct val="100000"/>
              </a:lnSpc>
              <a:spcBef>
                <a:spcPct val="0"/>
              </a:spcBef>
              <a:spcAft>
                <a:spcPct val="0"/>
              </a:spcAft>
              <a:buClrTx/>
              <a:buSzTx/>
              <a:buFontTx/>
              <a:buNone/>
              <a:tabLst/>
              <a:defRPr/>
            </a:pPr>
            <a:endParaRPr kumimoji="0" lang="fr-FR" sz="2450" b="0" i="0" u="none" strike="noStrike" kern="0" cap="none" spc="0" normalizeH="0" baseline="-25000" noProof="0" dirty="0" smtClean="0">
              <a:ln>
                <a:noFill/>
              </a:ln>
              <a:solidFill>
                <a:prstClr val="white"/>
              </a:solidFill>
              <a:effectLst/>
              <a:uLnTx/>
              <a:uFillTx/>
              <a:latin typeface="Arial"/>
              <a:ea typeface="+mn-ea"/>
              <a:cs typeface="+mn-cs"/>
            </a:endParaRPr>
          </a:p>
          <a:p>
            <a:pPr marL="0" marR="0" lvl="0" indent="0" algn="ctr" defTabSz="913916" eaLnBrk="1" fontAlgn="base" latinLnBrk="0" hangingPunct="1">
              <a:lnSpc>
                <a:spcPct val="100000"/>
              </a:lnSpc>
              <a:spcBef>
                <a:spcPct val="0"/>
              </a:spcBef>
              <a:spcAft>
                <a:spcPct val="0"/>
              </a:spcAft>
              <a:buClrTx/>
              <a:buSzTx/>
              <a:buFontTx/>
              <a:buNone/>
              <a:tabLst/>
              <a:defRPr/>
            </a:pPr>
            <a:endParaRPr kumimoji="0" lang="fr-FR" sz="2450" b="0" i="0" u="none" strike="noStrike" kern="0" cap="none" spc="0" normalizeH="0" baseline="-25000" noProof="0" dirty="0" smtClean="0">
              <a:ln>
                <a:noFill/>
              </a:ln>
              <a:solidFill>
                <a:prstClr val="white"/>
              </a:solidFill>
              <a:effectLst/>
              <a:uLnTx/>
              <a:uFillTx/>
              <a:latin typeface="Arial"/>
              <a:ea typeface="+mn-ea"/>
              <a:cs typeface="+mn-cs"/>
            </a:endParaRPr>
          </a:p>
          <a:p>
            <a:pPr marL="0" marR="0" lvl="0" indent="0" algn="ctr" defTabSz="913916" eaLnBrk="1" fontAlgn="base" latinLnBrk="0" hangingPunct="1">
              <a:lnSpc>
                <a:spcPct val="100000"/>
              </a:lnSpc>
              <a:spcBef>
                <a:spcPct val="0"/>
              </a:spcBef>
              <a:spcAft>
                <a:spcPct val="0"/>
              </a:spcAft>
              <a:buClrTx/>
              <a:buSzTx/>
              <a:buFontTx/>
              <a:buNone/>
              <a:tabLst/>
              <a:defRPr/>
            </a:pPr>
            <a:endParaRPr kumimoji="0" lang="fr-FR" sz="2450" b="0" i="0" u="none" strike="noStrike" kern="0" cap="none" spc="0" normalizeH="0" baseline="-25000" noProof="0" dirty="0" smtClean="0">
              <a:ln>
                <a:noFill/>
              </a:ln>
              <a:solidFill>
                <a:prstClr val="white"/>
              </a:solidFill>
              <a:effectLst/>
              <a:uLnTx/>
              <a:uFillTx/>
              <a:latin typeface="Arial"/>
              <a:ea typeface="+mn-ea"/>
              <a:cs typeface="+mn-cs"/>
            </a:endParaRPr>
          </a:p>
        </p:txBody>
      </p:sp>
      <p:sp>
        <p:nvSpPr>
          <p:cNvPr id="51" name="Can 50"/>
          <p:cNvSpPr/>
          <p:nvPr/>
        </p:nvSpPr>
        <p:spPr bwMode="auto">
          <a:xfrm>
            <a:off x="5069712" y="5497232"/>
            <a:ext cx="1085872" cy="1097335"/>
          </a:xfrm>
          <a:prstGeom prst="can">
            <a:avLst/>
          </a:prstGeom>
          <a:solidFill>
            <a:srgbClr val="0072C6"/>
          </a:solidFill>
          <a:ln w="28575" cap="flat" cmpd="sng" algn="ctr">
            <a:solidFill>
              <a:sysClr val="window" lastClr="FFFFFF"/>
            </a:solidFill>
            <a:prstDash val="solid"/>
            <a:headEnd type="none" w="med" len="med"/>
            <a:tailEnd type="none" w="med" len="med"/>
          </a:ln>
          <a:effectLst/>
        </p:spPr>
        <p:txBody>
          <a:bodyPr vert="horz" wrap="square" lIns="0" tIns="45708" rIns="0" bIns="45708" numCol="1" rtlCol="0" anchor="ctr" anchorCtr="0" compatLnSpc="1">
            <a:prstTxWarp prst="textNoShape">
              <a:avLst/>
            </a:prstTxWarp>
          </a:bodyPr>
          <a:lstStyle/>
          <a:p>
            <a:pPr marL="0" marR="0" lvl="0" indent="0" algn="ctr" defTabSz="913916" eaLnBrk="1" fontAlgn="base" latinLnBrk="0" hangingPunct="1">
              <a:lnSpc>
                <a:spcPct val="100000"/>
              </a:lnSpc>
              <a:spcBef>
                <a:spcPct val="0"/>
              </a:spcBef>
              <a:spcAft>
                <a:spcPct val="0"/>
              </a:spcAft>
              <a:buClrTx/>
              <a:buSzTx/>
              <a:buFontTx/>
              <a:buNone/>
              <a:tabLst/>
              <a:defRPr/>
            </a:pPr>
            <a:endParaRPr kumimoji="0" lang="fr-FR" sz="2450" b="0" i="0" u="none" strike="noStrike" kern="0" cap="none" spc="0" normalizeH="0" baseline="0" noProof="0" dirty="0" smtClean="0">
              <a:ln>
                <a:noFill/>
              </a:ln>
              <a:solidFill>
                <a:prstClr val="white"/>
              </a:solidFill>
              <a:effectLst/>
              <a:uLnTx/>
              <a:uFillTx/>
              <a:latin typeface="Arial"/>
              <a:ea typeface="+mn-ea"/>
              <a:cs typeface="+mn-cs"/>
            </a:endParaRPr>
          </a:p>
          <a:p>
            <a:pPr marL="0" marR="0" lvl="0" indent="0" algn="ctr" defTabSz="913916" eaLnBrk="1" fontAlgn="base" latinLnBrk="0" hangingPunct="1">
              <a:lnSpc>
                <a:spcPct val="100000"/>
              </a:lnSpc>
              <a:spcBef>
                <a:spcPct val="0"/>
              </a:spcBef>
              <a:spcAft>
                <a:spcPct val="0"/>
              </a:spcAft>
              <a:buClrTx/>
              <a:buSzTx/>
              <a:buFontTx/>
              <a:buNone/>
              <a:tabLst/>
              <a:defRPr/>
            </a:pPr>
            <a:endParaRPr kumimoji="0" lang="fr-FR" sz="2450" b="0" i="0" u="none" strike="noStrike" kern="0" cap="none" spc="0" normalizeH="0" baseline="0" noProof="0" dirty="0" smtClean="0">
              <a:ln>
                <a:noFill/>
              </a:ln>
              <a:solidFill>
                <a:prstClr val="white"/>
              </a:solidFill>
              <a:effectLst/>
              <a:uLnTx/>
              <a:uFillTx/>
              <a:latin typeface="Arial"/>
              <a:ea typeface="+mn-ea"/>
              <a:cs typeface="+mn-cs"/>
            </a:endParaRPr>
          </a:p>
          <a:p>
            <a:pPr marL="0" marR="0" lvl="0" indent="0" algn="ctr" defTabSz="913916" eaLnBrk="1" fontAlgn="base" latinLnBrk="0" hangingPunct="1">
              <a:lnSpc>
                <a:spcPct val="100000"/>
              </a:lnSpc>
              <a:spcBef>
                <a:spcPct val="0"/>
              </a:spcBef>
              <a:spcAft>
                <a:spcPct val="0"/>
              </a:spcAft>
              <a:buClrTx/>
              <a:buSzTx/>
              <a:buFontTx/>
              <a:buNone/>
              <a:tabLst/>
              <a:defRPr/>
            </a:pPr>
            <a:endParaRPr kumimoji="0" lang="fr-FR" sz="2450" b="1" i="0" u="none" strike="noStrike" kern="0" cap="none" spc="0" normalizeH="0" baseline="0" noProof="0" dirty="0" smtClean="0">
              <a:ln>
                <a:noFill/>
              </a:ln>
              <a:solidFill>
                <a:prstClr val="white"/>
              </a:solidFill>
              <a:effectLst/>
              <a:uLnTx/>
              <a:uFillTx/>
              <a:latin typeface="Arial"/>
              <a:ea typeface="+mn-ea"/>
              <a:cs typeface="+mn-cs"/>
            </a:endParaRPr>
          </a:p>
          <a:p>
            <a:pPr marL="0" marR="0" lvl="0" indent="0" algn="ctr" defTabSz="913916" eaLnBrk="1" fontAlgn="base" latinLnBrk="0" hangingPunct="1">
              <a:lnSpc>
                <a:spcPct val="100000"/>
              </a:lnSpc>
              <a:spcBef>
                <a:spcPct val="0"/>
              </a:spcBef>
              <a:spcAft>
                <a:spcPct val="0"/>
              </a:spcAft>
              <a:buClrTx/>
              <a:buSzTx/>
              <a:buFontTx/>
              <a:buNone/>
              <a:tabLst/>
              <a:defRPr/>
            </a:pPr>
            <a:r>
              <a:rPr kumimoji="0" lang="fr-FR" sz="2450" b="1" i="0" u="none" strike="noStrike" kern="0" cap="none" spc="0" normalizeH="0" baseline="0" noProof="0" dirty="0" smtClean="0">
                <a:ln>
                  <a:noFill/>
                </a:ln>
                <a:solidFill>
                  <a:prstClr val="white"/>
                </a:solidFill>
                <a:effectLst/>
                <a:uLnTx/>
                <a:uFillTx/>
                <a:latin typeface="Arial"/>
                <a:ea typeface="+mn-ea"/>
                <a:cs typeface="+mn-cs"/>
              </a:rPr>
              <a:t>DB</a:t>
            </a:r>
            <a:r>
              <a:rPr kumimoji="0" lang="fr-FR" sz="2450" b="1" i="0" u="none" strike="noStrike" kern="0" cap="none" spc="0" normalizeH="0" baseline="-25000" noProof="0" dirty="0" smtClean="0">
                <a:ln>
                  <a:noFill/>
                </a:ln>
                <a:solidFill>
                  <a:prstClr val="white"/>
                </a:solidFill>
                <a:effectLst/>
                <a:uLnTx/>
                <a:uFillTx/>
                <a:latin typeface="Arial"/>
                <a:ea typeface="+mn-ea"/>
                <a:cs typeface="+mn-cs"/>
              </a:rPr>
              <a:t>4</a:t>
            </a:r>
          </a:p>
          <a:p>
            <a:pPr marL="0" marR="0" lvl="0" indent="0" algn="ctr" defTabSz="913916" eaLnBrk="1" fontAlgn="base" latinLnBrk="0" hangingPunct="1">
              <a:lnSpc>
                <a:spcPct val="100000"/>
              </a:lnSpc>
              <a:spcBef>
                <a:spcPct val="0"/>
              </a:spcBef>
              <a:spcAft>
                <a:spcPct val="0"/>
              </a:spcAft>
              <a:buClrTx/>
              <a:buSzTx/>
              <a:buFontTx/>
              <a:buNone/>
              <a:tabLst/>
              <a:defRPr/>
            </a:pPr>
            <a:r>
              <a:rPr kumimoji="0" lang="fr-FR" sz="1960" b="1" i="0" u="none" strike="noStrike" kern="0" cap="none" spc="0" normalizeH="0" baseline="-25000" noProof="0" dirty="0" smtClean="0">
                <a:ln>
                  <a:noFill/>
                </a:ln>
                <a:solidFill>
                  <a:prstClr val="white"/>
                </a:solidFill>
                <a:effectLst/>
                <a:uLnTx/>
                <a:uFillTx/>
                <a:latin typeface="Arial"/>
                <a:ea typeface="+mn-ea"/>
                <a:cs typeface="+mn-cs"/>
              </a:rPr>
              <a:t>[300-400)</a:t>
            </a:r>
            <a:endParaRPr kumimoji="0" lang="fr-FR" sz="2450" b="1" i="0" u="none" strike="noStrike" kern="0" cap="none" spc="0" normalizeH="0" baseline="-25000" noProof="0" dirty="0" smtClean="0">
              <a:ln>
                <a:noFill/>
              </a:ln>
              <a:solidFill>
                <a:prstClr val="white"/>
              </a:solidFill>
              <a:effectLst/>
              <a:uLnTx/>
              <a:uFillTx/>
              <a:latin typeface="Arial"/>
              <a:ea typeface="+mn-ea"/>
              <a:cs typeface="+mn-cs"/>
            </a:endParaRPr>
          </a:p>
          <a:p>
            <a:pPr marL="0" marR="0" lvl="0" indent="0" algn="ctr" defTabSz="913916" eaLnBrk="1" fontAlgn="base" latinLnBrk="0" hangingPunct="1">
              <a:lnSpc>
                <a:spcPct val="100000"/>
              </a:lnSpc>
              <a:spcBef>
                <a:spcPct val="0"/>
              </a:spcBef>
              <a:spcAft>
                <a:spcPct val="0"/>
              </a:spcAft>
              <a:buClrTx/>
              <a:buSzTx/>
              <a:buFontTx/>
              <a:buNone/>
              <a:tabLst/>
              <a:defRPr/>
            </a:pPr>
            <a:endParaRPr kumimoji="0" lang="fr-FR" sz="2450" b="0" i="0" u="none" strike="noStrike" kern="0" cap="none" spc="0" normalizeH="0" baseline="-25000" noProof="0" dirty="0" smtClean="0">
              <a:ln>
                <a:noFill/>
              </a:ln>
              <a:solidFill>
                <a:prstClr val="white"/>
              </a:solidFill>
              <a:effectLst/>
              <a:uLnTx/>
              <a:uFillTx/>
              <a:latin typeface="Arial"/>
              <a:ea typeface="+mn-ea"/>
              <a:cs typeface="+mn-cs"/>
            </a:endParaRPr>
          </a:p>
          <a:p>
            <a:pPr marL="0" marR="0" lvl="0" indent="0" algn="ctr" defTabSz="913916" eaLnBrk="1" fontAlgn="base" latinLnBrk="0" hangingPunct="1">
              <a:lnSpc>
                <a:spcPct val="100000"/>
              </a:lnSpc>
              <a:spcBef>
                <a:spcPct val="0"/>
              </a:spcBef>
              <a:spcAft>
                <a:spcPct val="0"/>
              </a:spcAft>
              <a:buClrTx/>
              <a:buSzTx/>
              <a:buFontTx/>
              <a:buNone/>
              <a:tabLst/>
              <a:defRPr/>
            </a:pPr>
            <a:endParaRPr kumimoji="0" lang="fr-FR" sz="2450" b="0" i="0" u="none" strike="noStrike" kern="0" cap="none" spc="0" normalizeH="0" baseline="-25000" noProof="0" dirty="0" smtClean="0">
              <a:ln>
                <a:noFill/>
              </a:ln>
              <a:solidFill>
                <a:prstClr val="white"/>
              </a:solidFill>
              <a:effectLst/>
              <a:uLnTx/>
              <a:uFillTx/>
              <a:latin typeface="Arial"/>
              <a:ea typeface="+mn-ea"/>
              <a:cs typeface="+mn-cs"/>
            </a:endParaRPr>
          </a:p>
          <a:p>
            <a:pPr marL="0" marR="0" lvl="0" indent="0" algn="ctr" defTabSz="913916" eaLnBrk="1" fontAlgn="base" latinLnBrk="0" hangingPunct="1">
              <a:lnSpc>
                <a:spcPct val="100000"/>
              </a:lnSpc>
              <a:spcBef>
                <a:spcPct val="0"/>
              </a:spcBef>
              <a:spcAft>
                <a:spcPct val="0"/>
              </a:spcAft>
              <a:buClrTx/>
              <a:buSzTx/>
              <a:buFontTx/>
              <a:buNone/>
              <a:tabLst/>
              <a:defRPr/>
            </a:pPr>
            <a:endParaRPr kumimoji="0" lang="fr-FR" sz="2450" b="0" i="0" u="none" strike="noStrike" kern="0" cap="none" spc="0" normalizeH="0" baseline="-25000" noProof="0" dirty="0" smtClean="0">
              <a:ln>
                <a:noFill/>
              </a:ln>
              <a:solidFill>
                <a:prstClr val="white"/>
              </a:solidFill>
              <a:effectLst/>
              <a:uLnTx/>
              <a:uFillTx/>
              <a:latin typeface="Arial"/>
              <a:ea typeface="+mn-ea"/>
              <a:cs typeface="+mn-cs"/>
            </a:endParaRPr>
          </a:p>
          <a:p>
            <a:pPr marL="0" marR="0" lvl="0" indent="0" algn="ctr" defTabSz="913916" eaLnBrk="1" fontAlgn="base" latinLnBrk="0" hangingPunct="1">
              <a:lnSpc>
                <a:spcPct val="100000"/>
              </a:lnSpc>
              <a:spcBef>
                <a:spcPct val="0"/>
              </a:spcBef>
              <a:spcAft>
                <a:spcPct val="0"/>
              </a:spcAft>
              <a:buClrTx/>
              <a:buSzTx/>
              <a:buFontTx/>
              <a:buNone/>
              <a:tabLst/>
              <a:defRPr/>
            </a:pPr>
            <a:endParaRPr kumimoji="0" lang="fr-FR" sz="2450" b="0" i="0" u="none" strike="noStrike" kern="0" cap="none" spc="0" normalizeH="0" baseline="-25000" noProof="0" dirty="0" smtClean="0">
              <a:ln>
                <a:noFill/>
              </a:ln>
              <a:solidFill>
                <a:prstClr val="white"/>
              </a:solidFill>
              <a:effectLst/>
              <a:uLnTx/>
              <a:uFillTx/>
              <a:latin typeface="Arial"/>
              <a:ea typeface="+mn-ea"/>
              <a:cs typeface="+mn-cs"/>
            </a:endParaRPr>
          </a:p>
        </p:txBody>
      </p:sp>
      <p:sp>
        <p:nvSpPr>
          <p:cNvPr id="52" name="Can 51"/>
          <p:cNvSpPr/>
          <p:nvPr/>
        </p:nvSpPr>
        <p:spPr bwMode="auto">
          <a:xfrm>
            <a:off x="6304950" y="5511360"/>
            <a:ext cx="1085872" cy="1097335"/>
          </a:xfrm>
          <a:prstGeom prst="can">
            <a:avLst/>
          </a:prstGeom>
          <a:solidFill>
            <a:srgbClr val="0072C6"/>
          </a:solidFill>
          <a:ln w="28575" cap="flat" cmpd="sng" algn="ctr">
            <a:solidFill>
              <a:sysClr val="window" lastClr="FFFFFF"/>
            </a:solidFill>
            <a:prstDash val="solid"/>
            <a:headEnd type="none" w="med" len="med"/>
            <a:tailEnd type="none" w="med" len="med"/>
          </a:ln>
          <a:effectLst/>
        </p:spPr>
        <p:txBody>
          <a:bodyPr vert="horz" wrap="square" lIns="0" tIns="45708" rIns="0" bIns="45708" numCol="1" rtlCol="0" anchor="ctr" anchorCtr="0" compatLnSpc="1">
            <a:prstTxWarp prst="textNoShape">
              <a:avLst/>
            </a:prstTxWarp>
          </a:bodyPr>
          <a:lstStyle/>
          <a:p>
            <a:pPr marL="0" marR="0" lvl="0" indent="0" algn="ctr" defTabSz="913916" eaLnBrk="1" fontAlgn="base" latinLnBrk="0" hangingPunct="1">
              <a:lnSpc>
                <a:spcPct val="100000"/>
              </a:lnSpc>
              <a:spcBef>
                <a:spcPct val="0"/>
              </a:spcBef>
              <a:spcAft>
                <a:spcPct val="0"/>
              </a:spcAft>
              <a:buClrTx/>
              <a:buSzTx/>
              <a:buFontTx/>
              <a:buNone/>
              <a:tabLst/>
              <a:defRPr/>
            </a:pPr>
            <a:endParaRPr kumimoji="0" lang="fr-FR" sz="2450" b="0" i="0" u="none" strike="noStrike" kern="0" cap="none" spc="0" normalizeH="0" baseline="0" noProof="0" dirty="0" smtClean="0">
              <a:ln>
                <a:noFill/>
              </a:ln>
              <a:solidFill>
                <a:prstClr val="white"/>
              </a:solidFill>
              <a:effectLst/>
              <a:uLnTx/>
              <a:uFillTx/>
              <a:latin typeface="Arial"/>
              <a:ea typeface="+mn-ea"/>
              <a:cs typeface="+mn-cs"/>
            </a:endParaRPr>
          </a:p>
          <a:p>
            <a:pPr marL="0" marR="0" lvl="0" indent="0" algn="ctr" defTabSz="913916" eaLnBrk="1" fontAlgn="base" latinLnBrk="0" hangingPunct="1">
              <a:lnSpc>
                <a:spcPct val="100000"/>
              </a:lnSpc>
              <a:spcBef>
                <a:spcPct val="0"/>
              </a:spcBef>
              <a:spcAft>
                <a:spcPct val="0"/>
              </a:spcAft>
              <a:buClrTx/>
              <a:buSzTx/>
              <a:buFontTx/>
              <a:buNone/>
              <a:tabLst/>
              <a:defRPr/>
            </a:pPr>
            <a:endParaRPr kumimoji="0" lang="fr-FR" sz="2450" b="0" i="0" u="none" strike="noStrike" kern="0" cap="none" spc="0" normalizeH="0" baseline="0" noProof="0" dirty="0" smtClean="0">
              <a:ln>
                <a:noFill/>
              </a:ln>
              <a:solidFill>
                <a:prstClr val="white"/>
              </a:solidFill>
              <a:effectLst/>
              <a:uLnTx/>
              <a:uFillTx/>
              <a:latin typeface="Arial"/>
              <a:ea typeface="+mn-ea"/>
              <a:cs typeface="+mn-cs"/>
            </a:endParaRPr>
          </a:p>
          <a:p>
            <a:pPr marL="0" marR="0" lvl="0" indent="0" algn="ctr" defTabSz="913916" eaLnBrk="1" fontAlgn="base" latinLnBrk="0" hangingPunct="1">
              <a:lnSpc>
                <a:spcPct val="100000"/>
              </a:lnSpc>
              <a:spcBef>
                <a:spcPct val="0"/>
              </a:spcBef>
              <a:spcAft>
                <a:spcPct val="0"/>
              </a:spcAft>
              <a:buClrTx/>
              <a:buSzTx/>
              <a:buFontTx/>
              <a:buNone/>
              <a:tabLst/>
              <a:defRPr/>
            </a:pPr>
            <a:endParaRPr kumimoji="0" lang="fr-FR" sz="2450" b="1" i="0" u="none" strike="noStrike" kern="0" cap="none" spc="0" normalizeH="0" baseline="0" noProof="0" dirty="0" smtClean="0">
              <a:ln>
                <a:noFill/>
              </a:ln>
              <a:solidFill>
                <a:prstClr val="white"/>
              </a:solidFill>
              <a:effectLst/>
              <a:uLnTx/>
              <a:uFillTx/>
              <a:latin typeface="Arial"/>
              <a:ea typeface="+mn-ea"/>
              <a:cs typeface="+mn-cs"/>
            </a:endParaRPr>
          </a:p>
          <a:p>
            <a:pPr marL="0" marR="0" lvl="0" indent="0" algn="ctr" defTabSz="913916" eaLnBrk="1" fontAlgn="base" latinLnBrk="0" hangingPunct="1">
              <a:lnSpc>
                <a:spcPct val="100000"/>
              </a:lnSpc>
              <a:spcBef>
                <a:spcPct val="0"/>
              </a:spcBef>
              <a:spcAft>
                <a:spcPct val="0"/>
              </a:spcAft>
              <a:buClrTx/>
              <a:buSzTx/>
              <a:buFontTx/>
              <a:buNone/>
              <a:tabLst/>
              <a:defRPr/>
            </a:pPr>
            <a:r>
              <a:rPr kumimoji="0" lang="fr-FR" sz="2450" b="1" i="0" u="none" strike="noStrike" kern="0" cap="none" spc="0" normalizeH="0" baseline="0" noProof="0" dirty="0" smtClean="0">
                <a:ln>
                  <a:noFill/>
                </a:ln>
                <a:solidFill>
                  <a:prstClr val="white"/>
                </a:solidFill>
                <a:effectLst/>
                <a:uLnTx/>
                <a:uFillTx/>
                <a:latin typeface="Arial"/>
                <a:ea typeface="+mn-ea"/>
                <a:cs typeface="+mn-cs"/>
              </a:rPr>
              <a:t>DB</a:t>
            </a:r>
            <a:r>
              <a:rPr kumimoji="0" lang="fr-FR" sz="2450" b="1" i="0" u="none" strike="noStrike" kern="0" cap="none" spc="0" normalizeH="0" baseline="-25000" noProof="0" dirty="0" smtClean="0">
                <a:ln>
                  <a:noFill/>
                </a:ln>
                <a:solidFill>
                  <a:prstClr val="white"/>
                </a:solidFill>
                <a:effectLst/>
                <a:uLnTx/>
                <a:uFillTx/>
                <a:latin typeface="Arial"/>
                <a:ea typeface="+mn-ea"/>
                <a:cs typeface="+mn-cs"/>
              </a:rPr>
              <a:t>5</a:t>
            </a:r>
          </a:p>
          <a:p>
            <a:pPr marL="0" marR="0" lvl="0" indent="0" algn="ctr" defTabSz="913916" eaLnBrk="1" fontAlgn="base" latinLnBrk="0" hangingPunct="1">
              <a:lnSpc>
                <a:spcPct val="100000"/>
              </a:lnSpc>
              <a:spcBef>
                <a:spcPct val="0"/>
              </a:spcBef>
              <a:spcAft>
                <a:spcPct val="0"/>
              </a:spcAft>
              <a:buClrTx/>
              <a:buSzTx/>
              <a:buFontTx/>
              <a:buNone/>
              <a:tabLst/>
              <a:defRPr/>
            </a:pPr>
            <a:r>
              <a:rPr kumimoji="0" lang="fr-FR" sz="1960" b="1" i="0" u="none" strike="noStrike" kern="0" cap="none" spc="0" normalizeH="0" baseline="-25000" noProof="0" dirty="0" smtClean="0">
                <a:ln>
                  <a:noFill/>
                </a:ln>
                <a:solidFill>
                  <a:prstClr val="white"/>
                </a:solidFill>
                <a:effectLst/>
                <a:uLnTx/>
                <a:uFillTx/>
                <a:latin typeface="Arial"/>
                <a:ea typeface="+mn-ea"/>
                <a:cs typeface="+mn-cs"/>
              </a:rPr>
              <a:t>[400-500)</a:t>
            </a:r>
            <a:endParaRPr kumimoji="0" lang="fr-FR" sz="2450" b="1" i="0" u="none" strike="noStrike" kern="0" cap="none" spc="0" normalizeH="0" baseline="-25000" noProof="0" dirty="0" smtClean="0">
              <a:ln>
                <a:noFill/>
              </a:ln>
              <a:solidFill>
                <a:prstClr val="white"/>
              </a:solidFill>
              <a:effectLst/>
              <a:uLnTx/>
              <a:uFillTx/>
              <a:latin typeface="Arial"/>
              <a:ea typeface="+mn-ea"/>
              <a:cs typeface="+mn-cs"/>
            </a:endParaRPr>
          </a:p>
          <a:p>
            <a:pPr marL="0" marR="0" lvl="0" indent="0" algn="ctr" defTabSz="913916" eaLnBrk="1" fontAlgn="base" latinLnBrk="0" hangingPunct="1">
              <a:lnSpc>
                <a:spcPct val="100000"/>
              </a:lnSpc>
              <a:spcBef>
                <a:spcPct val="0"/>
              </a:spcBef>
              <a:spcAft>
                <a:spcPct val="0"/>
              </a:spcAft>
              <a:buClrTx/>
              <a:buSzTx/>
              <a:buFontTx/>
              <a:buNone/>
              <a:tabLst/>
              <a:defRPr/>
            </a:pPr>
            <a:endParaRPr kumimoji="0" lang="fr-FR" sz="2450" b="0" i="0" u="none" strike="noStrike" kern="0" cap="none" spc="0" normalizeH="0" baseline="-25000" noProof="0" dirty="0" smtClean="0">
              <a:ln>
                <a:noFill/>
              </a:ln>
              <a:solidFill>
                <a:prstClr val="white"/>
              </a:solidFill>
              <a:effectLst/>
              <a:uLnTx/>
              <a:uFillTx/>
              <a:latin typeface="Arial"/>
              <a:ea typeface="+mn-ea"/>
              <a:cs typeface="+mn-cs"/>
            </a:endParaRPr>
          </a:p>
          <a:p>
            <a:pPr marL="0" marR="0" lvl="0" indent="0" algn="ctr" defTabSz="913916" eaLnBrk="1" fontAlgn="base" latinLnBrk="0" hangingPunct="1">
              <a:lnSpc>
                <a:spcPct val="100000"/>
              </a:lnSpc>
              <a:spcBef>
                <a:spcPct val="0"/>
              </a:spcBef>
              <a:spcAft>
                <a:spcPct val="0"/>
              </a:spcAft>
              <a:buClrTx/>
              <a:buSzTx/>
              <a:buFontTx/>
              <a:buNone/>
              <a:tabLst/>
              <a:defRPr/>
            </a:pPr>
            <a:endParaRPr kumimoji="0" lang="fr-FR" sz="2450" b="0" i="0" u="none" strike="noStrike" kern="0" cap="none" spc="0" normalizeH="0" baseline="-25000" noProof="0" dirty="0" smtClean="0">
              <a:ln>
                <a:noFill/>
              </a:ln>
              <a:solidFill>
                <a:prstClr val="white"/>
              </a:solidFill>
              <a:effectLst/>
              <a:uLnTx/>
              <a:uFillTx/>
              <a:latin typeface="Arial"/>
              <a:ea typeface="+mn-ea"/>
              <a:cs typeface="+mn-cs"/>
            </a:endParaRPr>
          </a:p>
          <a:p>
            <a:pPr marL="0" marR="0" lvl="0" indent="0" algn="ctr" defTabSz="913916" eaLnBrk="1" fontAlgn="base" latinLnBrk="0" hangingPunct="1">
              <a:lnSpc>
                <a:spcPct val="100000"/>
              </a:lnSpc>
              <a:spcBef>
                <a:spcPct val="0"/>
              </a:spcBef>
              <a:spcAft>
                <a:spcPct val="0"/>
              </a:spcAft>
              <a:buClrTx/>
              <a:buSzTx/>
              <a:buFontTx/>
              <a:buNone/>
              <a:tabLst/>
              <a:defRPr/>
            </a:pPr>
            <a:endParaRPr kumimoji="0" lang="fr-FR" sz="2450" b="0" i="0" u="none" strike="noStrike" kern="0" cap="none" spc="0" normalizeH="0" baseline="-25000" noProof="0" dirty="0" smtClean="0">
              <a:ln>
                <a:noFill/>
              </a:ln>
              <a:solidFill>
                <a:prstClr val="white"/>
              </a:solidFill>
              <a:effectLst/>
              <a:uLnTx/>
              <a:uFillTx/>
              <a:latin typeface="Arial"/>
              <a:ea typeface="+mn-ea"/>
              <a:cs typeface="+mn-cs"/>
            </a:endParaRPr>
          </a:p>
          <a:p>
            <a:pPr marL="0" marR="0" lvl="0" indent="0" algn="ctr" defTabSz="913916" eaLnBrk="1" fontAlgn="base" latinLnBrk="0" hangingPunct="1">
              <a:lnSpc>
                <a:spcPct val="100000"/>
              </a:lnSpc>
              <a:spcBef>
                <a:spcPct val="0"/>
              </a:spcBef>
              <a:spcAft>
                <a:spcPct val="0"/>
              </a:spcAft>
              <a:buClrTx/>
              <a:buSzTx/>
              <a:buFontTx/>
              <a:buNone/>
              <a:tabLst/>
              <a:defRPr/>
            </a:pPr>
            <a:endParaRPr kumimoji="0" lang="fr-FR" sz="2450" b="0" i="0" u="none" strike="noStrike" kern="0" cap="none" spc="0" normalizeH="0" baseline="-25000" noProof="0" dirty="0" smtClean="0">
              <a:ln>
                <a:noFill/>
              </a:ln>
              <a:solidFill>
                <a:prstClr val="white"/>
              </a:solidFill>
              <a:effectLst/>
              <a:uLnTx/>
              <a:uFillTx/>
              <a:latin typeface="Arial"/>
              <a:ea typeface="+mn-ea"/>
              <a:cs typeface="+mn-cs"/>
            </a:endParaRPr>
          </a:p>
        </p:txBody>
      </p:sp>
      <p:sp>
        <p:nvSpPr>
          <p:cNvPr id="53" name="Can 52"/>
          <p:cNvSpPr/>
          <p:nvPr/>
        </p:nvSpPr>
        <p:spPr bwMode="auto">
          <a:xfrm>
            <a:off x="7540188" y="5529284"/>
            <a:ext cx="1085872" cy="1097335"/>
          </a:xfrm>
          <a:prstGeom prst="can">
            <a:avLst/>
          </a:prstGeom>
          <a:solidFill>
            <a:srgbClr val="0072C6"/>
          </a:solidFill>
          <a:ln w="28575" cap="flat" cmpd="sng" algn="ctr">
            <a:solidFill>
              <a:sysClr val="window" lastClr="FFFFFF"/>
            </a:solidFill>
            <a:prstDash val="solid"/>
            <a:headEnd type="none" w="med" len="med"/>
            <a:tailEnd type="none" w="med" len="med"/>
          </a:ln>
          <a:effectLst/>
        </p:spPr>
        <p:txBody>
          <a:bodyPr vert="horz" wrap="square" lIns="0" tIns="45708" rIns="0" bIns="45708" numCol="1" rtlCol="0" anchor="ctr" anchorCtr="0" compatLnSpc="1">
            <a:prstTxWarp prst="textNoShape">
              <a:avLst/>
            </a:prstTxWarp>
          </a:bodyPr>
          <a:lstStyle/>
          <a:p>
            <a:pPr marL="0" marR="0" lvl="0" indent="0" algn="ctr" defTabSz="913916" eaLnBrk="1" fontAlgn="base" latinLnBrk="0" hangingPunct="1">
              <a:lnSpc>
                <a:spcPct val="100000"/>
              </a:lnSpc>
              <a:spcBef>
                <a:spcPct val="0"/>
              </a:spcBef>
              <a:spcAft>
                <a:spcPct val="0"/>
              </a:spcAft>
              <a:buClrTx/>
              <a:buSzTx/>
              <a:buFontTx/>
              <a:buNone/>
              <a:tabLst/>
              <a:defRPr/>
            </a:pPr>
            <a:endParaRPr kumimoji="0" lang="fr-FR" sz="2450" b="0" i="0" u="none" strike="noStrike" kern="0" cap="none" spc="0" normalizeH="0" baseline="0" noProof="0" dirty="0" smtClean="0">
              <a:ln>
                <a:noFill/>
              </a:ln>
              <a:solidFill>
                <a:prstClr val="white"/>
              </a:solidFill>
              <a:effectLst/>
              <a:uLnTx/>
              <a:uFillTx/>
              <a:latin typeface="Arial"/>
              <a:ea typeface="+mn-ea"/>
              <a:cs typeface="+mn-cs"/>
            </a:endParaRPr>
          </a:p>
          <a:p>
            <a:pPr marL="0" marR="0" lvl="0" indent="0" algn="ctr" defTabSz="913916" eaLnBrk="1" fontAlgn="base" latinLnBrk="0" hangingPunct="1">
              <a:lnSpc>
                <a:spcPct val="100000"/>
              </a:lnSpc>
              <a:spcBef>
                <a:spcPct val="0"/>
              </a:spcBef>
              <a:spcAft>
                <a:spcPct val="0"/>
              </a:spcAft>
              <a:buClrTx/>
              <a:buSzTx/>
              <a:buFontTx/>
              <a:buNone/>
              <a:tabLst/>
              <a:defRPr/>
            </a:pPr>
            <a:endParaRPr kumimoji="0" lang="fr-FR" sz="2450" b="0" i="0" u="none" strike="noStrike" kern="0" cap="none" spc="0" normalizeH="0" baseline="0" noProof="0" dirty="0" smtClean="0">
              <a:ln>
                <a:noFill/>
              </a:ln>
              <a:solidFill>
                <a:prstClr val="white"/>
              </a:solidFill>
              <a:effectLst/>
              <a:uLnTx/>
              <a:uFillTx/>
              <a:latin typeface="Arial"/>
              <a:ea typeface="+mn-ea"/>
              <a:cs typeface="+mn-cs"/>
            </a:endParaRPr>
          </a:p>
          <a:p>
            <a:pPr marL="0" marR="0" lvl="0" indent="0" algn="ctr" defTabSz="913916" eaLnBrk="1" fontAlgn="base" latinLnBrk="0" hangingPunct="1">
              <a:lnSpc>
                <a:spcPct val="100000"/>
              </a:lnSpc>
              <a:spcBef>
                <a:spcPct val="0"/>
              </a:spcBef>
              <a:spcAft>
                <a:spcPct val="0"/>
              </a:spcAft>
              <a:buClrTx/>
              <a:buSzTx/>
              <a:buFontTx/>
              <a:buNone/>
              <a:tabLst/>
              <a:defRPr/>
            </a:pPr>
            <a:endParaRPr kumimoji="0" lang="fr-FR" sz="2450" b="1" i="0" u="none" strike="noStrike" kern="0" cap="none" spc="0" normalizeH="0" baseline="0" noProof="0" dirty="0" smtClean="0">
              <a:ln>
                <a:noFill/>
              </a:ln>
              <a:solidFill>
                <a:prstClr val="white"/>
              </a:solidFill>
              <a:effectLst/>
              <a:uLnTx/>
              <a:uFillTx/>
              <a:latin typeface="Arial"/>
              <a:ea typeface="+mn-ea"/>
              <a:cs typeface="+mn-cs"/>
            </a:endParaRPr>
          </a:p>
          <a:p>
            <a:pPr marL="0" marR="0" lvl="0" indent="0" algn="ctr" defTabSz="913916" eaLnBrk="1" fontAlgn="base" latinLnBrk="0" hangingPunct="1">
              <a:lnSpc>
                <a:spcPct val="100000"/>
              </a:lnSpc>
              <a:spcBef>
                <a:spcPct val="0"/>
              </a:spcBef>
              <a:spcAft>
                <a:spcPct val="0"/>
              </a:spcAft>
              <a:buClrTx/>
              <a:buSzTx/>
              <a:buFontTx/>
              <a:buNone/>
              <a:tabLst/>
              <a:defRPr/>
            </a:pPr>
            <a:r>
              <a:rPr kumimoji="0" lang="fr-FR" sz="2450" b="1" i="0" u="none" strike="noStrike" kern="0" cap="none" spc="0" normalizeH="0" baseline="0" noProof="0" dirty="0" smtClean="0">
                <a:ln>
                  <a:noFill/>
                </a:ln>
                <a:solidFill>
                  <a:prstClr val="white"/>
                </a:solidFill>
                <a:effectLst/>
                <a:uLnTx/>
                <a:uFillTx/>
                <a:latin typeface="Arial"/>
                <a:ea typeface="+mn-ea"/>
                <a:cs typeface="+mn-cs"/>
              </a:rPr>
              <a:t>DB</a:t>
            </a:r>
            <a:r>
              <a:rPr kumimoji="0" lang="fr-FR" sz="2450" b="1" i="0" u="none" strike="noStrike" kern="0" cap="none" spc="0" normalizeH="0" baseline="-25000" noProof="0" dirty="0" smtClean="0">
                <a:ln>
                  <a:noFill/>
                </a:ln>
                <a:solidFill>
                  <a:prstClr val="white"/>
                </a:solidFill>
                <a:effectLst/>
                <a:uLnTx/>
                <a:uFillTx/>
                <a:latin typeface="Arial"/>
                <a:ea typeface="+mn-ea"/>
                <a:cs typeface="+mn-cs"/>
              </a:rPr>
              <a:t>6</a:t>
            </a:r>
          </a:p>
          <a:p>
            <a:pPr marL="0" marR="0" lvl="0" indent="0" algn="ctr" defTabSz="913916" eaLnBrk="1" fontAlgn="base" latinLnBrk="0" hangingPunct="1">
              <a:lnSpc>
                <a:spcPct val="100000"/>
              </a:lnSpc>
              <a:spcBef>
                <a:spcPct val="0"/>
              </a:spcBef>
              <a:spcAft>
                <a:spcPct val="0"/>
              </a:spcAft>
              <a:buClrTx/>
              <a:buSzTx/>
              <a:buFontTx/>
              <a:buNone/>
              <a:tabLst/>
              <a:defRPr/>
            </a:pPr>
            <a:r>
              <a:rPr kumimoji="0" lang="fr-FR" sz="1960" b="1" i="0" u="none" strike="noStrike" kern="0" cap="none" spc="0" normalizeH="0" baseline="-25000" noProof="0" dirty="0" smtClean="0">
                <a:ln>
                  <a:noFill/>
                </a:ln>
                <a:solidFill>
                  <a:prstClr val="white"/>
                </a:solidFill>
                <a:effectLst/>
                <a:uLnTx/>
                <a:uFillTx/>
                <a:latin typeface="Arial"/>
                <a:ea typeface="+mn-ea"/>
                <a:cs typeface="+mn-cs"/>
              </a:rPr>
              <a:t>[500-600)</a:t>
            </a:r>
            <a:endParaRPr kumimoji="0" lang="fr-FR" sz="2450" b="1" i="0" u="none" strike="noStrike" kern="0" cap="none" spc="0" normalizeH="0" baseline="-25000" noProof="0" dirty="0" smtClean="0">
              <a:ln>
                <a:noFill/>
              </a:ln>
              <a:solidFill>
                <a:prstClr val="white"/>
              </a:solidFill>
              <a:effectLst/>
              <a:uLnTx/>
              <a:uFillTx/>
              <a:latin typeface="Arial"/>
              <a:ea typeface="+mn-ea"/>
              <a:cs typeface="+mn-cs"/>
            </a:endParaRPr>
          </a:p>
          <a:p>
            <a:pPr marL="0" marR="0" lvl="0" indent="0" algn="ctr" defTabSz="913916" eaLnBrk="1" fontAlgn="base" latinLnBrk="0" hangingPunct="1">
              <a:lnSpc>
                <a:spcPct val="100000"/>
              </a:lnSpc>
              <a:spcBef>
                <a:spcPct val="0"/>
              </a:spcBef>
              <a:spcAft>
                <a:spcPct val="0"/>
              </a:spcAft>
              <a:buClrTx/>
              <a:buSzTx/>
              <a:buFontTx/>
              <a:buNone/>
              <a:tabLst/>
              <a:defRPr/>
            </a:pPr>
            <a:endParaRPr kumimoji="0" lang="fr-FR" sz="2450" b="0" i="0" u="none" strike="noStrike" kern="0" cap="none" spc="0" normalizeH="0" baseline="-25000" noProof="0" dirty="0" smtClean="0">
              <a:ln>
                <a:noFill/>
              </a:ln>
              <a:solidFill>
                <a:prstClr val="white"/>
              </a:solidFill>
              <a:effectLst/>
              <a:uLnTx/>
              <a:uFillTx/>
              <a:latin typeface="Arial"/>
              <a:ea typeface="+mn-ea"/>
              <a:cs typeface="+mn-cs"/>
            </a:endParaRPr>
          </a:p>
          <a:p>
            <a:pPr marL="0" marR="0" lvl="0" indent="0" algn="ctr" defTabSz="913916" eaLnBrk="1" fontAlgn="base" latinLnBrk="0" hangingPunct="1">
              <a:lnSpc>
                <a:spcPct val="100000"/>
              </a:lnSpc>
              <a:spcBef>
                <a:spcPct val="0"/>
              </a:spcBef>
              <a:spcAft>
                <a:spcPct val="0"/>
              </a:spcAft>
              <a:buClrTx/>
              <a:buSzTx/>
              <a:buFontTx/>
              <a:buNone/>
              <a:tabLst/>
              <a:defRPr/>
            </a:pPr>
            <a:endParaRPr kumimoji="0" lang="fr-FR" sz="2450" b="0" i="0" u="none" strike="noStrike" kern="0" cap="none" spc="0" normalizeH="0" baseline="-25000" noProof="0" dirty="0" smtClean="0">
              <a:ln>
                <a:noFill/>
              </a:ln>
              <a:solidFill>
                <a:prstClr val="white"/>
              </a:solidFill>
              <a:effectLst/>
              <a:uLnTx/>
              <a:uFillTx/>
              <a:latin typeface="Arial"/>
              <a:ea typeface="+mn-ea"/>
              <a:cs typeface="+mn-cs"/>
            </a:endParaRPr>
          </a:p>
          <a:p>
            <a:pPr marL="0" marR="0" lvl="0" indent="0" algn="ctr" defTabSz="913916" eaLnBrk="1" fontAlgn="base" latinLnBrk="0" hangingPunct="1">
              <a:lnSpc>
                <a:spcPct val="100000"/>
              </a:lnSpc>
              <a:spcBef>
                <a:spcPct val="0"/>
              </a:spcBef>
              <a:spcAft>
                <a:spcPct val="0"/>
              </a:spcAft>
              <a:buClrTx/>
              <a:buSzTx/>
              <a:buFontTx/>
              <a:buNone/>
              <a:tabLst/>
              <a:defRPr/>
            </a:pPr>
            <a:endParaRPr kumimoji="0" lang="fr-FR" sz="2450" b="0" i="0" u="none" strike="noStrike" kern="0" cap="none" spc="0" normalizeH="0" baseline="-25000" noProof="0" dirty="0" smtClean="0">
              <a:ln>
                <a:noFill/>
              </a:ln>
              <a:solidFill>
                <a:prstClr val="white"/>
              </a:solidFill>
              <a:effectLst/>
              <a:uLnTx/>
              <a:uFillTx/>
              <a:latin typeface="Arial"/>
              <a:ea typeface="+mn-ea"/>
              <a:cs typeface="+mn-cs"/>
            </a:endParaRPr>
          </a:p>
          <a:p>
            <a:pPr marL="0" marR="0" lvl="0" indent="0" algn="ctr" defTabSz="913916" eaLnBrk="1" fontAlgn="base" latinLnBrk="0" hangingPunct="1">
              <a:lnSpc>
                <a:spcPct val="100000"/>
              </a:lnSpc>
              <a:spcBef>
                <a:spcPct val="0"/>
              </a:spcBef>
              <a:spcAft>
                <a:spcPct val="0"/>
              </a:spcAft>
              <a:buClrTx/>
              <a:buSzTx/>
              <a:buFontTx/>
              <a:buNone/>
              <a:tabLst/>
              <a:defRPr/>
            </a:pPr>
            <a:endParaRPr kumimoji="0" lang="fr-FR" sz="2450" b="0" i="0" u="none" strike="noStrike" kern="0" cap="none" spc="0" normalizeH="0" baseline="-25000" noProof="0" dirty="0" smtClean="0">
              <a:ln>
                <a:noFill/>
              </a:ln>
              <a:solidFill>
                <a:prstClr val="white"/>
              </a:solidFill>
              <a:effectLst/>
              <a:uLnTx/>
              <a:uFillTx/>
              <a:latin typeface="Arial"/>
              <a:ea typeface="+mn-ea"/>
              <a:cs typeface="+mn-cs"/>
            </a:endParaRPr>
          </a:p>
        </p:txBody>
      </p:sp>
      <p:sp>
        <p:nvSpPr>
          <p:cNvPr id="54" name="Can 53"/>
          <p:cNvSpPr/>
          <p:nvPr/>
        </p:nvSpPr>
        <p:spPr bwMode="auto">
          <a:xfrm>
            <a:off x="9664105" y="5529283"/>
            <a:ext cx="1085872" cy="1097335"/>
          </a:xfrm>
          <a:prstGeom prst="can">
            <a:avLst/>
          </a:prstGeom>
          <a:solidFill>
            <a:srgbClr val="0072C6"/>
          </a:solidFill>
          <a:ln w="28575" cap="flat" cmpd="sng" algn="ctr">
            <a:solidFill>
              <a:sysClr val="window" lastClr="FFFFFF"/>
            </a:solidFill>
            <a:prstDash val="solid"/>
            <a:headEnd type="none" w="med" len="med"/>
            <a:tailEnd type="none" w="med" len="med"/>
          </a:ln>
          <a:effectLst/>
        </p:spPr>
        <p:txBody>
          <a:bodyPr vert="horz" wrap="square" lIns="0" tIns="45708" rIns="0" bIns="45708" numCol="1" rtlCol="0" anchor="ctr" anchorCtr="0" compatLnSpc="1">
            <a:prstTxWarp prst="textNoShape">
              <a:avLst/>
            </a:prstTxWarp>
          </a:bodyPr>
          <a:lstStyle/>
          <a:p>
            <a:pPr marL="0" marR="0" lvl="0" indent="0" algn="ctr" defTabSz="913916" eaLnBrk="1" fontAlgn="base" latinLnBrk="0" hangingPunct="1">
              <a:lnSpc>
                <a:spcPct val="100000"/>
              </a:lnSpc>
              <a:spcBef>
                <a:spcPct val="0"/>
              </a:spcBef>
              <a:spcAft>
                <a:spcPct val="0"/>
              </a:spcAft>
              <a:buClrTx/>
              <a:buSzTx/>
              <a:buFontTx/>
              <a:buNone/>
              <a:tabLst/>
              <a:defRPr/>
            </a:pPr>
            <a:endParaRPr kumimoji="0" lang="fr-FR" sz="2450" b="0" i="0" u="none" strike="noStrike" kern="0" cap="none" spc="0" normalizeH="0" baseline="0" noProof="0" dirty="0" smtClean="0">
              <a:ln>
                <a:noFill/>
              </a:ln>
              <a:solidFill>
                <a:prstClr val="white"/>
              </a:solidFill>
              <a:effectLst/>
              <a:uLnTx/>
              <a:uFillTx/>
              <a:latin typeface="Arial"/>
              <a:ea typeface="+mn-ea"/>
              <a:cs typeface="+mn-cs"/>
            </a:endParaRPr>
          </a:p>
          <a:p>
            <a:pPr marL="0" marR="0" lvl="0" indent="0" algn="ctr" defTabSz="913916" eaLnBrk="1" fontAlgn="base" latinLnBrk="0" hangingPunct="1">
              <a:lnSpc>
                <a:spcPct val="100000"/>
              </a:lnSpc>
              <a:spcBef>
                <a:spcPct val="0"/>
              </a:spcBef>
              <a:spcAft>
                <a:spcPct val="0"/>
              </a:spcAft>
              <a:buClrTx/>
              <a:buSzTx/>
              <a:buFontTx/>
              <a:buNone/>
              <a:tabLst/>
              <a:defRPr/>
            </a:pPr>
            <a:endParaRPr kumimoji="0" lang="fr-FR" sz="2450" b="0" i="0" u="none" strike="noStrike" kern="0" cap="none" spc="0" normalizeH="0" baseline="0" noProof="0" dirty="0" smtClean="0">
              <a:ln>
                <a:noFill/>
              </a:ln>
              <a:solidFill>
                <a:prstClr val="white"/>
              </a:solidFill>
              <a:effectLst/>
              <a:uLnTx/>
              <a:uFillTx/>
              <a:latin typeface="Arial"/>
              <a:ea typeface="+mn-ea"/>
              <a:cs typeface="+mn-cs"/>
            </a:endParaRPr>
          </a:p>
          <a:p>
            <a:pPr marL="0" marR="0" lvl="0" indent="0" algn="ctr" defTabSz="913916" eaLnBrk="1" fontAlgn="base" latinLnBrk="0" hangingPunct="1">
              <a:lnSpc>
                <a:spcPct val="100000"/>
              </a:lnSpc>
              <a:spcBef>
                <a:spcPct val="0"/>
              </a:spcBef>
              <a:spcAft>
                <a:spcPct val="0"/>
              </a:spcAft>
              <a:buClrTx/>
              <a:buSzTx/>
              <a:buFontTx/>
              <a:buNone/>
              <a:tabLst/>
              <a:defRPr/>
            </a:pPr>
            <a:endParaRPr kumimoji="0" lang="fr-FR" sz="2450" b="1" i="0" u="none" strike="noStrike" kern="0" cap="none" spc="0" normalizeH="0" baseline="0" noProof="0" dirty="0" smtClean="0">
              <a:ln>
                <a:noFill/>
              </a:ln>
              <a:solidFill>
                <a:prstClr val="white"/>
              </a:solidFill>
              <a:effectLst/>
              <a:uLnTx/>
              <a:uFillTx/>
              <a:latin typeface="Arial"/>
              <a:ea typeface="+mn-ea"/>
              <a:cs typeface="+mn-cs"/>
            </a:endParaRPr>
          </a:p>
          <a:p>
            <a:pPr marL="0" marR="0" lvl="0" indent="0" algn="ctr" defTabSz="913916" eaLnBrk="1" fontAlgn="base" latinLnBrk="0" hangingPunct="1">
              <a:lnSpc>
                <a:spcPct val="100000"/>
              </a:lnSpc>
              <a:spcBef>
                <a:spcPct val="0"/>
              </a:spcBef>
              <a:spcAft>
                <a:spcPct val="0"/>
              </a:spcAft>
              <a:buClrTx/>
              <a:buSzTx/>
              <a:buFontTx/>
              <a:buNone/>
              <a:tabLst/>
              <a:defRPr/>
            </a:pPr>
            <a:r>
              <a:rPr kumimoji="0" lang="fr-FR" sz="2450" b="1" i="0" u="none" strike="noStrike" kern="0" cap="none" spc="0" normalizeH="0" baseline="0" noProof="0" dirty="0" err="1" smtClean="0">
                <a:ln>
                  <a:noFill/>
                </a:ln>
                <a:solidFill>
                  <a:prstClr val="white"/>
                </a:solidFill>
                <a:effectLst/>
                <a:uLnTx/>
                <a:uFillTx/>
                <a:latin typeface="Arial"/>
                <a:ea typeface="+mn-ea"/>
                <a:cs typeface="+mn-cs"/>
              </a:rPr>
              <a:t>DB</a:t>
            </a:r>
            <a:r>
              <a:rPr kumimoji="0" lang="fr-FR" sz="2450" b="1" i="0" u="none" strike="noStrike" kern="0" cap="none" spc="0" normalizeH="0" baseline="-25000" noProof="0" dirty="0" err="1" smtClean="0">
                <a:ln>
                  <a:noFill/>
                </a:ln>
                <a:solidFill>
                  <a:prstClr val="white"/>
                </a:solidFill>
                <a:effectLst/>
                <a:uLnTx/>
                <a:uFillTx/>
                <a:latin typeface="Arial"/>
                <a:ea typeface="+mn-ea"/>
                <a:cs typeface="+mn-cs"/>
              </a:rPr>
              <a:t>n</a:t>
            </a:r>
            <a:endParaRPr kumimoji="0" lang="fr-FR" sz="2450" b="1" i="0" u="none" strike="noStrike" kern="0" cap="none" spc="0" normalizeH="0" baseline="-25000" noProof="0" dirty="0" smtClean="0">
              <a:ln>
                <a:noFill/>
              </a:ln>
              <a:solidFill>
                <a:prstClr val="white"/>
              </a:solidFill>
              <a:effectLst/>
              <a:uLnTx/>
              <a:uFillTx/>
              <a:latin typeface="Arial"/>
              <a:ea typeface="+mn-ea"/>
              <a:cs typeface="+mn-cs"/>
            </a:endParaRPr>
          </a:p>
          <a:p>
            <a:pPr marL="0" marR="0" lvl="0" indent="0" algn="ctr" defTabSz="913916" eaLnBrk="1" fontAlgn="base" latinLnBrk="0" hangingPunct="1">
              <a:lnSpc>
                <a:spcPct val="100000"/>
              </a:lnSpc>
              <a:spcBef>
                <a:spcPct val="0"/>
              </a:spcBef>
              <a:spcAft>
                <a:spcPct val="0"/>
              </a:spcAft>
              <a:buClrTx/>
              <a:buSzTx/>
              <a:buFontTx/>
              <a:buNone/>
              <a:tabLst/>
              <a:defRPr/>
            </a:pPr>
            <a:r>
              <a:rPr kumimoji="0" lang="fr-FR" sz="1960" b="1" i="0" u="none" strike="noStrike" kern="0" cap="none" spc="0" normalizeH="0" baseline="-25000" noProof="0" dirty="0" smtClean="0">
                <a:ln>
                  <a:noFill/>
                </a:ln>
                <a:solidFill>
                  <a:prstClr val="white"/>
                </a:solidFill>
                <a:effectLst/>
                <a:uLnTx/>
                <a:uFillTx/>
                <a:latin typeface="Arial"/>
                <a:ea typeface="+mn-ea"/>
                <a:cs typeface="+mn-cs"/>
              </a:rPr>
              <a:t>[n – n+100)</a:t>
            </a:r>
            <a:endParaRPr kumimoji="0" lang="fr-FR" sz="2450" b="1" i="0" u="none" strike="noStrike" kern="0" cap="none" spc="0" normalizeH="0" baseline="-25000" noProof="0" dirty="0" smtClean="0">
              <a:ln>
                <a:noFill/>
              </a:ln>
              <a:solidFill>
                <a:prstClr val="white"/>
              </a:solidFill>
              <a:effectLst/>
              <a:uLnTx/>
              <a:uFillTx/>
              <a:latin typeface="Arial"/>
              <a:ea typeface="+mn-ea"/>
              <a:cs typeface="+mn-cs"/>
            </a:endParaRPr>
          </a:p>
          <a:p>
            <a:pPr marL="0" marR="0" lvl="0" indent="0" algn="ctr" defTabSz="913916" eaLnBrk="1" fontAlgn="base" latinLnBrk="0" hangingPunct="1">
              <a:lnSpc>
                <a:spcPct val="100000"/>
              </a:lnSpc>
              <a:spcBef>
                <a:spcPct val="0"/>
              </a:spcBef>
              <a:spcAft>
                <a:spcPct val="0"/>
              </a:spcAft>
              <a:buClrTx/>
              <a:buSzTx/>
              <a:buFontTx/>
              <a:buNone/>
              <a:tabLst/>
              <a:defRPr/>
            </a:pPr>
            <a:endParaRPr kumimoji="0" lang="fr-FR" sz="2450" b="0" i="0" u="none" strike="noStrike" kern="0" cap="none" spc="0" normalizeH="0" baseline="-25000" noProof="0" dirty="0" smtClean="0">
              <a:ln>
                <a:noFill/>
              </a:ln>
              <a:solidFill>
                <a:prstClr val="white"/>
              </a:solidFill>
              <a:effectLst/>
              <a:uLnTx/>
              <a:uFillTx/>
              <a:latin typeface="Arial"/>
              <a:ea typeface="+mn-ea"/>
              <a:cs typeface="+mn-cs"/>
            </a:endParaRPr>
          </a:p>
          <a:p>
            <a:pPr marL="0" marR="0" lvl="0" indent="0" algn="ctr" defTabSz="913916" eaLnBrk="1" fontAlgn="base" latinLnBrk="0" hangingPunct="1">
              <a:lnSpc>
                <a:spcPct val="100000"/>
              </a:lnSpc>
              <a:spcBef>
                <a:spcPct val="0"/>
              </a:spcBef>
              <a:spcAft>
                <a:spcPct val="0"/>
              </a:spcAft>
              <a:buClrTx/>
              <a:buSzTx/>
              <a:buFontTx/>
              <a:buNone/>
              <a:tabLst/>
              <a:defRPr/>
            </a:pPr>
            <a:endParaRPr kumimoji="0" lang="fr-FR" sz="2450" b="0" i="0" u="none" strike="noStrike" kern="0" cap="none" spc="0" normalizeH="0" baseline="-25000" noProof="0" dirty="0" smtClean="0">
              <a:ln>
                <a:noFill/>
              </a:ln>
              <a:solidFill>
                <a:prstClr val="white"/>
              </a:solidFill>
              <a:effectLst/>
              <a:uLnTx/>
              <a:uFillTx/>
              <a:latin typeface="Arial"/>
              <a:ea typeface="+mn-ea"/>
              <a:cs typeface="+mn-cs"/>
            </a:endParaRPr>
          </a:p>
          <a:p>
            <a:pPr marL="0" marR="0" lvl="0" indent="0" algn="ctr" defTabSz="913916" eaLnBrk="1" fontAlgn="base" latinLnBrk="0" hangingPunct="1">
              <a:lnSpc>
                <a:spcPct val="100000"/>
              </a:lnSpc>
              <a:spcBef>
                <a:spcPct val="0"/>
              </a:spcBef>
              <a:spcAft>
                <a:spcPct val="0"/>
              </a:spcAft>
              <a:buClrTx/>
              <a:buSzTx/>
              <a:buFontTx/>
              <a:buNone/>
              <a:tabLst/>
              <a:defRPr/>
            </a:pPr>
            <a:endParaRPr kumimoji="0" lang="fr-FR" sz="2450" b="0" i="0" u="none" strike="noStrike" kern="0" cap="none" spc="0" normalizeH="0" baseline="-25000" noProof="0" dirty="0" smtClean="0">
              <a:ln>
                <a:noFill/>
              </a:ln>
              <a:solidFill>
                <a:prstClr val="white"/>
              </a:solidFill>
              <a:effectLst/>
              <a:uLnTx/>
              <a:uFillTx/>
              <a:latin typeface="Arial"/>
              <a:ea typeface="+mn-ea"/>
              <a:cs typeface="+mn-cs"/>
            </a:endParaRPr>
          </a:p>
          <a:p>
            <a:pPr marL="0" marR="0" lvl="0" indent="0" algn="ctr" defTabSz="913916" eaLnBrk="1" fontAlgn="base" latinLnBrk="0" hangingPunct="1">
              <a:lnSpc>
                <a:spcPct val="100000"/>
              </a:lnSpc>
              <a:spcBef>
                <a:spcPct val="0"/>
              </a:spcBef>
              <a:spcAft>
                <a:spcPct val="0"/>
              </a:spcAft>
              <a:buClrTx/>
              <a:buSzTx/>
              <a:buFontTx/>
              <a:buNone/>
              <a:tabLst/>
              <a:defRPr/>
            </a:pPr>
            <a:endParaRPr kumimoji="0" lang="fr-FR" sz="2450" b="0" i="0" u="none" strike="noStrike" kern="0" cap="none" spc="0" normalizeH="0" baseline="-25000" noProof="0" dirty="0" smtClean="0">
              <a:ln>
                <a:noFill/>
              </a:ln>
              <a:solidFill>
                <a:prstClr val="white"/>
              </a:solidFill>
              <a:effectLst/>
              <a:uLnTx/>
              <a:uFillTx/>
              <a:latin typeface="Arial"/>
              <a:ea typeface="+mn-ea"/>
              <a:cs typeface="+mn-cs"/>
            </a:endParaRPr>
          </a:p>
        </p:txBody>
      </p:sp>
      <p:sp>
        <p:nvSpPr>
          <p:cNvPr id="55" name="Can 54"/>
          <p:cNvSpPr/>
          <p:nvPr/>
        </p:nvSpPr>
        <p:spPr bwMode="auto">
          <a:xfrm>
            <a:off x="5556277" y="2154674"/>
            <a:ext cx="1717700" cy="1540047"/>
          </a:xfrm>
          <a:prstGeom prst="can">
            <a:avLst/>
          </a:prstGeom>
          <a:solidFill>
            <a:srgbClr val="0072C6"/>
          </a:solidFill>
          <a:ln w="28575" cap="flat" cmpd="sng" algn="ctr">
            <a:solidFill>
              <a:srgbClr val="0070C0"/>
            </a:solidFill>
            <a:prstDash val="solid"/>
            <a:headEnd type="none" w="med" len="med"/>
            <a:tailEnd type="none" w="med" len="med"/>
          </a:ln>
          <a:effectLst/>
        </p:spPr>
        <p:txBody>
          <a:bodyPr vert="horz" wrap="square" lIns="0" tIns="45708" rIns="0" bIns="45708" numCol="1" rtlCol="0" anchor="ctr" anchorCtr="0" compatLnSpc="1">
            <a:prstTxWarp prst="textNoShape">
              <a:avLst/>
            </a:prstTxWarp>
          </a:bodyPr>
          <a:lstStyle/>
          <a:p>
            <a:pPr marL="0" marR="0" lvl="0" indent="0" algn="ctr" defTabSz="913916" eaLnBrk="1" fontAlgn="base" latinLnBrk="0" hangingPunct="1">
              <a:lnSpc>
                <a:spcPct val="100000"/>
              </a:lnSpc>
              <a:spcBef>
                <a:spcPct val="0"/>
              </a:spcBef>
              <a:spcAft>
                <a:spcPct val="0"/>
              </a:spcAft>
              <a:buClrTx/>
              <a:buSzTx/>
              <a:buFontTx/>
              <a:buNone/>
              <a:tabLst/>
              <a:defRPr/>
            </a:pPr>
            <a:r>
              <a:rPr kumimoji="0" lang="fr-FR" sz="2450" b="0" i="0" u="none" strike="noStrike" kern="0" cap="none" spc="0" normalizeH="0" baseline="0" noProof="0" dirty="0" err="1" smtClean="0">
                <a:ln>
                  <a:noFill/>
                </a:ln>
                <a:solidFill>
                  <a:prstClr val="white"/>
                </a:solidFill>
                <a:effectLst/>
                <a:uLnTx/>
                <a:uFillTx/>
                <a:latin typeface="Arial"/>
                <a:ea typeface="+mn-ea"/>
                <a:cs typeface="+mn-cs"/>
              </a:rPr>
              <a:t>Catalog</a:t>
            </a:r>
            <a:endParaRPr kumimoji="0" lang="fr-FR" sz="2450" b="0" i="0" u="none" strike="noStrike" kern="0" cap="none" spc="0" normalizeH="0" baseline="0" noProof="0" dirty="0" smtClean="0">
              <a:ln>
                <a:noFill/>
              </a:ln>
              <a:solidFill>
                <a:prstClr val="white"/>
              </a:solidFill>
              <a:effectLst/>
              <a:uLnTx/>
              <a:uFillTx/>
              <a:latin typeface="Arial"/>
              <a:ea typeface="+mn-ea"/>
              <a:cs typeface="+mn-cs"/>
            </a:endParaRPr>
          </a:p>
        </p:txBody>
      </p:sp>
      <p:sp>
        <p:nvSpPr>
          <p:cNvPr id="56" name="Rectangle 55"/>
          <p:cNvSpPr/>
          <p:nvPr/>
        </p:nvSpPr>
        <p:spPr>
          <a:xfrm>
            <a:off x="627961" y="1874495"/>
            <a:ext cx="2291509" cy="2152069"/>
          </a:xfrm>
          <a:prstGeom prst="rect">
            <a:avLst/>
          </a:prstGeom>
          <a:solidFill>
            <a:srgbClr val="0072C6">
              <a:lumMod val="60000"/>
              <a:lumOff val="40000"/>
            </a:srgbClr>
          </a:solidFill>
          <a:ln w="9525" cap="flat" cmpd="sng" algn="ctr">
            <a:solidFill>
              <a:srgbClr val="0072C6">
                <a:lumMod val="60000"/>
                <a:lumOff val="40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623863" eaLnBrk="1" fontAlgn="auto" latinLnBrk="0" hangingPunct="1">
              <a:lnSpc>
                <a:spcPct val="100000"/>
              </a:lnSpc>
              <a:spcBef>
                <a:spcPts val="0"/>
              </a:spcBef>
              <a:spcAft>
                <a:spcPts val="0"/>
              </a:spcAft>
              <a:buClrTx/>
              <a:buSzTx/>
              <a:buFontTx/>
              <a:buNone/>
              <a:tabLst/>
              <a:defRPr/>
            </a:pPr>
            <a:r>
              <a:rPr kumimoji="0" lang="fr-FR" sz="7200" b="0" i="0" u="none" strike="noStrike" kern="0" cap="none" spc="0" normalizeH="0" baseline="0" noProof="0" dirty="0" smtClean="0">
                <a:ln>
                  <a:noFill/>
                </a:ln>
                <a:solidFill>
                  <a:prstClr val="white"/>
                </a:solidFill>
                <a:effectLst/>
                <a:uLnTx/>
                <a:uFillTx/>
                <a:latin typeface="Arial"/>
                <a:ea typeface="+mn-ea"/>
                <a:cs typeface="+mn-cs"/>
              </a:rPr>
              <a:t>?</a:t>
            </a:r>
            <a:endParaRPr kumimoji="0" lang="fr-FR" sz="2500" b="0" i="0" u="none" strike="noStrike" kern="0" cap="none" spc="0" normalizeH="0" baseline="0" noProof="0" dirty="0" smtClean="0">
              <a:ln>
                <a:noFill/>
              </a:ln>
              <a:solidFill>
                <a:prstClr val="white"/>
              </a:solidFill>
              <a:effectLst/>
              <a:uLnTx/>
              <a:uFillTx/>
              <a:latin typeface="Arial"/>
              <a:ea typeface="+mn-ea"/>
              <a:cs typeface="+mn-cs"/>
            </a:endParaRPr>
          </a:p>
        </p:txBody>
      </p:sp>
      <p:cxnSp>
        <p:nvCxnSpPr>
          <p:cNvPr id="57" name="Elbow Connector 56"/>
          <p:cNvCxnSpPr>
            <a:stCxn id="56" idx="2"/>
            <a:endCxn id="51" idx="1"/>
          </p:cNvCxnSpPr>
          <p:nvPr/>
        </p:nvCxnSpPr>
        <p:spPr>
          <a:xfrm rot="16200000" flipH="1">
            <a:off x="2957848" y="2842432"/>
            <a:ext cx="1470668" cy="3838932"/>
          </a:xfrm>
          <a:prstGeom prst="bentConnector3">
            <a:avLst/>
          </a:prstGeom>
          <a:noFill/>
          <a:ln w="25400" cap="flat" cmpd="sng" algn="ctr">
            <a:solidFill>
              <a:srgbClr val="0072C6">
                <a:lumMod val="60000"/>
                <a:lumOff val="40000"/>
              </a:srgbClr>
            </a:solidFill>
            <a:prstDash val="solid"/>
            <a:tailEnd type="triangle"/>
          </a:ln>
          <a:effectLst>
            <a:outerShdw blurRad="40000" dist="20000" dir="5400000" rotWithShape="0">
              <a:srgbClr val="000000">
                <a:alpha val="38000"/>
              </a:srgbClr>
            </a:outerShdw>
          </a:effectLst>
        </p:spPr>
      </p:cxnSp>
      <p:cxnSp>
        <p:nvCxnSpPr>
          <p:cNvPr id="58" name="Elbow Connector 57"/>
          <p:cNvCxnSpPr>
            <a:stCxn id="56" idx="3"/>
            <a:endCxn id="55" idx="1"/>
          </p:cNvCxnSpPr>
          <p:nvPr/>
        </p:nvCxnSpPr>
        <p:spPr>
          <a:xfrm flipV="1">
            <a:off x="2919470" y="2154674"/>
            <a:ext cx="3495657" cy="795856"/>
          </a:xfrm>
          <a:prstGeom prst="bentConnector4">
            <a:avLst>
              <a:gd name="adj1" fmla="val 37715"/>
              <a:gd name="adj2" fmla="val 163929"/>
            </a:avLst>
          </a:prstGeom>
          <a:noFill/>
          <a:ln w="25400" cap="flat" cmpd="sng" algn="ctr">
            <a:solidFill>
              <a:srgbClr val="0072C6">
                <a:lumMod val="60000"/>
                <a:lumOff val="40000"/>
              </a:srgbClr>
            </a:solidFill>
            <a:prstDash val="solid"/>
            <a:tailEnd type="triangle"/>
          </a:ln>
          <a:effectLst>
            <a:outerShdw blurRad="40000" dist="20000" dir="5400000" rotWithShape="0">
              <a:srgbClr val="000000">
                <a:alpha val="38000"/>
              </a:srgbClr>
            </a:outerShdw>
          </a:effectLst>
        </p:spPr>
      </p:cxnSp>
      <p:cxnSp>
        <p:nvCxnSpPr>
          <p:cNvPr id="59" name="Elbow Connector 58"/>
          <p:cNvCxnSpPr>
            <a:stCxn id="56" idx="1"/>
            <a:endCxn id="41" idx="2"/>
          </p:cNvCxnSpPr>
          <p:nvPr/>
        </p:nvCxnSpPr>
        <p:spPr>
          <a:xfrm rot="10800000" flipH="1" flipV="1">
            <a:off x="627961" y="2950530"/>
            <a:ext cx="730628" cy="3080060"/>
          </a:xfrm>
          <a:prstGeom prst="bentConnector3">
            <a:avLst>
              <a:gd name="adj1" fmla="val -31288"/>
            </a:avLst>
          </a:prstGeom>
          <a:noFill/>
          <a:ln w="25400" cap="flat" cmpd="sng" algn="ctr">
            <a:solidFill>
              <a:srgbClr val="0072C6">
                <a:lumMod val="60000"/>
                <a:lumOff val="40000"/>
              </a:srgbClr>
            </a:solidFill>
            <a:prstDash val="solid"/>
            <a:tailEnd type="triangle"/>
          </a:ln>
          <a:effectLst>
            <a:outerShdw blurRad="40000" dist="20000" dir="5400000" rotWithShape="0">
              <a:srgbClr val="000000">
                <a:alpha val="38000"/>
              </a:srgbClr>
            </a:outerShdw>
          </a:effectLst>
        </p:spPr>
      </p:cxnSp>
      <p:sp>
        <p:nvSpPr>
          <p:cNvPr id="60" name="Text Placeholder 1"/>
          <p:cNvSpPr>
            <a:spLocks noGrp="1"/>
          </p:cNvSpPr>
          <p:nvPr>
            <p:ph type="body" sz="quarter" idx="15"/>
          </p:nvPr>
        </p:nvSpPr>
        <p:spPr>
          <a:xfrm>
            <a:off x="601613" y="6652968"/>
            <a:ext cx="5472113" cy="308219"/>
          </a:xfrm>
        </p:spPr>
        <p:txBody>
          <a:bodyPr/>
          <a:lstStyle/>
          <a:p>
            <a:r>
              <a:rPr lang="fr-FR" dirty="0"/>
              <a:t>SQL ou </a:t>
            </a:r>
            <a:r>
              <a:rPr lang="fr-FR" dirty="0" err="1"/>
              <a:t>noSQL</a:t>
            </a:r>
            <a:r>
              <a:rPr lang="fr-FR" dirty="0"/>
              <a:t> </a:t>
            </a:r>
            <a:r>
              <a:rPr lang="fr-FR" dirty="0" smtClean="0"/>
              <a:t>?</a:t>
            </a:r>
            <a:endParaRPr lang="fr-FR" dirty="0"/>
          </a:p>
        </p:txBody>
      </p:sp>
    </p:spTree>
    <p:extLst>
      <p:ext uri="{BB962C8B-B14F-4D97-AF65-F5344CB8AC3E}">
        <p14:creationId xmlns:p14="http://schemas.microsoft.com/office/powerpoint/2010/main" val="21462275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sp>
        <p:nvSpPr>
          <p:cNvPr id="71" name="Title 1"/>
          <p:cNvSpPr>
            <a:spLocks noGrp="1"/>
          </p:cNvSpPr>
          <p:nvPr>
            <p:ph type="title"/>
          </p:nvPr>
        </p:nvSpPr>
        <p:spPr/>
        <p:txBody>
          <a:bodyPr>
            <a:normAutofit fontScale="90000"/>
          </a:bodyPr>
          <a:lstStyle/>
          <a:p>
            <a:r>
              <a:rPr lang="fr-FR" dirty="0" smtClean="0"/>
              <a:t>Problématique #2 : Data-</a:t>
            </a:r>
            <a:r>
              <a:rPr lang="fr-FR" dirty="0" err="1" smtClean="0"/>
              <a:t>Dependent</a:t>
            </a:r>
            <a:r>
              <a:rPr lang="fr-FR" dirty="0" smtClean="0"/>
              <a:t> </a:t>
            </a:r>
            <a:r>
              <a:rPr lang="fr-FR" dirty="0" err="1" smtClean="0"/>
              <a:t>Routing</a:t>
            </a:r>
            <a:endParaRPr lang="fr-FR" dirty="0"/>
          </a:p>
        </p:txBody>
      </p:sp>
      <p:cxnSp>
        <p:nvCxnSpPr>
          <p:cNvPr id="57" name="Straight Arrow Connector 56"/>
          <p:cNvCxnSpPr/>
          <p:nvPr/>
        </p:nvCxnSpPr>
        <p:spPr>
          <a:xfrm>
            <a:off x="6524319" y="3007331"/>
            <a:ext cx="149365" cy="413558"/>
          </a:xfrm>
          <a:prstGeom prst="straightConnector1">
            <a:avLst/>
          </a:prstGeom>
          <a:noFill/>
          <a:ln w="28575" cap="flat" cmpd="sng" algn="ctr">
            <a:solidFill>
              <a:srgbClr val="00BCF2">
                <a:lumMod val="60000"/>
                <a:lumOff val="40000"/>
              </a:srgbClr>
            </a:solidFill>
            <a:prstDash val="solid"/>
            <a:tailEnd type="triangle" w="lg" len="lg"/>
          </a:ln>
          <a:effectLst/>
        </p:spPr>
      </p:cxnSp>
      <p:cxnSp>
        <p:nvCxnSpPr>
          <p:cNvPr id="58" name="Straight Arrow Connector 57"/>
          <p:cNvCxnSpPr/>
          <p:nvPr/>
        </p:nvCxnSpPr>
        <p:spPr>
          <a:xfrm>
            <a:off x="5828983" y="1485378"/>
            <a:ext cx="0" cy="712221"/>
          </a:xfrm>
          <a:prstGeom prst="straightConnector1">
            <a:avLst/>
          </a:prstGeom>
          <a:noFill/>
          <a:ln w="28575" cap="flat" cmpd="sng" algn="ctr">
            <a:solidFill>
              <a:srgbClr val="00BCF2">
                <a:lumMod val="60000"/>
                <a:lumOff val="40000"/>
              </a:srgbClr>
            </a:solidFill>
            <a:prstDash val="solid"/>
            <a:tailEnd type="triangle" w="lg" len="lg"/>
          </a:ln>
          <a:effectLst/>
        </p:spPr>
      </p:cxnSp>
      <p:cxnSp>
        <p:nvCxnSpPr>
          <p:cNvPr id="60" name="Straight Arrow Connector 59"/>
          <p:cNvCxnSpPr/>
          <p:nvPr/>
        </p:nvCxnSpPr>
        <p:spPr>
          <a:xfrm flipH="1">
            <a:off x="5828982" y="3007331"/>
            <a:ext cx="41107" cy="1877012"/>
          </a:xfrm>
          <a:prstGeom prst="straightConnector1">
            <a:avLst/>
          </a:prstGeom>
          <a:noFill/>
          <a:ln w="28575" cap="flat" cmpd="sng" algn="ctr">
            <a:solidFill>
              <a:srgbClr val="0072C6">
                <a:lumMod val="75000"/>
              </a:srgbClr>
            </a:solidFill>
            <a:prstDash val="solid"/>
            <a:tailEnd type="triangle" w="lg" len="lg"/>
          </a:ln>
          <a:effectLst/>
        </p:spPr>
      </p:cxnSp>
      <p:cxnSp>
        <p:nvCxnSpPr>
          <p:cNvPr id="61" name="Straight Arrow Connector 60"/>
          <p:cNvCxnSpPr/>
          <p:nvPr/>
        </p:nvCxnSpPr>
        <p:spPr>
          <a:xfrm flipH="1">
            <a:off x="5231521" y="3007331"/>
            <a:ext cx="448096" cy="1877012"/>
          </a:xfrm>
          <a:prstGeom prst="straightConnector1">
            <a:avLst/>
          </a:prstGeom>
          <a:noFill/>
          <a:ln w="28575" cap="flat" cmpd="sng" algn="ctr">
            <a:solidFill>
              <a:srgbClr val="00BCF2">
                <a:lumMod val="60000"/>
                <a:lumOff val="40000"/>
              </a:srgbClr>
            </a:solidFill>
            <a:prstDash val="solid"/>
            <a:tailEnd type="triangle" w="lg" len="lg"/>
          </a:ln>
          <a:effectLst/>
        </p:spPr>
      </p:cxnSp>
      <p:cxnSp>
        <p:nvCxnSpPr>
          <p:cNvPr id="63" name="Straight Connector 62"/>
          <p:cNvCxnSpPr/>
          <p:nvPr/>
        </p:nvCxnSpPr>
        <p:spPr>
          <a:xfrm>
            <a:off x="6227260" y="5351970"/>
            <a:ext cx="679205" cy="0"/>
          </a:xfrm>
          <a:prstGeom prst="line">
            <a:avLst/>
          </a:prstGeom>
          <a:noFill/>
          <a:ln w="38100" cap="flat" cmpd="sng" algn="ctr">
            <a:solidFill>
              <a:srgbClr val="0072C6">
                <a:lumMod val="75000"/>
              </a:srgbClr>
            </a:solidFill>
            <a:prstDash val="sysDot"/>
          </a:ln>
          <a:effectLst/>
        </p:spPr>
      </p:cxnSp>
      <p:sp>
        <p:nvSpPr>
          <p:cNvPr id="66" name="Can 65"/>
          <p:cNvSpPr/>
          <p:nvPr/>
        </p:nvSpPr>
        <p:spPr>
          <a:xfrm>
            <a:off x="6439657" y="3446993"/>
            <a:ext cx="598149" cy="571270"/>
          </a:xfrm>
          <a:prstGeom prst="can">
            <a:avLst/>
          </a:prstGeom>
          <a:solidFill>
            <a:srgbClr val="0072C6"/>
          </a:solidFill>
          <a:ln w="25400" cap="flat" cmpd="sng" algn="ctr">
            <a:solidFill>
              <a:srgbClr val="0072C6">
                <a:lumMod val="75000"/>
              </a:srgbClr>
            </a:solidFill>
            <a:prstDash val="solid"/>
          </a:ln>
          <a:effectLst/>
        </p:spPr>
        <p:txBody>
          <a:bodyPr lIns="0" rIns="0" rtlCol="0" anchor="ctr"/>
          <a:lstStyle/>
          <a:p>
            <a:pPr marL="0" marR="0" lvl="0" indent="0" algn="ctr" defTabSz="623863" eaLnBrk="1" fontAlgn="auto" latinLnBrk="0" hangingPunct="1">
              <a:lnSpc>
                <a:spcPct val="100000"/>
              </a:lnSpc>
              <a:spcBef>
                <a:spcPts val="0"/>
              </a:spcBef>
              <a:spcAft>
                <a:spcPts val="0"/>
              </a:spcAft>
              <a:buClrTx/>
              <a:buSzTx/>
              <a:buFontTx/>
              <a:buNone/>
              <a:tabLst/>
              <a:defRPr/>
            </a:pPr>
            <a:r>
              <a:rPr kumimoji="0" lang="fr-FR" sz="1176" b="0" i="0" u="none" strike="noStrike" kern="0" cap="none" spc="0" normalizeH="0" baseline="0" noProof="0" dirty="0" err="1" smtClean="0">
                <a:ln>
                  <a:noFill/>
                </a:ln>
                <a:solidFill>
                  <a:srgbClr val="FFFFFF"/>
                </a:solidFill>
                <a:effectLst/>
                <a:uLnTx/>
                <a:uFillTx/>
                <a:latin typeface="Arial"/>
                <a:ea typeface="+mn-ea"/>
                <a:cs typeface="+mn-cs"/>
              </a:rPr>
              <a:t>Catalog</a:t>
            </a:r>
            <a:endParaRPr kumimoji="0" lang="fr-FR" sz="1176"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70" name="Can 69"/>
          <p:cNvSpPr/>
          <p:nvPr/>
        </p:nvSpPr>
        <p:spPr>
          <a:xfrm>
            <a:off x="4260648" y="4957340"/>
            <a:ext cx="563401" cy="693644"/>
          </a:xfrm>
          <a:prstGeom prst="can">
            <a:avLst/>
          </a:prstGeom>
          <a:solidFill>
            <a:srgbClr val="0072C6"/>
          </a:solidFill>
          <a:ln w="25400" cap="flat" cmpd="sng" algn="ctr">
            <a:solidFill>
              <a:srgbClr val="0072C6">
                <a:lumMod val="75000"/>
              </a:srgbClr>
            </a:solidFill>
            <a:prstDash val="solid"/>
          </a:ln>
          <a:effectLst/>
        </p:spPr>
        <p:txBody>
          <a:bodyPr lIns="0" tIns="0" rIns="0" bIns="0" rtlCol="0" anchor="ctr"/>
          <a:lstStyle/>
          <a:p>
            <a:pPr marL="0" marR="0" lvl="0" indent="0" algn="ctr" defTabSz="623863" eaLnBrk="1" fontAlgn="auto" latinLnBrk="0" hangingPunct="1">
              <a:lnSpc>
                <a:spcPct val="100000"/>
              </a:lnSpc>
              <a:spcBef>
                <a:spcPts val="0"/>
              </a:spcBef>
              <a:spcAft>
                <a:spcPts val="0"/>
              </a:spcAft>
              <a:buClrTx/>
              <a:buSzTx/>
              <a:buFontTx/>
              <a:buNone/>
              <a:tabLst/>
              <a:defRPr/>
            </a:pPr>
            <a:r>
              <a:rPr kumimoji="0" lang="fr-FR" sz="1200" b="0" i="0" u="none" strike="noStrike" kern="0" cap="none" spc="0" normalizeH="0" baseline="0" noProof="0" dirty="0" err="1" smtClean="0">
                <a:ln>
                  <a:noFill/>
                </a:ln>
                <a:solidFill>
                  <a:srgbClr val="FFFFFF"/>
                </a:solidFill>
                <a:effectLst/>
                <a:uLnTx/>
                <a:uFillTx/>
                <a:latin typeface="Arial"/>
                <a:ea typeface="+mn-ea"/>
                <a:cs typeface="+mn-cs"/>
              </a:rPr>
              <a:t>Cli</a:t>
            </a:r>
            <a:r>
              <a:rPr kumimoji="0" lang="fr-FR" sz="1200" b="0" i="0" u="none" strike="noStrike" kern="0" cap="none" spc="0" normalizeH="0" baseline="0" noProof="0" dirty="0" smtClean="0">
                <a:ln>
                  <a:noFill/>
                </a:ln>
                <a:solidFill>
                  <a:srgbClr val="FFFFFF"/>
                </a:solidFill>
                <a:effectLst/>
                <a:uLnTx/>
                <a:uFillTx/>
                <a:latin typeface="Arial"/>
                <a:ea typeface="+mn-ea"/>
                <a:cs typeface="+mn-cs"/>
              </a:rPr>
              <a:t>. 1</a:t>
            </a:r>
          </a:p>
        </p:txBody>
      </p:sp>
      <p:sp>
        <p:nvSpPr>
          <p:cNvPr id="72" name="Can 71"/>
          <p:cNvSpPr/>
          <p:nvPr/>
        </p:nvSpPr>
        <p:spPr>
          <a:xfrm>
            <a:off x="4932066" y="4957340"/>
            <a:ext cx="546212" cy="693644"/>
          </a:xfrm>
          <a:prstGeom prst="can">
            <a:avLst/>
          </a:prstGeom>
          <a:solidFill>
            <a:srgbClr val="0072C6"/>
          </a:solidFill>
          <a:ln w="25400" cap="flat" cmpd="sng" algn="ctr">
            <a:solidFill>
              <a:srgbClr val="0072C6">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23863" eaLnBrk="1" fontAlgn="auto" latinLnBrk="0" hangingPunct="1">
              <a:lnSpc>
                <a:spcPct val="100000"/>
              </a:lnSpc>
              <a:spcBef>
                <a:spcPts val="0"/>
              </a:spcBef>
              <a:spcAft>
                <a:spcPts val="0"/>
              </a:spcAft>
              <a:buClrTx/>
              <a:buSzTx/>
              <a:buFontTx/>
              <a:buNone/>
              <a:tabLst/>
              <a:defRPr/>
            </a:pPr>
            <a:r>
              <a:rPr kumimoji="0" lang="fr-FR" sz="1200" b="0" i="0" u="none" strike="noStrike" kern="0" cap="none" spc="0" normalizeH="0" baseline="0" noProof="0" dirty="0" err="1" smtClean="0">
                <a:ln>
                  <a:noFill/>
                </a:ln>
                <a:solidFill>
                  <a:srgbClr val="FFFFFF"/>
                </a:solidFill>
                <a:effectLst/>
                <a:uLnTx/>
                <a:uFillTx/>
                <a:latin typeface="Arial"/>
                <a:ea typeface="+mn-ea"/>
                <a:cs typeface="+mn-cs"/>
              </a:rPr>
              <a:t>Cli</a:t>
            </a:r>
            <a:r>
              <a:rPr kumimoji="0" lang="fr-FR" sz="1200" b="0" i="0" u="none" strike="noStrike" kern="0" cap="none" spc="0" normalizeH="0" baseline="0" noProof="0" dirty="0" smtClean="0">
                <a:ln>
                  <a:noFill/>
                </a:ln>
                <a:solidFill>
                  <a:srgbClr val="FFFFFF"/>
                </a:solidFill>
                <a:effectLst/>
                <a:uLnTx/>
                <a:uFillTx/>
                <a:latin typeface="Arial"/>
                <a:ea typeface="+mn-ea"/>
                <a:cs typeface="+mn-cs"/>
              </a:rPr>
              <a:t>. 2</a:t>
            </a:r>
          </a:p>
        </p:txBody>
      </p:sp>
      <p:sp>
        <p:nvSpPr>
          <p:cNvPr id="73" name="Rectangle 72"/>
          <p:cNvSpPr/>
          <p:nvPr/>
        </p:nvSpPr>
        <p:spPr>
          <a:xfrm>
            <a:off x="4709722" y="2254208"/>
            <a:ext cx="2473786" cy="571270"/>
          </a:xfrm>
          <a:prstGeom prst="rect">
            <a:avLst/>
          </a:prstGeom>
          <a:solidFill>
            <a:srgbClr val="0072C6"/>
          </a:solidFill>
          <a:ln w="25400" cap="flat" cmpd="sng" algn="ctr">
            <a:solidFill>
              <a:srgbClr val="0072C6">
                <a:lumMod val="75000"/>
              </a:srgbClr>
            </a:solidFill>
            <a:prstDash val="solid"/>
          </a:ln>
          <a:effectLst/>
        </p:spPr>
        <p:txBody>
          <a:bodyPr rtlCol="0" anchor="ctr"/>
          <a:lstStyle/>
          <a:p>
            <a:pPr marL="0" marR="0" lvl="0" indent="0" algn="ctr" defTabSz="623863" eaLnBrk="1" fontAlgn="auto" latinLnBrk="0" hangingPunct="1">
              <a:lnSpc>
                <a:spcPct val="100000"/>
              </a:lnSpc>
              <a:spcBef>
                <a:spcPts val="0"/>
              </a:spcBef>
              <a:spcAft>
                <a:spcPts val="0"/>
              </a:spcAft>
              <a:buClrTx/>
              <a:buSzTx/>
              <a:buFontTx/>
              <a:buNone/>
              <a:tabLst/>
              <a:defRPr/>
            </a:pPr>
            <a:endParaRPr kumimoji="0" lang="fr-FR" sz="1799"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74" name="Rectangle 73"/>
          <p:cNvSpPr/>
          <p:nvPr/>
        </p:nvSpPr>
        <p:spPr>
          <a:xfrm>
            <a:off x="4634061" y="2345134"/>
            <a:ext cx="2403745" cy="571270"/>
          </a:xfrm>
          <a:prstGeom prst="rect">
            <a:avLst/>
          </a:prstGeom>
          <a:solidFill>
            <a:srgbClr val="0072C6"/>
          </a:solidFill>
          <a:ln w="25400" cap="flat" cmpd="sng" algn="ctr">
            <a:solidFill>
              <a:srgbClr val="0072C6">
                <a:lumMod val="75000"/>
              </a:srgbClr>
            </a:solidFill>
            <a:prstDash val="solid"/>
          </a:ln>
          <a:effectLst/>
        </p:spPr>
        <p:txBody>
          <a:bodyPr rtlCol="0" anchor="ctr"/>
          <a:lstStyle/>
          <a:p>
            <a:pPr marL="0" marR="0" lvl="0" indent="0" algn="ctr" defTabSz="623863" eaLnBrk="1" fontAlgn="auto" latinLnBrk="0" hangingPunct="1">
              <a:lnSpc>
                <a:spcPct val="100000"/>
              </a:lnSpc>
              <a:spcBef>
                <a:spcPts val="0"/>
              </a:spcBef>
              <a:spcAft>
                <a:spcPts val="0"/>
              </a:spcAft>
              <a:buClrTx/>
              <a:buSzTx/>
              <a:buFontTx/>
              <a:buNone/>
              <a:tabLst/>
              <a:defRPr/>
            </a:pPr>
            <a:r>
              <a:rPr kumimoji="0" lang="fr-FR" sz="2450" b="1" i="0" u="none" strike="noStrike" kern="0" cap="none" spc="0" normalizeH="0" baseline="0" noProof="0" dirty="0" smtClean="0">
                <a:ln>
                  <a:noFill/>
                </a:ln>
                <a:solidFill>
                  <a:srgbClr val="FFFFFF"/>
                </a:solidFill>
                <a:effectLst/>
                <a:uLnTx/>
                <a:uFillTx/>
                <a:latin typeface="Arial"/>
                <a:ea typeface="+mn-ea"/>
                <a:cs typeface="+mn-cs"/>
              </a:rPr>
              <a:t>Service Cloud</a:t>
            </a:r>
          </a:p>
        </p:txBody>
      </p:sp>
      <p:cxnSp>
        <p:nvCxnSpPr>
          <p:cNvPr id="75" name="Straight Arrow Connector 74"/>
          <p:cNvCxnSpPr/>
          <p:nvPr/>
        </p:nvCxnSpPr>
        <p:spPr>
          <a:xfrm>
            <a:off x="6524319" y="3007331"/>
            <a:ext cx="149365" cy="413558"/>
          </a:xfrm>
          <a:prstGeom prst="straightConnector1">
            <a:avLst/>
          </a:prstGeom>
          <a:noFill/>
          <a:ln w="57150" cap="flat" cmpd="sng" algn="ctr">
            <a:solidFill>
              <a:srgbClr val="C00000"/>
            </a:solidFill>
            <a:prstDash val="solid"/>
            <a:tailEnd type="triangle" w="lg" len="lg"/>
          </a:ln>
          <a:effectLst/>
        </p:spPr>
      </p:cxnSp>
      <p:cxnSp>
        <p:nvCxnSpPr>
          <p:cNvPr id="76" name="Straight Arrow Connector 75"/>
          <p:cNvCxnSpPr/>
          <p:nvPr/>
        </p:nvCxnSpPr>
        <p:spPr>
          <a:xfrm flipH="1">
            <a:off x="4709721" y="3007331"/>
            <a:ext cx="768557" cy="1877012"/>
          </a:xfrm>
          <a:prstGeom prst="straightConnector1">
            <a:avLst/>
          </a:prstGeom>
          <a:noFill/>
          <a:ln w="28575" cap="flat" cmpd="sng" algn="ctr">
            <a:solidFill>
              <a:srgbClr val="0072C6">
                <a:lumMod val="75000"/>
              </a:srgbClr>
            </a:solidFill>
            <a:prstDash val="solid"/>
            <a:tailEnd type="triangle" w="lg" len="lg"/>
          </a:ln>
          <a:effectLst/>
        </p:spPr>
      </p:cxnSp>
      <p:sp>
        <p:nvSpPr>
          <p:cNvPr id="77" name="TextBox 76"/>
          <p:cNvSpPr txBox="1"/>
          <p:nvPr/>
        </p:nvSpPr>
        <p:spPr>
          <a:xfrm>
            <a:off x="7322635" y="2831912"/>
            <a:ext cx="4472738" cy="1223412"/>
          </a:xfrm>
          <a:prstGeom prst="rect">
            <a:avLst/>
          </a:prstGeom>
          <a:noFill/>
        </p:spPr>
        <p:txBody>
          <a:bodyPr wrap="square" rtlCol="0">
            <a:spAutoFit/>
          </a:bodyPr>
          <a:lstStyle/>
          <a:p>
            <a:pPr marL="331409" indent="-331409" defTabSz="623863"/>
            <a:r>
              <a:rPr lang="fr-FR" sz="2450" dirty="0" smtClean="0">
                <a:solidFill>
                  <a:srgbClr val="0072C6"/>
                </a:solidFill>
                <a:latin typeface="Arial"/>
              </a:rPr>
              <a:t>2.	Le service Cloud recherche les références de la base client dans le catalogue</a:t>
            </a:r>
            <a:endParaRPr lang="fr-FR" sz="2450" dirty="0">
              <a:solidFill>
                <a:srgbClr val="0072C6"/>
              </a:solidFill>
              <a:latin typeface="Arial"/>
            </a:endParaRPr>
          </a:p>
        </p:txBody>
      </p:sp>
      <p:sp>
        <p:nvSpPr>
          <p:cNvPr id="78" name="TextBox 77"/>
          <p:cNvSpPr txBox="1"/>
          <p:nvPr/>
        </p:nvSpPr>
        <p:spPr>
          <a:xfrm>
            <a:off x="4599273" y="5737560"/>
            <a:ext cx="2793657" cy="846386"/>
          </a:xfrm>
          <a:prstGeom prst="rect">
            <a:avLst/>
          </a:prstGeom>
          <a:noFill/>
        </p:spPr>
        <p:txBody>
          <a:bodyPr wrap="square" rtlCol="0">
            <a:spAutoFit/>
          </a:bodyPr>
          <a:lstStyle/>
          <a:p>
            <a:pPr algn="ctr" defTabSz="623863"/>
            <a:r>
              <a:rPr lang="fr-FR" sz="2450" b="1" dirty="0" smtClean="0">
                <a:solidFill>
                  <a:srgbClr val="0072C6"/>
                </a:solidFill>
                <a:latin typeface="Arial"/>
              </a:rPr>
              <a:t>Bases de données client</a:t>
            </a:r>
            <a:endParaRPr lang="fr-FR" sz="2450" b="1" dirty="0">
              <a:solidFill>
                <a:srgbClr val="0072C6"/>
              </a:solidFill>
              <a:latin typeface="Arial"/>
            </a:endParaRPr>
          </a:p>
        </p:txBody>
      </p:sp>
      <p:sp>
        <p:nvSpPr>
          <p:cNvPr id="79" name="TextBox 78"/>
          <p:cNvSpPr txBox="1"/>
          <p:nvPr/>
        </p:nvSpPr>
        <p:spPr>
          <a:xfrm>
            <a:off x="1366454" y="3178193"/>
            <a:ext cx="3338323" cy="1977464"/>
          </a:xfrm>
          <a:prstGeom prst="rect">
            <a:avLst/>
          </a:prstGeom>
          <a:noFill/>
        </p:spPr>
        <p:txBody>
          <a:bodyPr wrap="square" rtlCol="0">
            <a:spAutoFit/>
          </a:bodyPr>
          <a:lstStyle/>
          <a:p>
            <a:pPr marL="331409" indent="-331409" defTabSz="623863"/>
            <a:r>
              <a:rPr lang="fr-FR" sz="2450" dirty="0" smtClean="0">
                <a:solidFill>
                  <a:srgbClr val="0072C6"/>
                </a:solidFill>
                <a:latin typeface="Arial"/>
              </a:rPr>
              <a:t>3.  Le service Cloud redirige directement les requêtes sur la base de données client</a:t>
            </a:r>
            <a:endParaRPr lang="fr-FR" sz="2450" dirty="0">
              <a:solidFill>
                <a:srgbClr val="0072C6"/>
              </a:solidFill>
              <a:latin typeface="Arial"/>
            </a:endParaRPr>
          </a:p>
        </p:txBody>
      </p:sp>
      <p:sp>
        <p:nvSpPr>
          <p:cNvPr id="80" name="TextBox 79"/>
          <p:cNvSpPr txBox="1"/>
          <p:nvPr/>
        </p:nvSpPr>
        <p:spPr>
          <a:xfrm>
            <a:off x="6774660" y="3983879"/>
            <a:ext cx="2793657" cy="469359"/>
          </a:xfrm>
          <a:prstGeom prst="rect">
            <a:avLst/>
          </a:prstGeom>
          <a:noFill/>
        </p:spPr>
        <p:txBody>
          <a:bodyPr wrap="square" rtlCol="0">
            <a:spAutoFit/>
          </a:bodyPr>
          <a:lstStyle/>
          <a:p>
            <a:pPr algn="ctr" defTabSz="623863"/>
            <a:r>
              <a:rPr lang="fr-FR" sz="2450" b="1" dirty="0" smtClean="0">
                <a:solidFill>
                  <a:srgbClr val="0072C6"/>
                </a:solidFill>
                <a:latin typeface="Arial"/>
              </a:rPr>
              <a:t>Catalogue clients</a:t>
            </a:r>
            <a:endParaRPr lang="fr-FR" sz="2450" b="1" dirty="0">
              <a:solidFill>
                <a:srgbClr val="0072C6"/>
              </a:solidFill>
              <a:latin typeface="Arial"/>
            </a:endParaRPr>
          </a:p>
        </p:txBody>
      </p:sp>
      <p:sp>
        <p:nvSpPr>
          <p:cNvPr id="81" name="TextBox 80"/>
          <p:cNvSpPr txBox="1"/>
          <p:nvPr/>
        </p:nvSpPr>
        <p:spPr>
          <a:xfrm>
            <a:off x="7247952" y="1487625"/>
            <a:ext cx="2763257" cy="1223412"/>
          </a:xfrm>
          <a:prstGeom prst="rect">
            <a:avLst/>
          </a:prstGeom>
          <a:noFill/>
        </p:spPr>
        <p:txBody>
          <a:bodyPr wrap="square" rtlCol="0">
            <a:spAutoFit/>
          </a:bodyPr>
          <a:lstStyle/>
          <a:p>
            <a:pPr marL="275396" indent="-275396" defTabSz="623863"/>
            <a:r>
              <a:rPr lang="fr-FR" sz="2450" dirty="0" smtClean="0">
                <a:solidFill>
                  <a:srgbClr val="0072C6"/>
                </a:solidFill>
                <a:latin typeface="Arial"/>
              </a:rPr>
              <a:t>1.	L’utilisateur se connecte au service Cloud</a:t>
            </a:r>
            <a:endParaRPr lang="fr-FR" sz="2450" dirty="0">
              <a:solidFill>
                <a:srgbClr val="0072C6"/>
              </a:solidFill>
              <a:latin typeface="Arial"/>
            </a:endParaRPr>
          </a:p>
        </p:txBody>
      </p:sp>
      <p:cxnSp>
        <p:nvCxnSpPr>
          <p:cNvPr id="82" name="Straight Arrow Connector 81"/>
          <p:cNvCxnSpPr/>
          <p:nvPr/>
        </p:nvCxnSpPr>
        <p:spPr>
          <a:xfrm>
            <a:off x="5007474" y="1485378"/>
            <a:ext cx="0" cy="712221"/>
          </a:xfrm>
          <a:prstGeom prst="straightConnector1">
            <a:avLst/>
          </a:prstGeom>
          <a:noFill/>
          <a:ln w="28575" cap="flat" cmpd="sng" algn="ctr">
            <a:solidFill>
              <a:srgbClr val="0072C6">
                <a:lumMod val="75000"/>
              </a:srgbClr>
            </a:solidFill>
            <a:prstDash val="solid"/>
            <a:tailEnd type="triangle" w="lg" len="lg"/>
          </a:ln>
          <a:effectLst/>
        </p:spPr>
      </p:cxnSp>
      <p:sp>
        <p:nvSpPr>
          <p:cNvPr id="83" name="Can 82"/>
          <p:cNvSpPr/>
          <p:nvPr/>
        </p:nvSpPr>
        <p:spPr>
          <a:xfrm>
            <a:off x="5567408" y="4957340"/>
            <a:ext cx="546212" cy="693644"/>
          </a:xfrm>
          <a:prstGeom prst="can">
            <a:avLst/>
          </a:prstGeom>
          <a:solidFill>
            <a:srgbClr val="0072C6"/>
          </a:solidFill>
          <a:ln w="25400" cap="flat" cmpd="sng" algn="ctr">
            <a:solidFill>
              <a:srgbClr val="0072C6">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23863" eaLnBrk="1" fontAlgn="auto" latinLnBrk="0" hangingPunct="1">
              <a:lnSpc>
                <a:spcPct val="100000"/>
              </a:lnSpc>
              <a:spcBef>
                <a:spcPts val="0"/>
              </a:spcBef>
              <a:spcAft>
                <a:spcPts val="0"/>
              </a:spcAft>
              <a:buClrTx/>
              <a:buSzTx/>
              <a:buFontTx/>
              <a:buNone/>
              <a:tabLst/>
              <a:defRPr/>
            </a:pPr>
            <a:r>
              <a:rPr kumimoji="0" lang="fr-FR" sz="1200" b="0" i="0" u="none" strike="noStrike" kern="0" cap="none" spc="0" normalizeH="0" baseline="0" noProof="0" dirty="0" err="1" smtClean="0">
                <a:ln>
                  <a:noFill/>
                </a:ln>
                <a:solidFill>
                  <a:srgbClr val="FFFFFF"/>
                </a:solidFill>
                <a:effectLst/>
                <a:uLnTx/>
                <a:uFillTx/>
                <a:latin typeface="Arial"/>
                <a:ea typeface="+mn-ea"/>
                <a:cs typeface="+mn-cs"/>
              </a:rPr>
              <a:t>Cli</a:t>
            </a:r>
            <a:r>
              <a:rPr kumimoji="0" lang="fr-FR" sz="1200" b="0" i="0" u="none" strike="noStrike" kern="0" cap="none" spc="0" normalizeH="0" baseline="0" noProof="0" dirty="0" smtClean="0">
                <a:ln>
                  <a:noFill/>
                </a:ln>
                <a:solidFill>
                  <a:srgbClr val="FFFFFF"/>
                </a:solidFill>
                <a:effectLst/>
                <a:uLnTx/>
                <a:uFillTx/>
                <a:latin typeface="Arial"/>
                <a:ea typeface="+mn-ea"/>
                <a:cs typeface="+mn-cs"/>
              </a:rPr>
              <a:t>. 3</a:t>
            </a:r>
          </a:p>
        </p:txBody>
      </p:sp>
      <p:sp>
        <p:nvSpPr>
          <p:cNvPr id="84" name="Can 83"/>
          <p:cNvSpPr/>
          <p:nvPr/>
        </p:nvSpPr>
        <p:spPr>
          <a:xfrm>
            <a:off x="6993584" y="4957340"/>
            <a:ext cx="546212" cy="693644"/>
          </a:xfrm>
          <a:prstGeom prst="can">
            <a:avLst/>
          </a:prstGeom>
          <a:solidFill>
            <a:srgbClr val="0072C6"/>
          </a:solidFill>
          <a:ln w="25400" cap="flat" cmpd="sng" algn="ctr">
            <a:solidFill>
              <a:srgbClr val="0072C6">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23863" eaLnBrk="1" fontAlgn="auto" latinLnBrk="0" hangingPunct="1">
              <a:lnSpc>
                <a:spcPct val="100000"/>
              </a:lnSpc>
              <a:spcBef>
                <a:spcPts val="0"/>
              </a:spcBef>
              <a:spcAft>
                <a:spcPts val="0"/>
              </a:spcAft>
              <a:buClrTx/>
              <a:buSzTx/>
              <a:buFontTx/>
              <a:buNone/>
              <a:tabLst/>
              <a:defRPr/>
            </a:pPr>
            <a:r>
              <a:rPr kumimoji="0" lang="fr-FR" sz="1200" b="0" i="0" u="none" strike="noStrike" kern="0" cap="none" spc="0" normalizeH="0" baseline="0" noProof="0" dirty="0" err="1" smtClean="0">
                <a:ln>
                  <a:noFill/>
                </a:ln>
                <a:solidFill>
                  <a:srgbClr val="FFFFFF"/>
                </a:solidFill>
                <a:effectLst/>
                <a:uLnTx/>
                <a:uFillTx/>
                <a:latin typeface="Arial"/>
                <a:ea typeface="+mn-ea"/>
                <a:cs typeface="+mn-cs"/>
              </a:rPr>
              <a:t>Cli</a:t>
            </a:r>
            <a:r>
              <a:rPr kumimoji="0" lang="fr-FR" sz="1200" b="0" i="0" u="none" strike="noStrike" kern="0" cap="none" spc="0" normalizeH="0" baseline="0" noProof="0" dirty="0" smtClean="0">
                <a:ln>
                  <a:noFill/>
                </a:ln>
                <a:solidFill>
                  <a:srgbClr val="FFFFFF"/>
                </a:solidFill>
                <a:effectLst/>
                <a:uLnTx/>
                <a:uFillTx/>
                <a:latin typeface="Arial"/>
                <a:ea typeface="+mn-ea"/>
                <a:cs typeface="+mn-cs"/>
              </a:rPr>
              <a:t>. N</a:t>
            </a:r>
          </a:p>
        </p:txBody>
      </p:sp>
      <p:cxnSp>
        <p:nvCxnSpPr>
          <p:cNvPr id="85" name="Straight Arrow Connector 84"/>
          <p:cNvCxnSpPr/>
          <p:nvPr/>
        </p:nvCxnSpPr>
        <p:spPr>
          <a:xfrm>
            <a:off x="5828983" y="1485378"/>
            <a:ext cx="0" cy="712221"/>
          </a:xfrm>
          <a:prstGeom prst="straightConnector1">
            <a:avLst/>
          </a:prstGeom>
          <a:noFill/>
          <a:ln w="57150" cap="flat" cmpd="sng" algn="ctr">
            <a:solidFill>
              <a:srgbClr val="C00000"/>
            </a:solidFill>
            <a:prstDash val="solid"/>
            <a:tailEnd type="triangle" w="lg" len="lg"/>
          </a:ln>
          <a:effectLst/>
        </p:spPr>
      </p:cxnSp>
      <p:cxnSp>
        <p:nvCxnSpPr>
          <p:cNvPr id="86" name="Straight Arrow Connector 85"/>
          <p:cNvCxnSpPr/>
          <p:nvPr/>
        </p:nvCxnSpPr>
        <p:spPr>
          <a:xfrm>
            <a:off x="6650491" y="1485378"/>
            <a:ext cx="0" cy="712221"/>
          </a:xfrm>
          <a:prstGeom prst="straightConnector1">
            <a:avLst/>
          </a:prstGeom>
          <a:noFill/>
          <a:ln w="28575" cap="flat" cmpd="sng" algn="ctr">
            <a:solidFill>
              <a:srgbClr val="0072C6">
                <a:lumMod val="75000"/>
              </a:srgbClr>
            </a:solidFill>
            <a:prstDash val="solid"/>
            <a:tailEnd type="triangle" w="lg" len="lg"/>
          </a:ln>
          <a:effectLst/>
        </p:spPr>
      </p:cxnSp>
      <p:cxnSp>
        <p:nvCxnSpPr>
          <p:cNvPr id="87" name="Straight Arrow Connector 86"/>
          <p:cNvCxnSpPr/>
          <p:nvPr/>
        </p:nvCxnSpPr>
        <p:spPr>
          <a:xfrm flipH="1">
            <a:off x="5215126" y="3007330"/>
            <a:ext cx="471124" cy="1896282"/>
          </a:xfrm>
          <a:prstGeom prst="straightConnector1">
            <a:avLst/>
          </a:prstGeom>
          <a:noFill/>
          <a:ln w="57150" cap="flat" cmpd="sng" algn="ctr">
            <a:solidFill>
              <a:srgbClr val="C00000"/>
            </a:solidFill>
            <a:prstDash val="solid"/>
            <a:tailEnd type="triangle" w="lg" len="lg"/>
          </a:ln>
          <a:effectLst/>
        </p:spPr>
      </p:cxnSp>
    </p:spTree>
    <p:extLst>
      <p:ext uri="{BB962C8B-B14F-4D97-AF65-F5344CB8AC3E}">
        <p14:creationId xmlns:p14="http://schemas.microsoft.com/office/powerpoint/2010/main" val="33568722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1"/>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7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7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87"/>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7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7" grpId="0"/>
      <p:bldP spid="79" grpId="0"/>
      <p:bldP spid="81"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tangle 44"/>
          <p:cNvSpPr/>
          <p:nvPr/>
        </p:nvSpPr>
        <p:spPr>
          <a:xfrm>
            <a:off x="501758" y="1250732"/>
            <a:ext cx="11424391" cy="5342874"/>
          </a:xfrm>
          <a:prstGeom prst="rect">
            <a:avLst/>
          </a:prstGeom>
          <a:solidFill>
            <a:schemeClr val="tx2"/>
          </a:solidFill>
          <a:ln>
            <a:solidFill>
              <a:schemeClr val="tx2"/>
            </a:solidFill>
            <a:tailEnd type="stealth" w="lg" len="lg"/>
          </a:ln>
        </p:spPr>
        <p:style>
          <a:lnRef idx="1">
            <a:schemeClr val="dk1"/>
          </a:lnRef>
          <a:fillRef idx="3">
            <a:schemeClr val="dk1"/>
          </a:fillRef>
          <a:effectRef idx="2">
            <a:schemeClr val="dk1"/>
          </a:effectRef>
          <a:fontRef idx="minor">
            <a:schemeClr val="lt1"/>
          </a:fontRef>
        </p:style>
        <p:txBody>
          <a:bodyPr rtlCol="0" anchor="ctr"/>
          <a:lstStyle/>
          <a:p>
            <a:pPr algn="ctr"/>
            <a:endParaRPr lang="en-US" sz="1836">
              <a:solidFill>
                <a:schemeClr val="tx2"/>
              </a:solidFill>
            </a:endParaRPr>
          </a:p>
        </p:txBody>
      </p:sp>
      <p:grpSp>
        <p:nvGrpSpPr>
          <p:cNvPr id="10" name="Group 9"/>
          <p:cNvGrpSpPr/>
          <p:nvPr/>
        </p:nvGrpSpPr>
        <p:grpSpPr>
          <a:xfrm>
            <a:off x="8972474" y="1341492"/>
            <a:ext cx="2884563" cy="5180106"/>
            <a:chOff x="8972474" y="1746156"/>
            <a:chExt cx="2884563" cy="5180106"/>
          </a:xfrm>
        </p:grpSpPr>
        <p:sp>
          <p:nvSpPr>
            <p:cNvPr id="22" name="Rectangle 21"/>
            <p:cNvSpPr/>
            <p:nvPr/>
          </p:nvSpPr>
          <p:spPr>
            <a:xfrm>
              <a:off x="8972476" y="2230565"/>
              <a:ext cx="2884561" cy="4695697"/>
            </a:xfrm>
            <a:prstGeom prst="rect">
              <a:avLst/>
            </a:prstGeom>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2040" dirty="0" err="1">
                <a:solidFill>
                  <a:schemeClr val="tx1"/>
                </a:solidFill>
              </a:endParaRPr>
            </a:p>
          </p:txBody>
        </p:sp>
        <p:sp>
          <p:nvSpPr>
            <p:cNvPr id="46" name="TextBox 45"/>
            <p:cNvSpPr txBox="1"/>
            <p:nvPr/>
          </p:nvSpPr>
          <p:spPr>
            <a:xfrm>
              <a:off x="8972474" y="1746156"/>
              <a:ext cx="2859601" cy="398241"/>
            </a:xfrm>
            <a:prstGeom prst="rect">
              <a:avLst/>
            </a:prstGeom>
            <a:noFill/>
          </p:spPr>
          <p:txBody>
            <a:bodyPr wrap="none" rtlCol="0">
              <a:noAutofit/>
            </a:bodyPr>
            <a:lstStyle/>
            <a:p>
              <a:pPr algn="ctr">
                <a:buClr>
                  <a:schemeClr val="tx1"/>
                </a:buClr>
              </a:pPr>
              <a:r>
                <a:rPr lang="en-US" sz="2400" b="1" i="1" dirty="0" smtClean="0">
                  <a:solidFill>
                    <a:schemeClr val="bg1"/>
                  </a:solidFill>
                </a:rPr>
                <a:t>Streaming</a:t>
              </a:r>
              <a:endParaRPr lang="en-US" sz="2400" b="1" i="1" dirty="0">
                <a:solidFill>
                  <a:schemeClr val="bg1"/>
                </a:solidFill>
              </a:endParaRPr>
            </a:p>
          </p:txBody>
        </p:sp>
      </p:grpSp>
      <p:grpSp>
        <p:nvGrpSpPr>
          <p:cNvPr id="9" name="Group 8"/>
          <p:cNvGrpSpPr/>
          <p:nvPr/>
        </p:nvGrpSpPr>
        <p:grpSpPr>
          <a:xfrm>
            <a:off x="6037430" y="1341493"/>
            <a:ext cx="2935045" cy="5169385"/>
            <a:chOff x="6037430" y="1746157"/>
            <a:chExt cx="2935045" cy="5169385"/>
          </a:xfrm>
        </p:grpSpPr>
        <p:sp>
          <p:nvSpPr>
            <p:cNvPr id="36" name="Rectangle 35"/>
            <p:cNvSpPr/>
            <p:nvPr/>
          </p:nvSpPr>
          <p:spPr>
            <a:xfrm>
              <a:off x="6037430" y="2219845"/>
              <a:ext cx="2935045" cy="4695697"/>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2040" dirty="0" err="1">
                <a:solidFill>
                  <a:schemeClr val="bg1"/>
                </a:solidFill>
              </a:endParaRPr>
            </a:p>
          </p:txBody>
        </p:sp>
        <p:sp>
          <p:nvSpPr>
            <p:cNvPr id="5" name="TextBox 4"/>
            <p:cNvSpPr txBox="1"/>
            <p:nvPr/>
          </p:nvSpPr>
          <p:spPr>
            <a:xfrm>
              <a:off x="6037431" y="1746157"/>
              <a:ext cx="2935044" cy="388585"/>
            </a:xfrm>
            <a:prstGeom prst="rect">
              <a:avLst/>
            </a:prstGeom>
            <a:noFill/>
          </p:spPr>
          <p:txBody>
            <a:bodyPr wrap="none" rtlCol="0">
              <a:noAutofit/>
            </a:bodyPr>
            <a:lstStyle/>
            <a:p>
              <a:pPr algn="ctr">
                <a:buClr>
                  <a:schemeClr val="tx1"/>
                </a:buClr>
              </a:pPr>
              <a:r>
                <a:rPr lang="en-US" sz="2400" b="1" i="1" dirty="0" err="1" smtClean="0">
                  <a:solidFill>
                    <a:schemeClr val="bg1"/>
                  </a:solidFill>
                </a:rPr>
                <a:t>Analytique</a:t>
              </a:r>
              <a:endParaRPr lang="en-US" sz="2400" b="1" i="1" dirty="0">
                <a:solidFill>
                  <a:schemeClr val="bg1"/>
                </a:solidFill>
              </a:endParaRPr>
            </a:p>
          </p:txBody>
        </p:sp>
      </p:grpSp>
      <p:grpSp>
        <p:nvGrpSpPr>
          <p:cNvPr id="6" name="Group 5"/>
          <p:cNvGrpSpPr/>
          <p:nvPr/>
        </p:nvGrpSpPr>
        <p:grpSpPr>
          <a:xfrm>
            <a:off x="3177830" y="1347588"/>
            <a:ext cx="2888007" cy="5163290"/>
            <a:chOff x="3177830" y="1752252"/>
            <a:chExt cx="2888007" cy="5163290"/>
          </a:xfrm>
        </p:grpSpPr>
        <p:sp>
          <p:nvSpPr>
            <p:cNvPr id="35" name="Rectangle 34"/>
            <p:cNvSpPr/>
            <p:nvPr/>
          </p:nvSpPr>
          <p:spPr>
            <a:xfrm>
              <a:off x="3177832" y="2219845"/>
              <a:ext cx="2888005" cy="4695697"/>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endParaRPr lang="en-US" sz="2040" dirty="0" err="1">
                <a:solidFill>
                  <a:schemeClr val="bg1"/>
                </a:solidFill>
              </a:endParaRPr>
            </a:p>
          </p:txBody>
        </p:sp>
        <p:sp>
          <p:nvSpPr>
            <p:cNvPr id="4" name="TextBox 3"/>
            <p:cNvSpPr txBox="1"/>
            <p:nvPr/>
          </p:nvSpPr>
          <p:spPr>
            <a:xfrm>
              <a:off x="3177830" y="1752252"/>
              <a:ext cx="2859601" cy="388585"/>
            </a:xfrm>
            <a:prstGeom prst="rect">
              <a:avLst/>
            </a:prstGeom>
            <a:noFill/>
          </p:spPr>
          <p:txBody>
            <a:bodyPr wrap="none" rtlCol="0">
              <a:noAutofit/>
            </a:bodyPr>
            <a:lstStyle/>
            <a:p>
              <a:pPr algn="ctr">
                <a:buClr>
                  <a:schemeClr val="tx1"/>
                </a:buClr>
              </a:pPr>
              <a:r>
                <a:rPr lang="en-US" sz="2400" b="1" i="1" dirty="0" err="1" smtClean="0">
                  <a:solidFill>
                    <a:schemeClr val="bg1"/>
                  </a:solidFill>
                </a:rPr>
                <a:t>Opérationnelle</a:t>
              </a:r>
              <a:endParaRPr lang="en-US" sz="2400" b="1" i="1" dirty="0">
                <a:solidFill>
                  <a:schemeClr val="bg1"/>
                </a:solidFill>
              </a:endParaRPr>
            </a:p>
          </p:txBody>
        </p:sp>
      </p:grpSp>
      <p:sp>
        <p:nvSpPr>
          <p:cNvPr id="39" name="Rectangle 38"/>
          <p:cNvSpPr/>
          <p:nvPr/>
        </p:nvSpPr>
        <p:spPr>
          <a:xfrm>
            <a:off x="3177831" y="1815181"/>
            <a:ext cx="8679206" cy="4706417"/>
          </a:xfrm>
          <a:prstGeom prst="rect">
            <a:avLst/>
          </a:prstGeom>
          <a:noFill/>
          <a:ln w="381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lumMod val="75000"/>
                  <a:lumOff val="25000"/>
                </a:schemeClr>
              </a:solidFill>
            </a:endParaRPr>
          </a:p>
        </p:txBody>
      </p:sp>
      <p:sp>
        <p:nvSpPr>
          <p:cNvPr id="41" name="TextBox 40"/>
          <p:cNvSpPr txBox="1"/>
          <p:nvPr/>
        </p:nvSpPr>
        <p:spPr>
          <a:xfrm>
            <a:off x="3636354" y="5747849"/>
            <a:ext cx="1970960" cy="369332"/>
          </a:xfrm>
          <a:prstGeom prst="rect">
            <a:avLst/>
          </a:prstGeom>
        </p:spPr>
        <p:style>
          <a:lnRef idx="1">
            <a:schemeClr val="accent5"/>
          </a:lnRef>
          <a:fillRef idx="3">
            <a:schemeClr val="accent5"/>
          </a:fillRef>
          <a:effectRef idx="2">
            <a:schemeClr val="accent5"/>
          </a:effectRef>
          <a:fontRef idx="minor">
            <a:schemeClr val="lt1"/>
          </a:fontRef>
        </p:style>
        <p:txBody>
          <a:bodyPr wrap="square" rtlCol="0">
            <a:spAutoFit/>
          </a:bodyPr>
          <a:lstStyle>
            <a:defPPr>
              <a:defRPr lang="en-US"/>
            </a:defPPr>
            <a:lvl1pPr algn="ctr">
              <a:buClr>
                <a:schemeClr val="tx1"/>
              </a:buClr>
              <a:defRPr b="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t>SQL </a:t>
            </a:r>
            <a:r>
              <a:rPr lang="en-US" dirty="0" smtClean="0"/>
              <a:t>Database </a:t>
            </a:r>
            <a:endParaRPr lang="en-US" dirty="0"/>
          </a:p>
        </p:txBody>
      </p:sp>
      <p:sp>
        <p:nvSpPr>
          <p:cNvPr id="20" name="TextBox 19"/>
          <p:cNvSpPr txBox="1"/>
          <p:nvPr/>
        </p:nvSpPr>
        <p:spPr>
          <a:xfrm>
            <a:off x="6603033" y="5595627"/>
            <a:ext cx="1828799" cy="646331"/>
          </a:xfrm>
          <a:prstGeom prst="rect">
            <a:avLst/>
          </a:prstGeom>
        </p:spPr>
        <p:style>
          <a:lnRef idx="1">
            <a:schemeClr val="accent2"/>
          </a:lnRef>
          <a:fillRef idx="3">
            <a:schemeClr val="accent2"/>
          </a:fillRef>
          <a:effectRef idx="2">
            <a:schemeClr val="accent2"/>
          </a:effectRef>
          <a:fontRef idx="minor">
            <a:schemeClr val="lt1"/>
          </a:fontRef>
        </p:style>
        <p:txBody>
          <a:bodyPr wrap="square" rtlCol="0">
            <a:spAutoFit/>
          </a:bodyPr>
          <a:lstStyle>
            <a:defPPr>
              <a:defRPr lang="en-US"/>
            </a:defPPr>
            <a:lvl1pPr algn="ctr">
              <a:buClr>
                <a:schemeClr val="tx1"/>
              </a:buClr>
              <a:defRPr b="1"/>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t>SQL Data Warehouse</a:t>
            </a:r>
          </a:p>
        </p:txBody>
      </p:sp>
      <p:sp>
        <p:nvSpPr>
          <p:cNvPr id="38" name="TextBox 37"/>
          <p:cNvSpPr txBox="1"/>
          <p:nvPr/>
        </p:nvSpPr>
        <p:spPr>
          <a:xfrm>
            <a:off x="9321022" y="5747847"/>
            <a:ext cx="2121011" cy="369332"/>
          </a:xfrm>
          <a:prstGeom prst="rect">
            <a:avLst/>
          </a:prstGeom>
        </p:spPr>
        <p:style>
          <a:lnRef idx="1">
            <a:schemeClr val="accent1"/>
          </a:lnRef>
          <a:fillRef idx="3">
            <a:schemeClr val="accent1"/>
          </a:fillRef>
          <a:effectRef idx="2">
            <a:schemeClr val="accent1"/>
          </a:effectRef>
          <a:fontRef idx="minor">
            <a:schemeClr val="lt1"/>
          </a:fontRef>
        </p:style>
        <p:txBody>
          <a:bodyPr wrap="square" rtlCol="0">
            <a:spAutoFit/>
          </a:bodyPr>
          <a:lstStyle>
            <a:defPPr>
              <a:defRPr lang="en-US"/>
            </a:defPPr>
            <a:lvl1pPr algn="ctr">
              <a:buClr>
                <a:schemeClr val="tx1"/>
              </a:buClr>
              <a:defRPr b="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t>Stream Analytics </a:t>
            </a:r>
          </a:p>
        </p:txBody>
      </p:sp>
      <p:sp>
        <p:nvSpPr>
          <p:cNvPr id="2" name="Title 1"/>
          <p:cNvSpPr>
            <a:spLocks noGrp="1"/>
          </p:cNvSpPr>
          <p:nvPr>
            <p:ph type="title"/>
          </p:nvPr>
        </p:nvSpPr>
        <p:spPr/>
        <p:txBody>
          <a:bodyPr/>
          <a:lstStyle/>
          <a:p>
            <a:r>
              <a:rPr lang="en-US" sz="4800" dirty="0" smtClean="0"/>
              <a:t>Technologies sur Azure</a:t>
            </a:r>
            <a:endParaRPr lang="en-US" sz="3200" dirty="0">
              <a:solidFill>
                <a:schemeClr val="tx1"/>
              </a:solidFill>
            </a:endParaRPr>
          </a:p>
        </p:txBody>
      </p:sp>
      <p:grpSp>
        <p:nvGrpSpPr>
          <p:cNvPr id="13" name="Group 12"/>
          <p:cNvGrpSpPr/>
          <p:nvPr/>
        </p:nvGrpSpPr>
        <p:grpSpPr>
          <a:xfrm>
            <a:off x="865575" y="3457864"/>
            <a:ext cx="10991462" cy="3053014"/>
            <a:chOff x="865575" y="3862528"/>
            <a:chExt cx="10991462" cy="3053014"/>
          </a:xfrm>
        </p:grpSpPr>
        <p:grpSp>
          <p:nvGrpSpPr>
            <p:cNvPr id="12" name="Group 11"/>
            <p:cNvGrpSpPr/>
            <p:nvPr/>
          </p:nvGrpSpPr>
          <p:grpSpPr>
            <a:xfrm>
              <a:off x="1531767" y="5810347"/>
              <a:ext cx="10325270" cy="1105195"/>
              <a:chOff x="1531767" y="5810347"/>
              <a:chExt cx="10325270" cy="1105195"/>
            </a:xfrm>
          </p:grpSpPr>
          <p:cxnSp>
            <p:nvCxnSpPr>
              <p:cNvPr id="14" name="Straight Connector 13"/>
              <p:cNvCxnSpPr/>
              <p:nvPr/>
            </p:nvCxnSpPr>
            <p:spPr>
              <a:xfrm>
                <a:off x="3177830" y="5810347"/>
                <a:ext cx="8679207" cy="50609"/>
              </a:xfrm>
              <a:prstGeom prst="line">
                <a:avLst/>
              </a:prstGeom>
              <a:noFill/>
              <a:ln w="381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cxnSp>
          <p:sp>
            <p:nvSpPr>
              <p:cNvPr id="8" name="TextBox 7"/>
              <p:cNvSpPr txBox="1"/>
              <p:nvPr/>
            </p:nvSpPr>
            <p:spPr>
              <a:xfrm>
                <a:off x="1531767" y="6047123"/>
                <a:ext cx="1353854" cy="868419"/>
              </a:xfrm>
              <a:prstGeom prst="rect">
                <a:avLst/>
              </a:prstGeom>
              <a:noFill/>
            </p:spPr>
            <p:txBody>
              <a:bodyPr wrap="none" rtlCol="0">
                <a:noAutofit/>
              </a:bodyPr>
              <a:lstStyle/>
              <a:p>
                <a:pPr algn="ctr">
                  <a:buClr>
                    <a:schemeClr val="tx1"/>
                  </a:buClr>
                </a:pPr>
                <a:r>
                  <a:rPr lang="en-US" sz="2400" b="1" dirty="0" err="1" smtClean="0">
                    <a:solidFill>
                      <a:schemeClr val="bg1"/>
                    </a:solidFill>
                  </a:rPr>
                  <a:t>Relationnel</a:t>
                </a:r>
                <a:endParaRPr lang="en-US" sz="2400" b="1" dirty="0" smtClean="0">
                  <a:solidFill>
                    <a:schemeClr val="bg1"/>
                  </a:solidFill>
                </a:endParaRPr>
              </a:p>
              <a:p>
                <a:pPr algn="ctr">
                  <a:buClr>
                    <a:schemeClr val="tx1"/>
                  </a:buClr>
                </a:pPr>
                <a:endParaRPr lang="en-US" sz="2400" b="1" dirty="0">
                  <a:solidFill>
                    <a:schemeClr val="bg1"/>
                  </a:solidFill>
                </a:endParaRPr>
              </a:p>
            </p:txBody>
          </p:sp>
        </p:grpSp>
        <p:sp>
          <p:nvSpPr>
            <p:cNvPr id="7" name="TextBox 6"/>
            <p:cNvSpPr txBox="1"/>
            <p:nvPr/>
          </p:nvSpPr>
          <p:spPr>
            <a:xfrm>
              <a:off x="865575" y="3862528"/>
              <a:ext cx="2020046" cy="385163"/>
            </a:xfrm>
            <a:prstGeom prst="rect">
              <a:avLst/>
            </a:prstGeom>
            <a:noFill/>
          </p:spPr>
          <p:txBody>
            <a:bodyPr wrap="none" rtlCol="0">
              <a:noAutofit/>
            </a:bodyPr>
            <a:lstStyle/>
            <a:p>
              <a:pPr algn="ctr">
                <a:buClr>
                  <a:schemeClr val="tx1"/>
                </a:buClr>
              </a:pPr>
              <a:r>
                <a:rPr lang="en-US" sz="2400" b="1" dirty="0" smtClean="0">
                  <a:solidFill>
                    <a:schemeClr val="bg1"/>
                  </a:solidFill>
                </a:rPr>
                <a:t>Non </a:t>
              </a:r>
              <a:r>
                <a:rPr lang="en-US" sz="2400" b="1" dirty="0" err="1" smtClean="0">
                  <a:solidFill>
                    <a:schemeClr val="bg1"/>
                  </a:solidFill>
                </a:rPr>
                <a:t>Relationnel</a:t>
              </a:r>
              <a:endParaRPr lang="en-US" sz="2400" b="1" dirty="0">
                <a:solidFill>
                  <a:schemeClr val="bg1"/>
                </a:solidFill>
              </a:endParaRPr>
            </a:p>
            <a:p>
              <a:pPr algn="ctr">
                <a:buClr>
                  <a:schemeClr val="tx1"/>
                </a:buClr>
              </a:pPr>
              <a:endParaRPr lang="en-US" sz="2400" b="1" dirty="0">
                <a:solidFill>
                  <a:schemeClr val="bg1"/>
                </a:solidFill>
              </a:endParaRPr>
            </a:p>
          </p:txBody>
        </p:sp>
      </p:grpSp>
      <p:sp>
        <p:nvSpPr>
          <p:cNvPr id="26" name="TextBox 25"/>
          <p:cNvSpPr txBox="1"/>
          <p:nvPr/>
        </p:nvSpPr>
        <p:spPr>
          <a:xfrm>
            <a:off x="4143372" y="4844356"/>
            <a:ext cx="986901" cy="369332"/>
          </a:xfrm>
          <a:prstGeom prst="rect">
            <a:avLst/>
          </a:prstGeom>
        </p:spPr>
        <p:style>
          <a:lnRef idx="1">
            <a:schemeClr val="accent5"/>
          </a:lnRef>
          <a:fillRef idx="3">
            <a:schemeClr val="accent5"/>
          </a:fillRef>
          <a:effectRef idx="2">
            <a:schemeClr val="accent5"/>
          </a:effectRef>
          <a:fontRef idx="minor">
            <a:schemeClr val="lt1"/>
          </a:fontRef>
        </p:style>
        <p:txBody>
          <a:bodyPr wrap="square" rtlCol="0">
            <a:spAutoFit/>
          </a:bodyPr>
          <a:lstStyle>
            <a:defPPr>
              <a:defRPr lang="en-US"/>
            </a:defPPr>
            <a:lvl1pPr algn="ctr">
              <a:buClr>
                <a:schemeClr val="tx1"/>
              </a:buClr>
              <a:defRPr b="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t> Tables </a:t>
            </a:r>
          </a:p>
        </p:txBody>
      </p:sp>
      <p:sp>
        <p:nvSpPr>
          <p:cNvPr id="37" name="TextBox 36"/>
          <p:cNvSpPr txBox="1"/>
          <p:nvPr/>
        </p:nvSpPr>
        <p:spPr>
          <a:xfrm>
            <a:off x="3715479" y="4221251"/>
            <a:ext cx="1813580" cy="381473"/>
          </a:xfrm>
          <a:prstGeom prst="rect">
            <a:avLst/>
          </a:prstGeom>
        </p:spPr>
        <p:style>
          <a:lnRef idx="1">
            <a:schemeClr val="accent5"/>
          </a:lnRef>
          <a:fillRef idx="3">
            <a:schemeClr val="accent5"/>
          </a:fillRef>
          <a:effectRef idx="2">
            <a:schemeClr val="accent5"/>
          </a:effectRef>
          <a:fontRef idx="minor">
            <a:schemeClr val="lt1"/>
          </a:fontRef>
        </p:style>
        <p:txBody>
          <a:bodyPr wrap="square" rtlCol="0">
            <a:spAutoFit/>
          </a:bodyPr>
          <a:lstStyle/>
          <a:p>
            <a:pPr algn="ctr">
              <a:buClr>
                <a:schemeClr val="tx1"/>
              </a:buClr>
            </a:pPr>
            <a:r>
              <a:rPr lang="en-US" b="1" dirty="0" smtClean="0"/>
              <a:t> DocumentDB</a:t>
            </a:r>
            <a:endParaRPr lang="en-US" b="1" dirty="0"/>
          </a:p>
        </p:txBody>
      </p:sp>
      <p:sp>
        <p:nvSpPr>
          <p:cNvPr id="47" name="TextBox 46"/>
          <p:cNvSpPr txBox="1"/>
          <p:nvPr/>
        </p:nvSpPr>
        <p:spPr>
          <a:xfrm>
            <a:off x="6757156" y="4240710"/>
            <a:ext cx="1524000" cy="369332"/>
          </a:xfrm>
          <a:prstGeom prst="rect">
            <a:avLst/>
          </a:prstGeom>
        </p:spPr>
        <p:style>
          <a:lnRef idx="1">
            <a:schemeClr val="accent2"/>
          </a:lnRef>
          <a:fillRef idx="3">
            <a:schemeClr val="accent2"/>
          </a:fillRef>
          <a:effectRef idx="2">
            <a:schemeClr val="accent2"/>
          </a:effectRef>
          <a:fontRef idx="minor">
            <a:schemeClr val="lt1"/>
          </a:fontRef>
        </p:style>
        <p:txBody>
          <a:bodyPr wrap="square" rtlCol="0">
            <a:spAutoFit/>
          </a:bodyPr>
          <a:lstStyle/>
          <a:p>
            <a:pPr algn="ctr">
              <a:buClr>
                <a:schemeClr val="tx1"/>
              </a:buClr>
            </a:pPr>
            <a:r>
              <a:rPr lang="en-US" b="1" dirty="0" smtClean="0">
                <a:solidFill>
                  <a:schemeClr val="bg1"/>
                </a:solidFill>
              </a:rPr>
              <a:t>Data Lake</a:t>
            </a:r>
            <a:endParaRPr lang="en-US" b="1" dirty="0">
              <a:solidFill>
                <a:schemeClr val="bg1"/>
              </a:solidFill>
            </a:endParaRPr>
          </a:p>
        </p:txBody>
      </p:sp>
      <p:grpSp>
        <p:nvGrpSpPr>
          <p:cNvPr id="15" name="Group 14"/>
          <p:cNvGrpSpPr/>
          <p:nvPr/>
        </p:nvGrpSpPr>
        <p:grpSpPr>
          <a:xfrm>
            <a:off x="3380175" y="2027291"/>
            <a:ext cx="8305800" cy="2001965"/>
            <a:chOff x="3380175" y="2431955"/>
            <a:chExt cx="8305800" cy="2001965"/>
          </a:xfrm>
        </p:grpSpPr>
        <p:sp>
          <p:nvSpPr>
            <p:cNvPr id="11" name="Rounded Rectangle 10"/>
            <p:cNvSpPr/>
            <p:nvPr/>
          </p:nvSpPr>
          <p:spPr bwMode="auto">
            <a:xfrm>
              <a:off x="3380175" y="2431955"/>
              <a:ext cx="8305800" cy="2001965"/>
            </a:xfrm>
            <a:prstGeom prst="roundRect">
              <a:avLst>
                <a:gd name="adj" fmla="val 0"/>
              </a:avLst>
            </a:prstGeom>
            <a:solidFill>
              <a:schemeClr val="accent1">
                <a:alpha val="23000"/>
              </a:schemeClr>
            </a:solidFill>
            <a:ln>
              <a:solidFill>
                <a:schemeClr val="tx2"/>
              </a:solidFill>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48" name="TextBox 47"/>
            <p:cNvSpPr txBox="1"/>
            <p:nvPr/>
          </p:nvSpPr>
          <p:spPr>
            <a:xfrm>
              <a:off x="3380175" y="2492938"/>
              <a:ext cx="8305799" cy="369332"/>
            </a:xfrm>
            <a:prstGeom prst="rect">
              <a:avLst/>
            </a:prstGeom>
            <a:noFill/>
          </p:spPr>
          <p:txBody>
            <a:bodyPr wrap="square" rtlCol="0">
              <a:spAutoFit/>
            </a:bodyPr>
            <a:lstStyle/>
            <a:p>
              <a:pPr algn="ctr">
                <a:buClr>
                  <a:schemeClr val="tx1"/>
                </a:buClr>
              </a:pPr>
              <a:r>
                <a:rPr lang="en-US" b="1" i="1" dirty="0" smtClean="0">
                  <a:solidFill>
                    <a:schemeClr val="bg1"/>
                  </a:solidFill>
                </a:rPr>
                <a:t>HDInsight</a:t>
              </a:r>
              <a:endParaRPr lang="en-US" b="1" i="1" dirty="0">
                <a:solidFill>
                  <a:schemeClr val="bg1"/>
                </a:solidFill>
              </a:endParaRPr>
            </a:p>
          </p:txBody>
        </p:sp>
      </p:grpSp>
      <p:sp>
        <p:nvSpPr>
          <p:cNvPr id="52" name="TextBox 51"/>
          <p:cNvSpPr txBox="1"/>
          <p:nvPr/>
        </p:nvSpPr>
        <p:spPr>
          <a:xfrm>
            <a:off x="6300466" y="4823105"/>
            <a:ext cx="2437380" cy="369332"/>
          </a:xfrm>
          <a:prstGeom prst="rect">
            <a:avLst/>
          </a:prstGeom>
        </p:spPr>
        <p:style>
          <a:lnRef idx="1">
            <a:schemeClr val="accent2"/>
          </a:lnRef>
          <a:fillRef idx="3">
            <a:schemeClr val="accent2"/>
          </a:fillRef>
          <a:effectRef idx="2">
            <a:schemeClr val="accent2"/>
          </a:effectRef>
          <a:fontRef idx="minor">
            <a:schemeClr val="lt1"/>
          </a:fontRef>
        </p:style>
        <p:txBody>
          <a:bodyPr wrap="square" rtlCol="0">
            <a:spAutoFit/>
          </a:bodyPr>
          <a:lstStyle/>
          <a:p>
            <a:pPr algn="ctr">
              <a:buClr>
                <a:schemeClr val="tx1"/>
              </a:buClr>
            </a:pPr>
            <a:r>
              <a:rPr lang="en-US" b="1" dirty="0" smtClean="0">
                <a:solidFill>
                  <a:schemeClr val="bg1"/>
                </a:solidFill>
              </a:rPr>
              <a:t>Machine Learning</a:t>
            </a:r>
            <a:endParaRPr lang="en-US" b="1" dirty="0">
              <a:solidFill>
                <a:schemeClr val="bg1"/>
              </a:solidFill>
            </a:endParaRPr>
          </a:p>
        </p:txBody>
      </p:sp>
      <p:sp>
        <p:nvSpPr>
          <p:cNvPr id="27" name="TextBox 26"/>
          <p:cNvSpPr txBox="1"/>
          <p:nvPr/>
        </p:nvSpPr>
        <p:spPr>
          <a:xfrm>
            <a:off x="9832449" y="2722394"/>
            <a:ext cx="1138329" cy="369332"/>
          </a:xfrm>
          <a:prstGeom prst="rect">
            <a:avLst/>
          </a:prstGeom>
        </p:spPr>
        <p:style>
          <a:lnRef idx="1">
            <a:schemeClr val="accent1"/>
          </a:lnRef>
          <a:fillRef idx="3">
            <a:schemeClr val="accent1"/>
          </a:fillRef>
          <a:effectRef idx="2">
            <a:schemeClr val="accent1"/>
          </a:effectRef>
          <a:fontRef idx="minor">
            <a:schemeClr val="lt1"/>
          </a:fontRef>
        </p:style>
        <p:txBody>
          <a:bodyPr wrap="square" rtlCol="0">
            <a:spAutoFit/>
          </a:bodyPr>
          <a:lstStyle>
            <a:defPPr>
              <a:defRPr lang="en-US"/>
            </a:defPPr>
            <a:lvl1pPr algn="ctr">
              <a:buClr>
                <a:schemeClr val="tx1"/>
              </a:buClr>
              <a:defRPr b="1"/>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smtClean="0"/>
              <a:t>Storm</a:t>
            </a:r>
            <a:endParaRPr lang="en-US" dirty="0"/>
          </a:p>
        </p:txBody>
      </p:sp>
      <p:sp>
        <p:nvSpPr>
          <p:cNvPr id="28" name="TextBox 27"/>
          <p:cNvSpPr txBox="1"/>
          <p:nvPr/>
        </p:nvSpPr>
        <p:spPr>
          <a:xfrm>
            <a:off x="6213954" y="3075907"/>
            <a:ext cx="1281021" cy="369332"/>
          </a:xfrm>
          <a:prstGeom prst="rect">
            <a:avLst/>
          </a:prstGeom>
        </p:spPr>
        <p:style>
          <a:lnRef idx="1">
            <a:schemeClr val="accent2"/>
          </a:lnRef>
          <a:fillRef idx="3">
            <a:schemeClr val="accent2"/>
          </a:fillRef>
          <a:effectRef idx="2">
            <a:schemeClr val="accent2"/>
          </a:effectRef>
          <a:fontRef idx="minor">
            <a:schemeClr val="lt1"/>
          </a:fontRef>
        </p:style>
        <p:txBody>
          <a:bodyPr wrap="square" rtlCol="0">
            <a:spAutoFit/>
          </a:bodyPr>
          <a:lstStyle>
            <a:defPPr>
              <a:defRPr lang="en-US"/>
            </a:defPPr>
            <a:lvl1pPr algn="ctr">
              <a:buClr>
                <a:schemeClr val="tx1"/>
              </a:buClr>
              <a:defRPr b="1">
                <a:solidFill>
                  <a:schemeClr val="tx1"/>
                </a:solidFill>
              </a:defRPr>
            </a:lvl1pPr>
          </a:lstStyle>
          <a:p>
            <a:r>
              <a:rPr lang="en-US" dirty="0" smtClean="0">
                <a:solidFill>
                  <a:schemeClr val="bg1"/>
                </a:solidFill>
              </a:rPr>
              <a:t>Hive/Pig</a:t>
            </a:r>
            <a:endParaRPr lang="en-US" dirty="0">
              <a:solidFill>
                <a:schemeClr val="bg1"/>
              </a:solidFill>
            </a:endParaRPr>
          </a:p>
        </p:txBody>
      </p:sp>
      <p:sp>
        <p:nvSpPr>
          <p:cNvPr id="29" name="TextBox 28"/>
          <p:cNvSpPr txBox="1"/>
          <p:nvPr/>
        </p:nvSpPr>
        <p:spPr>
          <a:xfrm>
            <a:off x="6405194" y="2559397"/>
            <a:ext cx="2128798" cy="369332"/>
          </a:xfrm>
          <a:prstGeom prst="rect">
            <a:avLst/>
          </a:prstGeom>
        </p:spPr>
        <p:style>
          <a:lnRef idx="1">
            <a:schemeClr val="accent2"/>
          </a:lnRef>
          <a:fillRef idx="3">
            <a:schemeClr val="accent2"/>
          </a:fillRef>
          <a:effectRef idx="2">
            <a:schemeClr val="accent2"/>
          </a:effectRef>
          <a:fontRef idx="minor">
            <a:schemeClr val="lt1"/>
          </a:fontRef>
        </p:style>
        <p:txBody>
          <a:bodyPr wrap="square" rtlCol="0">
            <a:spAutoFit/>
          </a:bodyPr>
          <a:lstStyle>
            <a:defPPr>
              <a:defRPr lang="en-US"/>
            </a:defPPr>
            <a:lvl1pPr algn="ctr">
              <a:buClr>
                <a:schemeClr val="tx1"/>
              </a:buClr>
              <a:defRPr b="1">
                <a:solidFill>
                  <a:schemeClr val="tx1"/>
                </a:solidFill>
              </a:defRPr>
            </a:lvl1pPr>
          </a:lstStyle>
          <a:p>
            <a:r>
              <a:rPr lang="en-US" dirty="0" smtClean="0">
                <a:solidFill>
                  <a:schemeClr val="bg1"/>
                </a:solidFill>
              </a:rPr>
              <a:t>MapReduce/</a:t>
            </a:r>
            <a:r>
              <a:rPr lang="en-US" dirty="0" err="1" smtClean="0">
                <a:solidFill>
                  <a:schemeClr val="bg1"/>
                </a:solidFill>
              </a:rPr>
              <a:t>Tez</a:t>
            </a:r>
            <a:endParaRPr lang="en-US" dirty="0">
              <a:solidFill>
                <a:schemeClr val="bg1"/>
              </a:solidFill>
            </a:endParaRPr>
          </a:p>
        </p:txBody>
      </p:sp>
      <p:sp>
        <p:nvSpPr>
          <p:cNvPr id="30" name="TextBox 29"/>
          <p:cNvSpPr txBox="1"/>
          <p:nvPr/>
        </p:nvSpPr>
        <p:spPr>
          <a:xfrm>
            <a:off x="7686843" y="3083058"/>
            <a:ext cx="1036249" cy="369332"/>
          </a:xfrm>
          <a:prstGeom prst="rect">
            <a:avLst/>
          </a:prstGeom>
        </p:spPr>
        <p:style>
          <a:lnRef idx="1">
            <a:schemeClr val="accent2"/>
          </a:lnRef>
          <a:fillRef idx="3">
            <a:schemeClr val="accent2"/>
          </a:fillRef>
          <a:effectRef idx="2">
            <a:schemeClr val="accent2"/>
          </a:effectRef>
          <a:fontRef idx="minor">
            <a:schemeClr val="lt1"/>
          </a:fontRef>
        </p:style>
        <p:txBody>
          <a:bodyPr wrap="square" rtlCol="0">
            <a:spAutoFit/>
          </a:bodyPr>
          <a:lstStyle>
            <a:defPPr>
              <a:defRPr lang="en-US"/>
            </a:defPPr>
            <a:lvl1pPr algn="ctr">
              <a:buClr>
                <a:schemeClr val="tx1"/>
              </a:buClr>
              <a:defRPr b="1">
                <a:solidFill>
                  <a:schemeClr val="tx1"/>
                </a:solidFill>
              </a:defRPr>
            </a:lvl1pPr>
          </a:lstStyle>
          <a:p>
            <a:r>
              <a:rPr lang="en-US" dirty="0" smtClean="0">
                <a:solidFill>
                  <a:schemeClr val="bg1"/>
                </a:solidFill>
              </a:rPr>
              <a:t>Spark</a:t>
            </a:r>
            <a:endParaRPr lang="en-US" dirty="0">
              <a:solidFill>
                <a:schemeClr val="bg1"/>
              </a:solidFill>
            </a:endParaRPr>
          </a:p>
        </p:txBody>
      </p:sp>
      <p:sp>
        <p:nvSpPr>
          <p:cNvPr id="31" name="TextBox 30"/>
          <p:cNvSpPr txBox="1"/>
          <p:nvPr/>
        </p:nvSpPr>
        <p:spPr>
          <a:xfrm>
            <a:off x="7015009" y="3547022"/>
            <a:ext cx="771864" cy="369332"/>
          </a:xfrm>
          <a:prstGeom prst="rect">
            <a:avLst/>
          </a:prstGeom>
        </p:spPr>
        <p:style>
          <a:lnRef idx="1">
            <a:schemeClr val="accent2"/>
          </a:lnRef>
          <a:fillRef idx="3">
            <a:schemeClr val="accent2"/>
          </a:fillRef>
          <a:effectRef idx="2">
            <a:schemeClr val="accent2"/>
          </a:effectRef>
          <a:fontRef idx="minor">
            <a:schemeClr val="lt1"/>
          </a:fontRef>
        </p:style>
        <p:txBody>
          <a:bodyPr wrap="square" rtlCol="0" anchor="ctr" anchorCtr="0">
            <a:spAutoFit/>
          </a:bodyPr>
          <a:lstStyle>
            <a:defPPr>
              <a:defRPr lang="en-US"/>
            </a:defPPr>
            <a:lvl1pPr algn="ctr">
              <a:buClr>
                <a:schemeClr val="tx1"/>
              </a:buClr>
              <a:defRPr b="1">
                <a:solidFill>
                  <a:schemeClr val="tx1"/>
                </a:solidFill>
              </a:defRPr>
            </a:lvl1pPr>
          </a:lstStyle>
          <a:p>
            <a:r>
              <a:rPr lang="en-US" dirty="0" smtClean="0">
                <a:solidFill>
                  <a:schemeClr val="bg1"/>
                </a:solidFill>
              </a:rPr>
              <a:t>. . .</a:t>
            </a:r>
            <a:endParaRPr lang="en-US" dirty="0">
              <a:solidFill>
                <a:schemeClr val="bg1"/>
              </a:solidFill>
            </a:endParaRPr>
          </a:p>
        </p:txBody>
      </p:sp>
      <p:sp>
        <p:nvSpPr>
          <p:cNvPr id="34" name="TextBox 33"/>
          <p:cNvSpPr txBox="1"/>
          <p:nvPr/>
        </p:nvSpPr>
        <p:spPr>
          <a:xfrm>
            <a:off x="9689905" y="4433742"/>
            <a:ext cx="1138329" cy="646331"/>
          </a:xfrm>
          <a:prstGeom prst="rect">
            <a:avLst/>
          </a:prstGeom>
        </p:spPr>
        <p:style>
          <a:lnRef idx="1">
            <a:schemeClr val="accent1"/>
          </a:lnRef>
          <a:fillRef idx="3">
            <a:schemeClr val="accent1"/>
          </a:fillRef>
          <a:effectRef idx="2">
            <a:schemeClr val="accent1"/>
          </a:effectRef>
          <a:fontRef idx="minor">
            <a:schemeClr val="lt1"/>
          </a:fontRef>
        </p:style>
        <p:txBody>
          <a:bodyPr wrap="square" rtlCol="0">
            <a:spAutoFit/>
          </a:bodyPr>
          <a:lstStyle>
            <a:defPPr>
              <a:defRPr lang="en-US"/>
            </a:defPPr>
            <a:lvl1pPr algn="ctr">
              <a:buClr>
                <a:schemeClr val="tx1"/>
              </a:buClr>
              <a:defRPr b="1"/>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smtClean="0"/>
              <a:t>Event Hubs</a:t>
            </a:r>
            <a:endParaRPr lang="en-US" dirty="0"/>
          </a:p>
        </p:txBody>
      </p:sp>
      <p:sp>
        <p:nvSpPr>
          <p:cNvPr id="42" name="TextBox 41"/>
          <p:cNvSpPr txBox="1"/>
          <p:nvPr/>
        </p:nvSpPr>
        <p:spPr>
          <a:xfrm>
            <a:off x="3942919" y="2833750"/>
            <a:ext cx="1387806" cy="373820"/>
          </a:xfrm>
          <a:prstGeom prst="rect">
            <a:avLst/>
          </a:prstGeom>
        </p:spPr>
        <p:style>
          <a:lnRef idx="1">
            <a:schemeClr val="accent5"/>
          </a:lnRef>
          <a:fillRef idx="3">
            <a:schemeClr val="accent5"/>
          </a:fillRef>
          <a:effectRef idx="2">
            <a:schemeClr val="accent5"/>
          </a:effectRef>
          <a:fontRef idx="minor">
            <a:schemeClr val="lt1"/>
          </a:fontRef>
        </p:style>
        <p:txBody>
          <a:bodyPr wrap="square" rtlCol="0">
            <a:spAutoFit/>
          </a:bodyPr>
          <a:lstStyle>
            <a:defPPr>
              <a:defRPr lang="en-US"/>
            </a:defPPr>
            <a:lvl1pPr algn="ctr">
              <a:buClr>
                <a:schemeClr val="tx1"/>
              </a:buClr>
              <a:defRPr b="1"/>
            </a:lvl1pPr>
          </a:lstStyle>
          <a:p>
            <a:r>
              <a:rPr lang="en-US" dirty="0"/>
              <a:t>HBase </a:t>
            </a:r>
          </a:p>
        </p:txBody>
      </p:sp>
      <p:sp>
        <p:nvSpPr>
          <p:cNvPr id="33" name="TextBox 32"/>
          <p:cNvSpPr txBox="1"/>
          <p:nvPr/>
        </p:nvSpPr>
        <p:spPr>
          <a:xfrm>
            <a:off x="9341109" y="3266099"/>
            <a:ext cx="2121011" cy="369332"/>
          </a:xfrm>
          <a:prstGeom prst="rect">
            <a:avLst/>
          </a:prstGeom>
        </p:spPr>
        <p:style>
          <a:lnRef idx="1">
            <a:schemeClr val="accent1"/>
          </a:lnRef>
          <a:fillRef idx="3">
            <a:schemeClr val="accent1"/>
          </a:fillRef>
          <a:effectRef idx="2">
            <a:schemeClr val="accent1"/>
          </a:effectRef>
          <a:fontRef idx="minor">
            <a:schemeClr val="lt1"/>
          </a:fontRef>
        </p:style>
        <p:txBody>
          <a:bodyPr wrap="square" rtlCol="0">
            <a:spAutoFit/>
          </a:bodyPr>
          <a:lstStyle>
            <a:defPPr>
              <a:defRPr lang="en-US"/>
            </a:defPPr>
            <a:lvl1pPr algn="ctr">
              <a:buClr>
                <a:schemeClr val="tx1"/>
              </a:buClr>
              <a:defRPr b="1"/>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smtClean="0"/>
              <a:t>Spark </a:t>
            </a:r>
            <a:r>
              <a:rPr lang="en-US" dirty="0"/>
              <a:t>Streaming </a:t>
            </a:r>
          </a:p>
        </p:txBody>
      </p:sp>
      <p:sp>
        <p:nvSpPr>
          <p:cNvPr id="40" name="Text Placeholder 4"/>
          <p:cNvSpPr>
            <a:spLocks noGrp="1"/>
          </p:cNvSpPr>
          <p:nvPr>
            <p:ph type="body" sz="quarter" idx="15"/>
          </p:nvPr>
        </p:nvSpPr>
        <p:spPr>
          <a:xfrm>
            <a:off x="601613" y="6652968"/>
            <a:ext cx="5472113" cy="308219"/>
          </a:xfrm>
        </p:spPr>
        <p:txBody>
          <a:bodyPr/>
          <a:lstStyle/>
          <a:p>
            <a:r>
              <a:rPr lang="fr-FR" dirty="0"/>
              <a:t>SQL ou </a:t>
            </a:r>
            <a:r>
              <a:rPr lang="fr-FR" dirty="0" err="1"/>
              <a:t>noSQL</a:t>
            </a:r>
            <a:r>
              <a:rPr lang="fr-FR" dirty="0"/>
              <a:t> </a:t>
            </a:r>
            <a:r>
              <a:rPr lang="fr-FR" dirty="0" smtClean="0"/>
              <a:t>?</a:t>
            </a:r>
            <a:endParaRPr lang="fr-FR" dirty="0"/>
          </a:p>
        </p:txBody>
      </p:sp>
    </p:spTree>
    <p:extLst>
      <p:ext uri="{BB962C8B-B14F-4D97-AF65-F5344CB8AC3E}">
        <p14:creationId xmlns:p14="http://schemas.microsoft.com/office/powerpoint/2010/main" val="3956402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childTnLst>
                          </p:cTn>
                        </p:par>
                        <p:par>
                          <p:cTn id="23" fill="hold">
                            <p:stCondLst>
                              <p:cond delay="500"/>
                            </p:stCondLst>
                            <p:childTnLst>
                              <p:par>
                                <p:cTn id="24" presetID="10" presetClass="entr" presetSubtype="0" fill="hold" grpId="0" nodeType="afterEffect">
                                  <p:stCondLst>
                                    <p:cond delay="0"/>
                                  </p:stCondLst>
                                  <p:childTnLst>
                                    <p:set>
                                      <p:cBhvr>
                                        <p:cTn id="25" dur="1" fill="hold">
                                          <p:stCondLst>
                                            <p:cond delay="0"/>
                                          </p:stCondLst>
                                        </p:cTn>
                                        <p:tgtEl>
                                          <p:spTgt spid="41"/>
                                        </p:tgtEl>
                                        <p:attrNameLst>
                                          <p:attrName>style.visibility</p:attrName>
                                        </p:attrNameLst>
                                      </p:cBhvr>
                                      <p:to>
                                        <p:strVal val="visible"/>
                                      </p:to>
                                    </p:set>
                                    <p:animEffect transition="in" filter="fade">
                                      <p:cBhvr>
                                        <p:cTn id="26" dur="500"/>
                                        <p:tgtEl>
                                          <p:spTgt spid="41"/>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37"/>
                                        </p:tgtEl>
                                        <p:attrNameLst>
                                          <p:attrName>style.visibility</p:attrName>
                                        </p:attrNameLst>
                                      </p:cBhvr>
                                      <p:to>
                                        <p:strVal val="visible"/>
                                      </p:to>
                                    </p:set>
                                    <p:animEffect transition="in" filter="fade">
                                      <p:cBhvr>
                                        <p:cTn id="29" dur="500"/>
                                        <p:tgtEl>
                                          <p:spTgt spid="37"/>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26"/>
                                        </p:tgtEl>
                                        <p:attrNameLst>
                                          <p:attrName>style.visibility</p:attrName>
                                        </p:attrNameLst>
                                      </p:cBhvr>
                                      <p:to>
                                        <p:strVal val="visible"/>
                                      </p:to>
                                    </p:set>
                                    <p:animEffect transition="in" filter="fade">
                                      <p:cBhvr>
                                        <p:cTn id="32" dur="500"/>
                                        <p:tgtEl>
                                          <p:spTgt spid="26"/>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42"/>
                                        </p:tgtEl>
                                        <p:attrNameLst>
                                          <p:attrName>style.visibility</p:attrName>
                                        </p:attrNameLst>
                                      </p:cBhvr>
                                      <p:to>
                                        <p:strVal val="visible"/>
                                      </p:to>
                                    </p:set>
                                    <p:animEffect transition="in" filter="fade">
                                      <p:cBhvr>
                                        <p:cTn id="35" dur="500"/>
                                        <p:tgtEl>
                                          <p:spTgt spid="42"/>
                                        </p:tgtEl>
                                      </p:cBhvr>
                                    </p:animEffect>
                                  </p:childTnLst>
                                </p:cTn>
                              </p:par>
                            </p:childTnLst>
                          </p:cTn>
                        </p:par>
                        <p:par>
                          <p:cTn id="36" fill="hold">
                            <p:stCondLst>
                              <p:cond delay="1000"/>
                            </p:stCondLst>
                            <p:childTnLst>
                              <p:par>
                                <p:cTn id="37" presetID="10" presetClass="entr" presetSubtype="0" fill="hold" grpId="0" nodeType="afterEffect">
                                  <p:stCondLst>
                                    <p:cond delay="0"/>
                                  </p:stCondLst>
                                  <p:childTnLst>
                                    <p:set>
                                      <p:cBhvr>
                                        <p:cTn id="38" dur="1" fill="hold">
                                          <p:stCondLst>
                                            <p:cond delay="0"/>
                                          </p:stCondLst>
                                        </p:cTn>
                                        <p:tgtEl>
                                          <p:spTgt spid="20"/>
                                        </p:tgtEl>
                                        <p:attrNameLst>
                                          <p:attrName>style.visibility</p:attrName>
                                        </p:attrNameLst>
                                      </p:cBhvr>
                                      <p:to>
                                        <p:strVal val="visible"/>
                                      </p:to>
                                    </p:set>
                                    <p:animEffect transition="in" filter="fade">
                                      <p:cBhvr>
                                        <p:cTn id="39" dur="500"/>
                                        <p:tgtEl>
                                          <p:spTgt spid="20"/>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9"/>
                                        </p:tgtEl>
                                        <p:attrNameLst>
                                          <p:attrName>style.visibility</p:attrName>
                                        </p:attrNameLst>
                                      </p:cBhvr>
                                      <p:to>
                                        <p:strVal val="visible"/>
                                      </p:to>
                                    </p:set>
                                    <p:animEffect transition="in" filter="fade">
                                      <p:cBhvr>
                                        <p:cTn id="42" dur="500"/>
                                        <p:tgtEl>
                                          <p:spTgt spid="29"/>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28"/>
                                        </p:tgtEl>
                                        <p:attrNameLst>
                                          <p:attrName>style.visibility</p:attrName>
                                        </p:attrNameLst>
                                      </p:cBhvr>
                                      <p:to>
                                        <p:strVal val="visible"/>
                                      </p:to>
                                    </p:set>
                                    <p:animEffect transition="in" filter="fade">
                                      <p:cBhvr>
                                        <p:cTn id="45" dur="500"/>
                                        <p:tgtEl>
                                          <p:spTgt spid="28"/>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30"/>
                                        </p:tgtEl>
                                        <p:attrNameLst>
                                          <p:attrName>style.visibility</p:attrName>
                                        </p:attrNameLst>
                                      </p:cBhvr>
                                      <p:to>
                                        <p:strVal val="visible"/>
                                      </p:to>
                                    </p:set>
                                    <p:animEffect transition="in" filter="fade">
                                      <p:cBhvr>
                                        <p:cTn id="48" dur="500"/>
                                        <p:tgtEl>
                                          <p:spTgt spid="30"/>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31"/>
                                        </p:tgtEl>
                                        <p:attrNameLst>
                                          <p:attrName>style.visibility</p:attrName>
                                        </p:attrNameLst>
                                      </p:cBhvr>
                                      <p:to>
                                        <p:strVal val="visible"/>
                                      </p:to>
                                    </p:set>
                                    <p:animEffect transition="in" filter="fade">
                                      <p:cBhvr>
                                        <p:cTn id="51" dur="500"/>
                                        <p:tgtEl>
                                          <p:spTgt spid="31"/>
                                        </p:tgtEl>
                                      </p:cBhvr>
                                    </p:animEffect>
                                  </p:childTnLst>
                                </p:cTn>
                              </p:par>
                              <p:par>
                                <p:cTn id="52" presetID="10" presetClass="entr" presetSubtype="0" fill="hold" nodeType="withEffect">
                                  <p:stCondLst>
                                    <p:cond delay="0"/>
                                  </p:stCondLst>
                                  <p:childTnLst>
                                    <p:set>
                                      <p:cBhvr>
                                        <p:cTn id="53" dur="1" fill="hold">
                                          <p:stCondLst>
                                            <p:cond delay="0"/>
                                          </p:stCondLst>
                                        </p:cTn>
                                        <p:tgtEl>
                                          <p:spTgt spid="15"/>
                                        </p:tgtEl>
                                        <p:attrNameLst>
                                          <p:attrName>style.visibility</p:attrName>
                                        </p:attrNameLst>
                                      </p:cBhvr>
                                      <p:to>
                                        <p:strVal val="visible"/>
                                      </p:to>
                                    </p:set>
                                    <p:animEffect transition="in" filter="fade">
                                      <p:cBhvr>
                                        <p:cTn id="54" dur="500"/>
                                        <p:tgtEl>
                                          <p:spTgt spid="15"/>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47"/>
                                        </p:tgtEl>
                                        <p:attrNameLst>
                                          <p:attrName>style.visibility</p:attrName>
                                        </p:attrNameLst>
                                      </p:cBhvr>
                                      <p:to>
                                        <p:strVal val="visible"/>
                                      </p:to>
                                    </p:set>
                                    <p:animEffect transition="in" filter="fade">
                                      <p:cBhvr>
                                        <p:cTn id="57" dur="500"/>
                                        <p:tgtEl>
                                          <p:spTgt spid="47"/>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52"/>
                                        </p:tgtEl>
                                        <p:attrNameLst>
                                          <p:attrName>style.visibility</p:attrName>
                                        </p:attrNameLst>
                                      </p:cBhvr>
                                      <p:to>
                                        <p:strVal val="visible"/>
                                      </p:to>
                                    </p:set>
                                    <p:animEffect transition="in" filter="fade">
                                      <p:cBhvr>
                                        <p:cTn id="60" dur="500"/>
                                        <p:tgtEl>
                                          <p:spTgt spid="52"/>
                                        </p:tgtEl>
                                      </p:cBhvr>
                                    </p:animEffect>
                                  </p:childTnLst>
                                </p:cTn>
                              </p:par>
                            </p:childTnLst>
                          </p:cTn>
                        </p:par>
                        <p:par>
                          <p:cTn id="61" fill="hold">
                            <p:stCondLst>
                              <p:cond delay="1500"/>
                            </p:stCondLst>
                            <p:childTnLst>
                              <p:par>
                                <p:cTn id="62" presetID="10" presetClass="entr" presetSubtype="0" fill="hold" grpId="0" nodeType="afterEffect">
                                  <p:stCondLst>
                                    <p:cond delay="0"/>
                                  </p:stCondLst>
                                  <p:childTnLst>
                                    <p:set>
                                      <p:cBhvr>
                                        <p:cTn id="63" dur="1" fill="hold">
                                          <p:stCondLst>
                                            <p:cond delay="0"/>
                                          </p:stCondLst>
                                        </p:cTn>
                                        <p:tgtEl>
                                          <p:spTgt spid="38"/>
                                        </p:tgtEl>
                                        <p:attrNameLst>
                                          <p:attrName>style.visibility</p:attrName>
                                        </p:attrNameLst>
                                      </p:cBhvr>
                                      <p:to>
                                        <p:strVal val="visible"/>
                                      </p:to>
                                    </p:set>
                                    <p:animEffect transition="in" filter="fade">
                                      <p:cBhvr>
                                        <p:cTn id="64" dur="500"/>
                                        <p:tgtEl>
                                          <p:spTgt spid="38"/>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27"/>
                                        </p:tgtEl>
                                        <p:attrNameLst>
                                          <p:attrName>style.visibility</p:attrName>
                                        </p:attrNameLst>
                                      </p:cBhvr>
                                      <p:to>
                                        <p:strVal val="visible"/>
                                      </p:to>
                                    </p:set>
                                    <p:animEffect transition="in" filter="fade">
                                      <p:cBhvr>
                                        <p:cTn id="67" dur="500"/>
                                        <p:tgtEl>
                                          <p:spTgt spid="27"/>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33"/>
                                        </p:tgtEl>
                                        <p:attrNameLst>
                                          <p:attrName>style.visibility</p:attrName>
                                        </p:attrNameLst>
                                      </p:cBhvr>
                                      <p:to>
                                        <p:strVal val="visible"/>
                                      </p:to>
                                    </p:set>
                                    <p:animEffect transition="in" filter="fade">
                                      <p:cBhvr>
                                        <p:cTn id="70" dur="500"/>
                                        <p:tgtEl>
                                          <p:spTgt spid="33"/>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34"/>
                                        </p:tgtEl>
                                        <p:attrNameLst>
                                          <p:attrName>style.visibility</p:attrName>
                                        </p:attrNameLst>
                                      </p:cBhvr>
                                      <p:to>
                                        <p:strVal val="visible"/>
                                      </p:to>
                                    </p:set>
                                    <p:animEffect transition="in" filter="fade">
                                      <p:cBhvr>
                                        <p:cTn id="73"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animBg="1"/>
      <p:bldP spid="20" grpId="0" animBg="1"/>
      <p:bldP spid="38" grpId="0" animBg="1"/>
      <p:bldP spid="26" grpId="0" animBg="1"/>
      <p:bldP spid="37" grpId="0" animBg="1"/>
      <p:bldP spid="47" grpId="0" animBg="1"/>
      <p:bldP spid="52" grpId="0" animBg="1"/>
      <p:bldP spid="27" grpId="0" animBg="1"/>
      <p:bldP spid="28" grpId="0" animBg="1"/>
      <p:bldP spid="29" grpId="0" animBg="1"/>
      <p:bldP spid="30" grpId="0" animBg="1"/>
      <p:bldP spid="31" grpId="0" animBg="1"/>
      <p:bldP spid="34" grpId="0" animBg="1"/>
      <p:bldP spid="42" grpId="0" animBg="1"/>
      <p:bldP spid="33"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fontScale="90000"/>
          </a:bodyPr>
          <a:lstStyle/>
          <a:p>
            <a:r>
              <a:rPr lang="fr-FR" dirty="0" smtClean="0"/>
              <a:t>Une solution existante : les outils </a:t>
            </a:r>
            <a:r>
              <a:rPr lang="fr-FR" dirty="0" err="1" smtClean="0"/>
              <a:t>Elastic</a:t>
            </a:r>
            <a:r>
              <a:rPr lang="fr-FR" dirty="0" smtClean="0"/>
              <a:t> Database</a:t>
            </a:r>
            <a:endParaRPr lang="fr-FR" dirty="0"/>
          </a:p>
        </p:txBody>
      </p:sp>
      <p:sp>
        <p:nvSpPr>
          <p:cNvPr id="2" name="Text Placeholder 1"/>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sp>
        <p:nvSpPr>
          <p:cNvPr id="40" name="Text Placeholder 4"/>
          <p:cNvSpPr txBox="1">
            <a:spLocks/>
          </p:cNvSpPr>
          <p:nvPr/>
        </p:nvSpPr>
        <p:spPr>
          <a:xfrm>
            <a:off x="1321693" y="1048990"/>
            <a:ext cx="10075825" cy="2979853"/>
          </a:xfrm>
          <a:prstGeom prst="rect">
            <a:avLst/>
          </a:prstGeom>
        </p:spPr>
        <p:txBody>
          <a:bodyPr>
            <a:norm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fr-FR" sz="2800" dirty="0"/>
              <a:t>Factorisation multi-</a:t>
            </a:r>
            <a:r>
              <a:rPr lang="fr-FR" sz="2800" dirty="0" err="1"/>
              <a:t>database</a:t>
            </a:r>
            <a:endParaRPr lang="fr-FR" sz="2800" dirty="0"/>
          </a:p>
          <a:p>
            <a:pPr lvl="1"/>
            <a:r>
              <a:rPr lang="fr-FR"/>
              <a:t>Définition </a:t>
            </a:r>
            <a:r>
              <a:rPr lang="fr-FR" dirty="0"/>
              <a:t>et</a:t>
            </a:r>
            <a:r>
              <a:rPr lang="fr-FR"/>
              <a:t> </a:t>
            </a:r>
            <a:r>
              <a:rPr lang="fr-FR" dirty="0"/>
              <a:t>organisation</a:t>
            </a:r>
            <a:r>
              <a:rPr lang="fr-FR"/>
              <a:t> de </a:t>
            </a:r>
            <a:r>
              <a:rPr lang="fr-FR" dirty="0"/>
              <a:t>l’ensemble des bases de données correspondant à l’infrastructure data de l’application</a:t>
            </a:r>
          </a:p>
          <a:p>
            <a:pPr lvl="1"/>
            <a:r>
              <a:rPr lang="fr-FR" dirty="0"/>
              <a:t>Etablissement de la correspondance client (tenant) - base</a:t>
            </a:r>
          </a:p>
          <a:p>
            <a:r>
              <a:rPr lang="fr-FR" sz="2800" dirty="0"/>
              <a:t>Data-</a:t>
            </a:r>
            <a:r>
              <a:rPr lang="fr-FR" sz="2800" dirty="0" err="1"/>
              <a:t>dependent</a:t>
            </a:r>
            <a:r>
              <a:rPr lang="fr-FR" sz="2800" dirty="0"/>
              <a:t> </a:t>
            </a:r>
            <a:r>
              <a:rPr lang="fr-FR" sz="2800" dirty="0" err="1"/>
              <a:t>routing</a:t>
            </a:r>
            <a:endParaRPr lang="fr-FR" sz="2800" dirty="0"/>
          </a:p>
          <a:p>
            <a:pPr lvl="1"/>
            <a:r>
              <a:rPr lang="fr-FR" dirty="0"/>
              <a:t>Routage des requêtes vers la base cible</a:t>
            </a:r>
          </a:p>
          <a:p>
            <a:pPr lvl="1"/>
            <a:r>
              <a:rPr lang="fr-FR" dirty="0"/>
              <a:t>Mise en cache de l’information de routage</a:t>
            </a:r>
          </a:p>
        </p:txBody>
      </p:sp>
      <p:grpSp>
        <p:nvGrpSpPr>
          <p:cNvPr id="103" name="Group 102"/>
          <p:cNvGrpSpPr/>
          <p:nvPr/>
        </p:nvGrpSpPr>
        <p:grpSpPr>
          <a:xfrm>
            <a:off x="612655" y="4145334"/>
            <a:ext cx="10847903" cy="2416548"/>
            <a:chOff x="601178" y="2271587"/>
            <a:chExt cx="11440258" cy="4495989"/>
          </a:xfrm>
        </p:grpSpPr>
        <p:sp>
          <p:nvSpPr>
            <p:cNvPr id="104" name="Left-Right Arrow 69"/>
            <p:cNvSpPr/>
            <p:nvPr/>
          </p:nvSpPr>
          <p:spPr>
            <a:xfrm>
              <a:off x="4006537" y="6241537"/>
              <a:ext cx="4358133" cy="526039"/>
            </a:xfrm>
            <a:prstGeom prst="leftRightArrow">
              <a:avLst/>
            </a:prstGeom>
            <a:solidFill>
              <a:srgbClr val="0072C6"/>
            </a:solidFill>
            <a:ln w="6350" cap="flat" cmpd="sng" algn="ctr">
              <a:solidFill>
                <a:srgbClr val="70AD47"/>
              </a:solidFill>
              <a:prstDash val="solid"/>
              <a:miter lim="800000"/>
            </a:ln>
            <a:effectLst/>
          </p:spPr>
          <p:txBody>
            <a:bodyPr rtlCol="0" anchor="ctr"/>
            <a:lstStyle/>
            <a:p>
              <a:pPr marL="0" marR="0" lvl="0" indent="0" algn="ctr" defTabSz="975390" eaLnBrk="1" fontAlgn="auto" latinLnBrk="0" hangingPunct="1">
                <a:lnSpc>
                  <a:spcPct val="100000"/>
                </a:lnSpc>
                <a:spcBef>
                  <a:spcPts val="0"/>
                </a:spcBef>
                <a:spcAft>
                  <a:spcPts val="0"/>
                </a:spcAft>
                <a:buClrTx/>
                <a:buSzTx/>
                <a:buFontTx/>
                <a:buNone/>
                <a:tabLst/>
                <a:defRPr/>
              </a:pPr>
              <a:r>
                <a:rPr kumimoji="0" lang="fr-FR" sz="1800" b="0" i="0" u="none" strike="noStrike" kern="0" cap="none" spc="0" normalizeH="0" baseline="0" noProof="0" dirty="0" err="1" smtClean="0">
                  <a:ln>
                    <a:noFill/>
                  </a:ln>
                  <a:solidFill>
                    <a:prstClr val="white"/>
                  </a:solidFill>
                  <a:effectLst/>
                  <a:uLnTx/>
                  <a:uFillTx/>
                  <a:latin typeface="Calibri" panose="020F0502020204030204"/>
                </a:rPr>
                <a:t>Grow</a:t>
              </a:r>
              <a:r>
                <a:rPr kumimoji="0" lang="fr-FR" sz="1800" b="0" i="0" u="none" strike="noStrike" kern="0" cap="none" spc="0" normalizeH="0" baseline="0" noProof="0" dirty="0" smtClean="0">
                  <a:ln>
                    <a:noFill/>
                  </a:ln>
                  <a:solidFill>
                    <a:prstClr val="white"/>
                  </a:solidFill>
                  <a:effectLst/>
                  <a:uLnTx/>
                  <a:uFillTx/>
                  <a:latin typeface="Calibri" panose="020F0502020204030204"/>
                </a:rPr>
                <a:t>/</a:t>
              </a:r>
              <a:r>
                <a:rPr kumimoji="0" lang="fr-FR" sz="1800" b="0" i="0" u="none" strike="noStrike" kern="0" cap="none" spc="0" normalizeH="0" baseline="0" noProof="0" dirty="0" err="1" smtClean="0">
                  <a:ln>
                    <a:noFill/>
                  </a:ln>
                  <a:solidFill>
                    <a:prstClr val="white"/>
                  </a:solidFill>
                  <a:effectLst/>
                  <a:uLnTx/>
                  <a:uFillTx/>
                  <a:latin typeface="Calibri" panose="020F0502020204030204"/>
                </a:rPr>
                <a:t>shrink</a:t>
              </a:r>
              <a:r>
                <a:rPr kumimoji="0" lang="fr-FR" sz="1800" b="0" i="0" u="none" strike="noStrike" kern="0" cap="none" spc="0" normalizeH="0" baseline="0" noProof="0" dirty="0" smtClean="0">
                  <a:ln>
                    <a:noFill/>
                  </a:ln>
                  <a:solidFill>
                    <a:prstClr val="white"/>
                  </a:solidFill>
                  <a:effectLst/>
                  <a:uLnTx/>
                  <a:uFillTx/>
                  <a:latin typeface="Calibri" panose="020F0502020204030204"/>
                </a:rPr>
                <a:t> </a:t>
              </a:r>
              <a:r>
                <a:rPr kumimoji="0" lang="fr-FR" sz="1800" b="0" i="0" u="none" strike="noStrike" kern="0" cap="none" spc="0" normalizeH="0" baseline="0" noProof="0" dirty="0" err="1" smtClean="0">
                  <a:ln>
                    <a:noFill/>
                  </a:ln>
                  <a:solidFill>
                    <a:prstClr val="white"/>
                  </a:solidFill>
                  <a:effectLst/>
                  <a:uLnTx/>
                  <a:uFillTx/>
                  <a:latin typeface="Calibri" panose="020F0502020204030204"/>
                </a:rPr>
                <a:t>capacity</a:t>
              </a:r>
              <a:endParaRPr kumimoji="0" lang="fr-FR" sz="1800" b="0" i="0" u="none" strike="noStrike" kern="0" cap="none" spc="0" normalizeH="0" baseline="0" noProof="0" dirty="0">
                <a:ln>
                  <a:noFill/>
                </a:ln>
                <a:solidFill>
                  <a:prstClr val="white"/>
                </a:solidFill>
                <a:effectLst/>
                <a:uLnTx/>
                <a:uFillTx/>
                <a:latin typeface="Calibri" panose="020F0502020204030204"/>
              </a:endParaRPr>
            </a:p>
          </p:txBody>
        </p:sp>
        <p:sp>
          <p:nvSpPr>
            <p:cNvPr id="105" name="Rounded Rectangle 4"/>
            <p:cNvSpPr/>
            <p:nvPr/>
          </p:nvSpPr>
          <p:spPr>
            <a:xfrm>
              <a:off x="4210900" y="2271587"/>
              <a:ext cx="4107014" cy="1274314"/>
            </a:xfrm>
            <a:prstGeom prst="roundRect">
              <a:avLst/>
            </a:prstGeom>
            <a:solidFill>
              <a:srgbClr val="0072C6">
                <a:lumMod val="40000"/>
                <a:lumOff val="60000"/>
              </a:srgbClr>
            </a:solidFill>
            <a:ln w="12700" cap="flat" cmpd="sng" algn="ctr">
              <a:solidFill>
                <a:srgbClr val="5B9BD5">
                  <a:shade val="50000"/>
                </a:srgbClr>
              </a:solidFill>
              <a:prstDash val="solid"/>
              <a:miter lim="800000"/>
            </a:ln>
            <a:effectLst/>
          </p:spPr>
          <p:txBody>
            <a:bodyPr rtlCol="0" anchor="ctr"/>
            <a:lstStyle/>
            <a:p>
              <a:pPr marL="0" marR="0" lvl="0" indent="0" algn="ctr" defTabSz="975390" eaLnBrk="1" fontAlgn="auto" latinLnBrk="0" hangingPunct="1">
                <a:lnSpc>
                  <a:spcPct val="100000"/>
                </a:lnSpc>
                <a:spcBef>
                  <a:spcPts val="0"/>
                </a:spcBef>
                <a:spcAft>
                  <a:spcPts val="0"/>
                </a:spcAft>
                <a:buClrTx/>
                <a:buSzTx/>
                <a:buFontTx/>
                <a:buNone/>
                <a:tabLst/>
                <a:defRPr/>
              </a:pPr>
              <a:r>
                <a:rPr kumimoji="0" lang="fr-FR" sz="1800" b="0" i="0" u="none" strike="noStrike" kern="0" cap="none" spc="0" normalizeH="0" baseline="0" noProof="0" dirty="0" err="1" smtClean="0">
                  <a:ln>
                    <a:noFill/>
                  </a:ln>
                  <a:solidFill>
                    <a:prstClr val="white"/>
                  </a:solidFill>
                  <a:effectLst/>
                  <a:uLnTx/>
                  <a:uFillTx/>
                  <a:latin typeface="Calibri" panose="020F0502020204030204"/>
                </a:rPr>
                <a:t>Scale</a:t>
              </a:r>
              <a:r>
                <a:rPr kumimoji="0" lang="fr-FR" sz="1800" b="0" i="0" u="none" strike="noStrike" kern="0" cap="none" spc="0" normalizeH="0" baseline="0" noProof="0" dirty="0" smtClean="0">
                  <a:ln>
                    <a:noFill/>
                  </a:ln>
                  <a:solidFill>
                    <a:prstClr val="white"/>
                  </a:solidFill>
                  <a:effectLst/>
                  <a:uLnTx/>
                  <a:uFillTx/>
                  <a:latin typeface="Calibri" panose="020F0502020204030204"/>
                </a:rPr>
                <a:t>-out Layer</a:t>
              </a:r>
              <a:endParaRPr kumimoji="0" lang="fr-FR" sz="1800" b="0" i="0" u="none" strike="noStrike" kern="0" cap="none" spc="0" normalizeH="0" baseline="0" noProof="0" dirty="0">
                <a:ln>
                  <a:noFill/>
                </a:ln>
                <a:solidFill>
                  <a:prstClr val="white"/>
                </a:solidFill>
                <a:effectLst/>
                <a:uLnTx/>
                <a:uFillTx/>
                <a:latin typeface="Calibri" panose="020F0502020204030204"/>
              </a:endParaRPr>
            </a:p>
          </p:txBody>
        </p:sp>
        <p:sp>
          <p:nvSpPr>
            <p:cNvPr id="106" name="Rounded Rectangle 52"/>
            <p:cNvSpPr/>
            <p:nvPr/>
          </p:nvSpPr>
          <p:spPr>
            <a:xfrm>
              <a:off x="601178" y="2271587"/>
              <a:ext cx="1656191" cy="3870651"/>
            </a:xfrm>
            <a:prstGeom prst="roundRect">
              <a:avLst/>
            </a:prstGeom>
            <a:solidFill>
              <a:srgbClr val="0072C6">
                <a:lumMod val="75000"/>
              </a:srgbClr>
            </a:solidFill>
            <a:ln>
              <a:noFill/>
            </a:ln>
            <a:effectLst>
              <a:outerShdw blurRad="57150" dist="19050" dir="5400000" algn="ctr" rotWithShape="0">
                <a:srgbClr val="000000">
                  <a:alpha val="63000"/>
                </a:srgbClr>
              </a:outerShdw>
            </a:effectLst>
          </p:spPr>
          <p:txBody>
            <a:bodyPr rtlCol="0" anchor="ctr"/>
            <a:lstStyle/>
            <a:p>
              <a:pPr marL="0" marR="0" lvl="0" indent="0" algn="ctr" defTabSz="975390" eaLnBrk="1" fontAlgn="auto" latinLnBrk="0" hangingPunct="1">
                <a:lnSpc>
                  <a:spcPct val="100000"/>
                </a:lnSpc>
                <a:spcBef>
                  <a:spcPts val="0"/>
                </a:spcBef>
                <a:spcAft>
                  <a:spcPts val="0"/>
                </a:spcAft>
                <a:buClrTx/>
                <a:buSzTx/>
                <a:buFontTx/>
                <a:buNone/>
                <a:tabLst/>
                <a:defRPr/>
              </a:pPr>
              <a:r>
                <a:rPr kumimoji="0" lang="fr-FR" sz="1800" b="0" i="0" u="none" strike="noStrike" kern="0" cap="none" spc="0" normalizeH="0" baseline="0" noProof="0" dirty="0" err="1" smtClean="0">
                  <a:ln>
                    <a:noFill/>
                  </a:ln>
                  <a:solidFill>
                    <a:prstClr val="white"/>
                  </a:solidFill>
                  <a:effectLst/>
                  <a:uLnTx/>
                  <a:uFillTx/>
                  <a:latin typeface="Calibri" panose="020F0502020204030204"/>
                </a:rPr>
                <a:t>Elastic</a:t>
              </a:r>
              <a:r>
                <a:rPr kumimoji="0" lang="fr-FR" sz="1800" b="0" i="0" u="none" strike="noStrike" kern="0" cap="none" spc="0" normalizeH="0" baseline="0" noProof="0" dirty="0" smtClean="0">
                  <a:ln>
                    <a:noFill/>
                  </a:ln>
                  <a:solidFill>
                    <a:prstClr val="white"/>
                  </a:solidFill>
                  <a:effectLst/>
                  <a:uLnTx/>
                  <a:uFillTx/>
                  <a:latin typeface="Calibri" panose="020F0502020204030204"/>
                </a:rPr>
                <a:t> </a:t>
              </a:r>
              <a:r>
                <a:rPr kumimoji="0" lang="fr-FR" sz="1800" b="0" i="0" u="none" strike="noStrike" kern="0" cap="none" spc="0" normalizeH="0" baseline="0" noProof="0" dirty="0" err="1" smtClean="0">
                  <a:ln>
                    <a:noFill/>
                  </a:ln>
                  <a:solidFill>
                    <a:prstClr val="white"/>
                  </a:solidFill>
                  <a:effectLst/>
                  <a:uLnTx/>
                  <a:uFillTx/>
                  <a:latin typeface="Calibri" panose="020F0502020204030204"/>
                </a:rPr>
                <a:t>Scale</a:t>
              </a:r>
              <a:r>
                <a:rPr kumimoji="0" lang="fr-FR" sz="1800" b="0" i="0" u="none" strike="noStrike" kern="0" cap="none" spc="0" normalizeH="0" baseline="0" noProof="0" dirty="0" smtClean="0">
                  <a:ln>
                    <a:noFill/>
                  </a:ln>
                  <a:solidFill>
                    <a:prstClr val="white"/>
                  </a:solidFill>
                  <a:effectLst/>
                  <a:uLnTx/>
                  <a:uFillTx/>
                  <a:latin typeface="Calibri" panose="020F0502020204030204"/>
                </a:rPr>
                <a:t> </a:t>
              </a:r>
              <a:r>
                <a:rPr kumimoji="0" lang="fr-FR" sz="1800" b="0" i="0" u="none" strike="noStrike" kern="0" cap="none" spc="0" normalizeH="0" baseline="0" noProof="0" dirty="0" err="1" smtClean="0">
                  <a:ln>
                    <a:noFill/>
                  </a:ln>
                  <a:solidFill>
                    <a:prstClr val="white"/>
                  </a:solidFill>
                  <a:effectLst/>
                  <a:uLnTx/>
                  <a:uFillTx/>
                  <a:latin typeface="Calibri" panose="020F0502020204030204"/>
                </a:rPr>
                <a:t>app</a:t>
              </a:r>
              <a:endParaRPr kumimoji="0" lang="fr-FR" sz="1800" b="0" i="0" u="none" strike="noStrike" kern="0" cap="none" spc="0" normalizeH="0" baseline="0" noProof="0" dirty="0">
                <a:ln>
                  <a:noFill/>
                </a:ln>
                <a:solidFill>
                  <a:prstClr val="white"/>
                </a:solidFill>
                <a:effectLst/>
                <a:uLnTx/>
                <a:uFillTx/>
                <a:latin typeface="Calibri" panose="020F0502020204030204"/>
              </a:endParaRPr>
            </a:p>
          </p:txBody>
        </p:sp>
        <p:sp>
          <p:nvSpPr>
            <p:cNvPr id="107" name="Can 53"/>
            <p:cNvSpPr/>
            <p:nvPr/>
          </p:nvSpPr>
          <p:spPr>
            <a:xfrm>
              <a:off x="3562210" y="4582128"/>
              <a:ext cx="963572" cy="1560109"/>
            </a:xfrm>
            <a:prstGeom prst="can">
              <a:avLst/>
            </a:prstGeom>
            <a:solidFill>
              <a:srgbClr val="0072C6"/>
            </a:solidFill>
            <a:ln w="12700" cap="flat" cmpd="sng" algn="ctr">
              <a:solidFill>
                <a:srgbClr val="70AD47">
                  <a:shade val="50000"/>
                </a:srgbClr>
              </a:solidFill>
              <a:prstDash val="solid"/>
              <a:miter lim="800000"/>
            </a:ln>
            <a:effectLst/>
          </p:spPr>
          <p:txBody>
            <a:bodyPr rtlCol="0" anchor="ctr"/>
            <a:lstStyle/>
            <a:p>
              <a:pPr marL="0" marR="0" lvl="0" indent="0" algn="ctr" defTabSz="975390" eaLnBrk="1" fontAlgn="auto" latinLnBrk="0" hangingPunct="1">
                <a:lnSpc>
                  <a:spcPct val="100000"/>
                </a:lnSpc>
                <a:spcBef>
                  <a:spcPts val="0"/>
                </a:spcBef>
                <a:spcAft>
                  <a:spcPts val="0"/>
                </a:spcAft>
                <a:buClrTx/>
                <a:buSzTx/>
                <a:buFontTx/>
                <a:buNone/>
                <a:tabLst/>
                <a:defRPr/>
              </a:pPr>
              <a:r>
                <a:rPr kumimoji="0" lang="fr-FR" sz="1800" b="0" i="0" u="none" strike="noStrike" kern="0" cap="none" spc="0" normalizeH="0" baseline="0" noProof="0" dirty="0" smtClean="0">
                  <a:ln>
                    <a:noFill/>
                  </a:ln>
                  <a:solidFill>
                    <a:prstClr val="white"/>
                  </a:solidFill>
                  <a:effectLst/>
                  <a:uLnTx/>
                  <a:uFillTx/>
                  <a:latin typeface="Calibri" panose="020F0502020204030204"/>
                </a:rPr>
                <a:t>shard</a:t>
              </a:r>
              <a:r>
                <a:rPr kumimoji="0" lang="fr-FR" sz="1800" b="0" i="0" u="none" strike="noStrike" kern="0" cap="none" spc="0" normalizeH="0" baseline="-25000" noProof="0" dirty="0" smtClean="0">
                  <a:ln>
                    <a:noFill/>
                  </a:ln>
                  <a:solidFill>
                    <a:prstClr val="white"/>
                  </a:solidFill>
                  <a:effectLst/>
                  <a:uLnTx/>
                  <a:uFillTx/>
                  <a:latin typeface="Calibri" panose="020F0502020204030204"/>
                </a:rPr>
                <a:t>1</a:t>
              </a:r>
              <a:endParaRPr kumimoji="0" lang="fr-FR" sz="1800" b="0" i="0" u="none" strike="noStrike" kern="0" cap="none" spc="0" normalizeH="0" baseline="-25000" noProof="0" dirty="0">
                <a:ln>
                  <a:noFill/>
                </a:ln>
                <a:solidFill>
                  <a:prstClr val="white"/>
                </a:solidFill>
                <a:effectLst/>
                <a:uLnTx/>
                <a:uFillTx/>
                <a:latin typeface="Calibri" panose="020F0502020204030204"/>
              </a:endParaRPr>
            </a:p>
          </p:txBody>
        </p:sp>
        <p:sp>
          <p:nvSpPr>
            <p:cNvPr id="108" name="Can 54"/>
            <p:cNvSpPr/>
            <p:nvPr/>
          </p:nvSpPr>
          <p:spPr>
            <a:xfrm>
              <a:off x="5002701" y="4582128"/>
              <a:ext cx="963572" cy="1560109"/>
            </a:xfrm>
            <a:prstGeom prst="can">
              <a:avLst/>
            </a:prstGeom>
            <a:solidFill>
              <a:srgbClr val="0072C6"/>
            </a:solidFill>
            <a:ln w="12700" cap="flat" cmpd="sng" algn="ctr">
              <a:solidFill>
                <a:srgbClr val="70AD47">
                  <a:shade val="50000"/>
                </a:srgbClr>
              </a:solidFill>
              <a:prstDash val="solid"/>
              <a:miter lim="800000"/>
            </a:ln>
            <a:effectLst/>
          </p:spPr>
          <p:txBody>
            <a:bodyPr rtlCol="0" anchor="ctr"/>
            <a:lstStyle/>
            <a:p>
              <a:pPr marL="0" marR="0" lvl="0" indent="0" algn="ctr" defTabSz="975390" eaLnBrk="1" fontAlgn="auto" latinLnBrk="0" hangingPunct="1">
                <a:lnSpc>
                  <a:spcPct val="100000"/>
                </a:lnSpc>
                <a:spcBef>
                  <a:spcPts val="0"/>
                </a:spcBef>
                <a:spcAft>
                  <a:spcPts val="0"/>
                </a:spcAft>
                <a:buClrTx/>
                <a:buSzTx/>
                <a:buFontTx/>
                <a:buNone/>
                <a:tabLst/>
                <a:defRPr/>
              </a:pPr>
              <a:r>
                <a:rPr kumimoji="0" lang="fr-FR" sz="1800" b="0" i="0" u="none" strike="noStrike" kern="0" cap="none" spc="0" normalizeH="0" baseline="0" noProof="0" dirty="0" err="1" smtClean="0">
                  <a:ln>
                    <a:noFill/>
                  </a:ln>
                  <a:solidFill>
                    <a:prstClr val="white"/>
                  </a:solidFill>
                  <a:effectLst/>
                  <a:uLnTx/>
                  <a:uFillTx/>
                  <a:latin typeface="Calibri" panose="020F0502020204030204"/>
                </a:rPr>
                <a:t>shard</a:t>
              </a:r>
              <a:r>
                <a:rPr kumimoji="0" lang="fr-FR" sz="1800" b="0" i="0" u="none" strike="noStrike" kern="0" cap="none" spc="0" normalizeH="0" baseline="-25000" noProof="0" dirty="0" err="1" smtClean="0">
                  <a:ln>
                    <a:noFill/>
                  </a:ln>
                  <a:solidFill>
                    <a:prstClr val="white"/>
                  </a:solidFill>
                  <a:effectLst/>
                  <a:uLnTx/>
                  <a:uFillTx/>
                  <a:latin typeface="Calibri" panose="020F0502020204030204"/>
                </a:rPr>
                <a:t>i</a:t>
              </a:r>
              <a:endParaRPr kumimoji="0" lang="fr-FR" sz="1800" b="0" i="0" u="none" strike="noStrike" kern="0" cap="none" spc="0" normalizeH="0" baseline="-25000" noProof="0" dirty="0">
                <a:ln>
                  <a:noFill/>
                </a:ln>
                <a:solidFill>
                  <a:prstClr val="white"/>
                </a:solidFill>
                <a:effectLst/>
                <a:uLnTx/>
                <a:uFillTx/>
                <a:latin typeface="Calibri" panose="020F0502020204030204"/>
              </a:endParaRPr>
            </a:p>
          </p:txBody>
        </p:sp>
        <p:sp>
          <p:nvSpPr>
            <p:cNvPr id="109" name="Rounded Rectangle 55"/>
            <p:cNvSpPr/>
            <p:nvPr/>
          </p:nvSpPr>
          <p:spPr>
            <a:xfrm>
              <a:off x="9901238" y="2271587"/>
              <a:ext cx="2140198" cy="3870651"/>
            </a:xfrm>
            <a:prstGeom prst="roundRect">
              <a:avLst/>
            </a:prstGeom>
            <a:solidFill>
              <a:srgbClr val="0072C6">
                <a:lumMod val="50000"/>
              </a:srgbClr>
            </a:solidFill>
            <a:ln w="19050" cap="flat" cmpd="sng" algn="ctr">
              <a:solidFill>
                <a:srgbClr val="44546A">
                  <a:lumMod val="75000"/>
                </a:srgbClr>
              </a:solidFill>
              <a:prstDash val="solid"/>
              <a:miter lim="800000"/>
            </a:ln>
            <a:effectLst/>
          </p:spPr>
          <p:txBody>
            <a:bodyPr rtlCol="0" anchor="ctr"/>
            <a:lstStyle/>
            <a:p>
              <a:pPr marL="0" marR="0" lvl="0" indent="0" algn="ctr" defTabSz="975390" eaLnBrk="1" fontAlgn="auto" latinLnBrk="0" hangingPunct="1">
                <a:lnSpc>
                  <a:spcPct val="100000"/>
                </a:lnSpc>
                <a:spcBef>
                  <a:spcPts val="0"/>
                </a:spcBef>
                <a:spcAft>
                  <a:spcPts val="0"/>
                </a:spcAft>
                <a:buClrTx/>
                <a:buSzTx/>
                <a:buFontTx/>
                <a:buNone/>
                <a:tabLst/>
                <a:defRPr/>
              </a:pPr>
              <a:r>
                <a:rPr kumimoji="0" lang="fr-FR" sz="1800" b="0" i="0" u="none" strike="noStrike" kern="0" cap="none" spc="0" normalizeH="0" baseline="0" noProof="0" dirty="0" err="1" smtClean="0">
                  <a:ln>
                    <a:noFill/>
                  </a:ln>
                  <a:solidFill>
                    <a:prstClr val="white"/>
                  </a:solidFill>
                  <a:effectLst/>
                  <a:uLnTx/>
                  <a:uFillTx/>
                  <a:latin typeface="Calibri" panose="020F0502020204030204"/>
                </a:rPr>
                <a:t>Elastic</a:t>
              </a:r>
              <a:r>
                <a:rPr kumimoji="0" lang="fr-FR" sz="1800" b="0" i="0" u="none" strike="noStrike" kern="0" cap="none" spc="0" normalizeH="0" baseline="0" noProof="0" dirty="0" smtClean="0">
                  <a:ln>
                    <a:noFill/>
                  </a:ln>
                  <a:solidFill>
                    <a:prstClr val="white"/>
                  </a:solidFill>
                  <a:effectLst/>
                  <a:uLnTx/>
                  <a:uFillTx/>
                  <a:latin typeface="Calibri" panose="020F0502020204030204"/>
                </a:rPr>
                <a:t> DB Management Tools</a:t>
              </a:r>
              <a:endParaRPr kumimoji="0" lang="fr-FR" sz="1800" b="0" i="0" u="none" strike="noStrike" kern="0" cap="none" spc="0" normalizeH="0" baseline="0" noProof="0" dirty="0">
                <a:ln>
                  <a:noFill/>
                </a:ln>
                <a:solidFill>
                  <a:prstClr val="white"/>
                </a:solidFill>
                <a:effectLst/>
                <a:uLnTx/>
                <a:uFillTx/>
                <a:latin typeface="Calibri" panose="020F0502020204030204"/>
              </a:endParaRPr>
            </a:p>
          </p:txBody>
        </p:sp>
        <p:cxnSp>
          <p:nvCxnSpPr>
            <p:cNvPr id="110" name="Elbow Connector 56"/>
            <p:cNvCxnSpPr>
              <a:stCxn id="105" idx="2"/>
              <a:endCxn id="107" idx="1"/>
            </p:cNvCxnSpPr>
            <p:nvPr/>
          </p:nvCxnSpPr>
          <p:spPr>
            <a:xfrm rot="5400000">
              <a:off x="4636089" y="2953809"/>
              <a:ext cx="1036227" cy="2220411"/>
            </a:xfrm>
            <a:prstGeom prst="bentConnector3">
              <a:avLst/>
            </a:prstGeom>
            <a:noFill/>
            <a:ln w="6350" cap="flat" cmpd="sng" algn="ctr">
              <a:solidFill>
                <a:srgbClr val="5B9BD5"/>
              </a:solidFill>
              <a:prstDash val="solid"/>
              <a:miter lim="800000"/>
              <a:headEnd type="triangle"/>
              <a:tailEnd type="triangle"/>
            </a:ln>
            <a:effectLst/>
          </p:spPr>
        </p:cxnSp>
        <p:sp>
          <p:nvSpPr>
            <p:cNvPr id="111" name="TextBox 59"/>
            <p:cNvSpPr txBox="1"/>
            <p:nvPr/>
          </p:nvSpPr>
          <p:spPr>
            <a:xfrm>
              <a:off x="4588810" y="5170749"/>
              <a:ext cx="362114" cy="687142"/>
            </a:xfrm>
            <a:prstGeom prst="rect">
              <a:avLst/>
            </a:prstGeom>
            <a:noFill/>
          </p:spPr>
          <p:txBody>
            <a:bodyPr wrap="none" rtlCol="0">
              <a:spAutoFit/>
            </a:bodyPr>
            <a:lstStyle/>
            <a:p>
              <a:pPr marL="0" marR="0" lvl="0" indent="0" defTabSz="975390" eaLnBrk="1" fontAlgn="auto" latinLnBrk="0" hangingPunct="1">
                <a:lnSpc>
                  <a:spcPct val="100000"/>
                </a:lnSpc>
                <a:spcBef>
                  <a:spcPts val="0"/>
                </a:spcBef>
                <a:spcAft>
                  <a:spcPts val="0"/>
                </a:spcAft>
                <a:buClrTx/>
                <a:buSzTx/>
                <a:buFontTx/>
                <a:buNone/>
                <a:tabLst/>
                <a:defRPr/>
              </a:pPr>
              <a:r>
                <a:rPr kumimoji="0" lang="fr-FR" sz="1800" b="0" i="0" u="none" strike="noStrike" kern="0" cap="none" spc="0" normalizeH="0" baseline="0" noProof="0" dirty="0" smtClean="0">
                  <a:ln>
                    <a:noFill/>
                  </a:ln>
                  <a:solidFill>
                    <a:prstClr val="black"/>
                  </a:solidFill>
                  <a:effectLst/>
                  <a:uLnTx/>
                  <a:uFillTx/>
                  <a:latin typeface="Calibri" panose="020F0502020204030204"/>
                </a:rPr>
                <a:t>…</a:t>
              </a:r>
              <a:endParaRPr kumimoji="0" lang="fr-FR" sz="1800" b="0" i="0" u="none" strike="noStrike" kern="0" cap="none" spc="0" normalizeH="0" baseline="0" noProof="0" dirty="0">
                <a:ln>
                  <a:noFill/>
                </a:ln>
                <a:solidFill>
                  <a:prstClr val="black"/>
                </a:solidFill>
                <a:effectLst/>
                <a:uLnTx/>
                <a:uFillTx/>
                <a:latin typeface="Calibri" panose="020F0502020204030204"/>
              </a:endParaRPr>
            </a:p>
          </p:txBody>
        </p:sp>
        <p:sp>
          <p:nvSpPr>
            <p:cNvPr id="112" name="TextBox 60"/>
            <p:cNvSpPr txBox="1"/>
            <p:nvPr/>
          </p:nvSpPr>
          <p:spPr>
            <a:xfrm>
              <a:off x="6087700" y="5170749"/>
              <a:ext cx="362114" cy="687142"/>
            </a:xfrm>
            <a:prstGeom prst="rect">
              <a:avLst/>
            </a:prstGeom>
            <a:noFill/>
          </p:spPr>
          <p:txBody>
            <a:bodyPr wrap="none" rtlCol="0">
              <a:spAutoFit/>
            </a:bodyPr>
            <a:lstStyle/>
            <a:p>
              <a:pPr marL="0" marR="0" lvl="0" indent="0" defTabSz="975390" eaLnBrk="1" fontAlgn="auto" latinLnBrk="0" hangingPunct="1">
                <a:lnSpc>
                  <a:spcPct val="100000"/>
                </a:lnSpc>
                <a:spcBef>
                  <a:spcPts val="0"/>
                </a:spcBef>
                <a:spcAft>
                  <a:spcPts val="0"/>
                </a:spcAft>
                <a:buClrTx/>
                <a:buSzTx/>
                <a:buFontTx/>
                <a:buNone/>
                <a:tabLst/>
                <a:defRPr/>
              </a:pPr>
              <a:r>
                <a:rPr kumimoji="0" lang="fr-FR" sz="1800" b="0" i="0" u="none" strike="noStrike" kern="0" cap="none" spc="0" normalizeH="0" baseline="0" noProof="0" dirty="0" smtClean="0">
                  <a:ln>
                    <a:noFill/>
                  </a:ln>
                  <a:solidFill>
                    <a:prstClr val="black"/>
                  </a:solidFill>
                  <a:effectLst/>
                  <a:uLnTx/>
                  <a:uFillTx/>
                  <a:latin typeface="Calibri" panose="020F0502020204030204"/>
                </a:rPr>
                <a:t>…</a:t>
              </a:r>
              <a:endParaRPr kumimoji="0" lang="fr-FR" sz="1800" b="0" i="0" u="none" strike="noStrike" kern="0" cap="none" spc="0" normalizeH="0" baseline="0" noProof="0" dirty="0">
                <a:ln>
                  <a:noFill/>
                </a:ln>
                <a:solidFill>
                  <a:prstClr val="black"/>
                </a:solidFill>
                <a:effectLst/>
                <a:uLnTx/>
                <a:uFillTx/>
                <a:latin typeface="Calibri" panose="020F0502020204030204"/>
              </a:endParaRPr>
            </a:p>
          </p:txBody>
        </p:sp>
        <p:sp>
          <p:nvSpPr>
            <p:cNvPr id="113" name="Can 61"/>
            <p:cNvSpPr/>
            <p:nvPr/>
          </p:nvSpPr>
          <p:spPr>
            <a:xfrm>
              <a:off x="6535655" y="4582128"/>
              <a:ext cx="963572" cy="1560109"/>
            </a:xfrm>
            <a:prstGeom prst="can">
              <a:avLst/>
            </a:prstGeom>
            <a:solidFill>
              <a:srgbClr val="0072C6"/>
            </a:solidFill>
            <a:ln w="12700" cap="flat" cmpd="sng" algn="ctr">
              <a:solidFill>
                <a:srgbClr val="70AD47">
                  <a:shade val="50000"/>
                </a:srgbClr>
              </a:solidFill>
              <a:prstDash val="solid"/>
              <a:miter lim="800000"/>
            </a:ln>
            <a:effectLst/>
          </p:spPr>
          <p:txBody>
            <a:bodyPr rtlCol="0" anchor="ctr"/>
            <a:lstStyle/>
            <a:p>
              <a:pPr marL="0" marR="0" lvl="0" indent="0" algn="ctr" defTabSz="975390" eaLnBrk="1" fontAlgn="auto" latinLnBrk="0" hangingPunct="1">
                <a:lnSpc>
                  <a:spcPct val="100000"/>
                </a:lnSpc>
                <a:spcBef>
                  <a:spcPts val="0"/>
                </a:spcBef>
                <a:spcAft>
                  <a:spcPts val="0"/>
                </a:spcAft>
                <a:buClrTx/>
                <a:buSzTx/>
                <a:buFontTx/>
                <a:buNone/>
                <a:tabLst/>
                <a:defRPr/>
              </a:pPr>
              <a:r>
                <a:rPr kumimoji="0" lang="fr-FR" sz="1800" b="0" i="0" u="none" strike="noStrike" kern="0" cap="none" spc="0" normalizeH="0" baseline="0" noProof="0" dirty="0" err="1" smtClean="0">
                  <a:ln>
                    <a:noFill/>
                  </a:ln>
                  <a:solidFill>
                    <a:prstClr val="white"/>
                  </a:solidFill>
                  <a:effectLst/>
                  <a:uLnTx/>
                  <a:uFillTx/>
                  <a:latin typeface="Calibri" panose="020F0502020204030204"/>
                </a:rPr>
                <a:t>shard</a:t>
              </a:r>
              <a:r>
                <a:rPr kumimoji="0" lang="fr-FR" sz="1800" b="0" i="0" u="none" strike="noStrike" kern="0" cap="none" spc="0" normalizeH="0" baseline="-25000" noProof="0" dirty="0" err="1" smtClean="0">
                  <a:ln>
                    <a:noFill/>
                  </a:ln>
                  <a:solidFill>
                    <a:prstClr val="white"/>
                  </a:solidFill>
                  <a:effectLst/>
                  <a:uLnTx/>
                  <a:uFillTx/>
                  <a:latin typeface="Calibri" panose="020F0502020204030204"/>
                </a:rPr>
                <a:t>j</a:t>
              </a:r>
              <a:endParaRPr kumimoji="0" lang="fr-FR" sz="1800" b="0" i="0" u="none" strike="noStrike" kern="0" cap="none" spc="0" normalizeH="0" baseline="-25000" noProof="0" dirty="0">
                <a:ln>
                  <a:noFill/>
                </a:ln>
                <a:solidFill>
                  <a:prstClr val="white"/>
                </a:solidFill>
                <a:effectLst/>
                <a:uLnTx/>
                <a:uFillTx/>
                <a:latin typeface="Calibri" panose="020F0502020204030204"/>
              </a:endParaRPr>
            </a:p>
          </p:txBody>
        </p:sp>
        <p:sp>
          <p:nvSpPr>
            <p:cNvPr id="114" name="Can 62"/>
            <p:cNvSpPr/>
            <p:nvPr/>
          </p:nvSpPr>
          <p:spPr>
            <a:xfrm>
              <a:off x="7976146" y="4582128"/>
              <a:ext cx="963572" cy="1560109"/>
            </a:xfrm>
            <a:prstGeom prst="can">
              <a:avLst/>
            </a:prstGeom>
            <a:solidFill>
              <a:srgbClr val="0072C6"/>
            </a:solidFill>
            <a:ln w="12700" cap="flat" cmpd="sng" algn="ctr">
              <a:solidFill>
                <a:srgbClr val="70AD47">
                  <a:shade val="50000"/>
                </a:srgbClr>
              </a:solidFill>
              <a:prstDash val="solid"/>
              <a:miter lim="800000"/>
            </a:ln>
            <a:effectLst/>
          </p:spPr>
          <p:txBody>
            <a:bodyPr rtlCol="0" anchor="ctr"/>
            <a:lstStyle/>
            <a:p>
              <a:pPr marL="0" marR="0" lvl="0" indent="0" algn="ctr" defTabSz="975390" eaLnBrk="1" fontAlgn="auto" latinLnBrk="0" hangingPunct="1">
                <a:lnSpc>
                  <a:spcPct val="100000"/>
                </a:lnSpc>
                <a:spcBef>
                  <a:spcPts val="0"/>
                </a:spcBef>
                <a:spcAft>
                  <a:spcPts val="0"/>
                </a:spcAft>
                <a:buClrTx/>
                <a:buSzTx/>
                <a:buFontTx/>
                <a:buNone/>
                <a:tabLst/>
                <a:defRPr/>
              </a:pPr>
              <a:r>
                <a:rPr kumimoji="0" lang="fr-FR" sz="1800" b="0" i="0" u="none" strike="noStrike" kern="0" cap="none" spc="0" normalizeH="0" baseline="0" noProof="0" dirty="0" err="1" smtClean="0">
                  <a:ln>
                    <a:noFill/>
                  </a:ln>
                  <a:solidFill>
                    <a:prstClr val="white"/>
                  </a:solidFill>
                  <a:effectLst/>
                  <a:uLnTx/>
                  <a:uFillTx/>
                  <a:latin typeface="Calibri" panose="020F0502020204030204"/>
                </a:rPr>
                <a:t>shard</a:t>
              </a:r>
              <a:r>
                <a:rPr kumimoji="0" lang="fr-FR" sz="1800" b="0" i="0" u="none" strike="noStrike" kern="0" cap="none" spc="0" normalizeH="0" baseline="-25000" noProof="0" dirty="0" err="1" smtClean="0">
                  <a:ln>
                    <a:noFill/>
                  </a:ln>
                  <a:solidFill>
                    <a:prstClr val="white"/>
                  </a:solidFill>
                  <a:effectLst/>
                  <a:uLnTx/>
                  <a:uFillTx/>
                  <a:latin typeface="Calibri" panose="020F0502020204030204"/>
                </a:rPr>
                <a:t>n</a:t>
              </a:r>
              <a:endParaRPr kumimoji="0" lang="fr-FR" sz="1800" b="0" i="0" u="none" strike="noStrike" kern="0" cap="none" spc="0" normalizeH="0" baseline="-25000" noProof="0" dirty="0">
                <a:ln>
                  <a:noFill/>
                </a:ln>
                <a:solidFill>
                  <a:prstClr val="white"/>
                </a:solidFill>
                <a:effectLst/>
                <a:uLnTx/>
                <a:uFillTx/>
                <a:latin typeface="Calibri" panose="020F0502020204030204"/>
              </a:endParaRPr>
            </a:p>
          </p:txBody>
        </p:sp>
        <p:sp>
          <p:nvSpPr>
            <p:cNvPr id="115" name="TextBox 63"/>
            <p:cNvSpPr txBox="1"/>
            <p:nvPr/>
          </p:nvSpPr>
          <p:spPr>
            <a:xfrm>
              <a:off x="7562253" y="5170749"/>
              <a:ext cx="362114" cy="687142"/>
            </a:xfrm>
            <a:prstGeom prst="rect">
              <a:avLst/>
            </a:prstGeom>
            <a:noFill/>
          </p:spPr>
          <p:txBody>
            <a:bodyPr wrap="none" rtlCol="0">
              <a:spAutoFit/>
            </a:bodyPr>
            <a:lstStyle/>
            <a:p>
              <a:pPr marL="0" marR="0" lvl="0" indent="0" defTabSz="975390" eaLnBrk="1" fontAlgn="auto" latinLnBrk="0" hangingPunct="1">
                <a:lnSpc>
                  <a:spcPct val="100000"/>
                </a:lnSpc>
                <a:spcBef>
                  <a:spcPts val="0"/>
                </a:spcBef>
                <a:spcAft>
                  <a:spcPts val="0"/>
                </a:spcAft>
                <a:buClrTx/>
                <a:buSzTx/>
                <a:buFontTx/>
                <a:buNone/>
                <a:tabLst/>
                <a:defRPr/>
              </a:pPr>
              <a:r>
                <a:rPr kumimoji="0" lang="fr-FR" sz="1800" b="0" i="0" u="none" strike="noStrike" kern="0" cap="none" spc="0" normalizeH="0" baseline="0" noProof="0" dirty="0" smtClean="0">
                  <a:ln>
                    <a:noFill/>
                  </a:ln>
                  <a:solidFill>
                    <a:prstClr val="black"/>
                  </a:solidFill>
                  <a:effectLst/>
                  <a:uLnTx/>
                  <a:uFillTx/>
                  <a:latin typeface="Calibri" panose="020F0502020204030204"/>
                </a:rPr>
                <a:t>…</a:t>
              </a:r>
              <a:endParaRPr kumimoji="0" lang="fr-FR" sz="1800" b="0" i="0" u="none" strike="noStrike" kern="0" cap="none" spc="0" normalizeH="0" baseline="0" noProof="0" dirty="0">
                <a:ln>
                  <a:noFill/>
                </a:ln>
                <a:solidFill>
                  <a:prstClr val="black"/>
                </a:solidFill>
                <a:effectLst/>
                <a:uLnTx/>
                <a:uFillTx/>
                <a:latin typeface="Calibri" panose="020F0502020204030204"/>
              </a:endParaRPr>
            </a:p>
          </p:txBody>
        </p:sp>
        <p:cxnSp>
          <p:nvCxnSpPr>
            <p:cNvPr id="116" name="Elbow Connector 64"/>
            <p:cNvCxnSpPr>
              <a:stCxn id="105" idx="2"/>
              <a:endCxn id="108" idx="1"/>
            </p:cNvCxnSpPr>
            <p:nvPr/>
          </p:nvCxnSpPr>
          <p:spPr>
            <a:xfrm rot="5400000">
              <a:off x="5356334" y="3674054"/>
              <a:ext cx="1036227" cy="779920"/>
            </a:xfrm>
            <a:prstGeom prst="bentConnector3">
              <a:avLst>
                <a:gd name="adj1" fmla="val 50000"/>
              </a:avLst>
            </a:prstGeom>
            <a:noFill/>
            <a:ln w="6350" cap="flat" cmpd="sng" algn="ctr">
              <a:solidFill>
                <a:srgbClr val="5B9BD5"/>
              </a:solidFill>
              <a:prstDash val="solid"/>
              <a:miter lim="800000"/>
              <a:headEnd type="triangle"/>
              <a:tailEnd type="triangle"/>
            </a:ln>
            <a:effectLst/>
          </p:spPr>
        </p:cxnSp>
        <p:pic>
          <p:nvPicPr>
            <p:cNvPr id="117" name="Picture 6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26820" y="5635824"/>
              <a:ext cx="384079" cy="389645"/>
            </a:xfrm>
            <a:prstGeom prst="rect">
              <a:avLst/>
            </a:prstGeom>
          </p:spPr>
        </p:pic>
        <p:pic>
          <p:nvPicPr>
            <p:cNvPr id="118" name="Picture 6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5602" y="5649778"/>
              <a:ext cx="384079" cy="389645"/>
            </a:xfrm>
            <a:prstGeom prst="rect">
              <a:avLst/>
            </a:prstGeom>
          </p:spPr>
        </p:pic>
        <p:pic>
          <p:nvPicPr>
            <p:cNvPr id="119" name="Picture 6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32515" y="5663733"/>
              <a:ext cx="384079" cy="389645"/>
            </a:xfrm>
            <a:prstGeom prst="rect">
              <a:avLst/>
            </a:prstGeom>
          </p:spPr>
        </p:pic>
        <p:pic>
          <p:nvPicPr>
            <p:cNvPr id="120" name="Picture 7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251669" y="5649777"/>
              <a:ext cx="384079" cy="389645"/>
            </a:xfrm>
            <a:prstGeom prst="rect">
              <a:avLst/>
            </a:prstGeom>
          </p:spPr>
        </p:pic>
        <p:cxnSp>
          <p:nvCxnSpPr>
            <p:cNvPr id="121" name="Elbow Connector 71"/>
            <p:cNvCxnSpPr>
              <a:stCxn id="105" idx="2"/>
              <a:endCxn id="113" idx="1"/>
            </p:cNvCxnSpPr>
            <p:nvPr/>
          </p:nvCxnSpPr>
          <p:spPr>
            <a:xfrm rot="16200000" flipH="1">
              <a:off x="6122811" y="3687497"/>
              <a:ext cx="1036227" cy="753034"/>
            </a:xfrm>
            <a:prstGeom prst="bentConnector3">
              <a:avLst>
                <a:gd name="adj1" fmla="val 50000"/>
              </a:avLst>
            </a:prstGeom>
            <a:noFill/>
            <a:ln w="6350" cap="flat" cmpd="sng" algn="ctr">
              <a:solidFill>
                <a:srgbClr val="5B9BD5"/>
              </a:solidFill>
              <a:prstDash val="solid"/>
              <a:miter lim="800000"/>
              <a:headEnd type="triangle"/>
              <a:tailEnd type="triangle"/>
            </a:ln>
            <a:effectLst/>
          </p:spPr>
        </p:cxnSp>
        <p:cxnSp>
          <p:nvCxnSpPr>
            <p:cNvPr id="122" name="Elbow Connector 72"/>
            <p:cNvCxnSpPr>
              <a:stCxn id="105" idx="2"/>
              <a:endCxn id="114" idx="1"/>
            </p:cNvCxnSpPr>
            <p:nvPr/>
          </p:nvCxnSpPr>
          <p:spPr>
            <a:xfrm rot="16200000" flipH="1">
              <a:off x="6843056" y="2967251"/>
              <a:ext cx="1036227" cy="2193525"/>
            </a:xfrm>
            <a:prstGeom prst="bentConnector3">
              <a:avLst>
                <a:gd name="adj1" fmla="val 50000"/>
              </a:avLst>
            </a:prstGeom>
            <a:noFill/>
            <a:ln w="6350" cap="flat" cmpd="sng" algn="ctr">
              <a:solidFill>
                <a:srgbClr val="5B9BD5"/>
              </a:solidFill>
              <a:prstDash val="solid"/>
              <a:miter lim="800000"/>
              <a:headEnd type="triangle"/>
              <a:tailEnd type="triangle"/>
            </a:ln>
            <a:effectLst/>
          </p:spPr>
        </p:cxnSp>
        <p:sp>
          <p:nvSpPr>
            <p:cNvPr id="123" name="Left-Right Arrow 74"/>
            <p:cNvSpPr/>
            <p:nvPr/>
          </p:nvSpPr>
          <p:spPr>
            <a:xfrm>
              <a:off x="8866618" y="4872297"/>
              <a:ext cx="1378571" cy="936929"/>
            </a:xfrm>
            <a:prstGeom prst="leftRightArrow">
              <a:avLst/>
            </a:prstGeom>
            <a:solidFill>
              <a:srgbClr val="0072C6">
                <a:lumMod val="60000"/>
                <a:lumOff val="40000"/>
              </a:srgbClr>
            </a:solidFill>
            <a:ln w="6350" cap="flat" cmpd="sng" algn="ctr">
              <a:noFill/>
              <a:prstDash val="solid"/>
              <a:miter lim="800000"/>
            </a:ln>
            <a:effectLst/>
          </p:spPr>
          <p:txBody>
            <a:bodyPr rtlCol="0" anchor="ctr"/>
            <a:lstStyle/>
            <a:p>
              <a:pPr marL="0" marR="0" lvl="0" indent="0" algn="ctr" defTabSz="97539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prstClr val="white"/>
                </a:solidFill>
                <a:effectLst/>
                <a:uLnTx/>
                <a:uFillTx/>
                <a:latin typeface="Calibri" panose="020F0502020204030204"/>
              </a:endParaRPr>
            </a:p>
          </p:txBody>
        </p:sp>
        <p:sp>
          <p:nvSpPr>
            <p:cNvPr id="124" name="TextBox 75"/>
            <p:cNvSpPr txBox="1"/>
            <p:nvPr/>
          </p:nvSpPr>
          <p:spPr>
            <a:xfrm>
              <a:off x="9027243" y="5060459"/>
              <a:ext cx="1275559" cy="858928"/>
            </a:xfrm>
            <a:prstGeom prst="rect">
              <a:avLst/>
            </a:prstGeom>
            <a:noFill/>
          </p:spPr>
          <p:txBody>
            <a:bodyPr wrap="square" rtlCol="0">
              <a:spAutoFit/>
            </a:bodyPr>
            <a:lstStyle/>
            <a:p>
              <a:pPr marL="0" marR="0" lvl="0" indent="0" defTabSz="975390" eaLnBrk="1" fontAlgn="auto" latinLnBrk="0" hangingPunct="1">
                <a:lnSpc>
                  <a:spcPct val="100000"/>
                </a:lnSpc>
                <a:spcBef>
                  <a:spcPts val="0"/>
                </a:spcBef>
                <a:spcAft>
                  <a:spcPts val="0"/>
                </a:spcAft>
                <a:buClrTx/>
                <a:buSzTx/>
                <a:buFontTx/>
                <a:buNone/>
                <a:tabLst/>
                <a:defRPr/>
              </a:pPr>
              <a:r>
                <a:rPr kumimoji="0" lang="fr-FR" sz="1200" b="0" i="1" u="none" strike="noStrike" kern="0" cap="none" spc="0" normalizeH="0" baseline="0" noProof="0" dirty="0" err="1" smtClean="0">
                  <a:ln>
                    <a:noFill/>
                  </a:ln>
                  <a:solidFill>
                    <a:prstClr val="white"/>
                  </a:solidFill>
                  <a:effectLst/>
                  <a:uLnTx/>
                  <a:uFillTx/>
                  <a:latin typeface="Calibri" panose="020F0502020204030204"/>
                </a:rPr>
                <a:t>Shard</a:t>
              </a:r>
              <a:r>
                <a:rPr kumimoji="0" lang="fr-FR" sz="1200" b="0" i="1" u="none" strike="noStrike" kern="0" cap="none" spc="0" normalizeH="0" baseline="0" noProof="0" dirty="0" smtClean="0">
                  <a:ln>
                    <a:noFill/>
                  </a:ln>
                  <a:solidFill>
                    <a:prstClr val="white"/>
                  </a:solidFill>
                  <a:effectLst/>
                  <a:uLnTx/>
                  <a:uFillTx/>
                  <a:latin typeface="Calibri" panose="020F0502020204030204"/>
                </a:rPr>
                <a:t>-local</a:t>
              </a:r>
            </a:p>
            <a:p>
              <a:pPr marL="0" marR="0" lvl="0" indent="0" defTabSz="975390" eaLnBrk="1" fontAlgn="auto" latinLnBrk="0" hangingPunct="1">
                <a:lnSpc>
                  <a:spcPct val="100000"/>
                </a:lnSpc>
                <a:spcBef>
                  <a:spcPts val="0"/>
                </a:spcBef>
                <a:spcAft>
                  <a:spcPts val="0"/>
                </a:spcAft>
                <a:buClrTx/>
                <a:buSzTx/>
                <a:buFontTx/>
                <a:buNone/>
                <a:tabLst/>
                <a:defRPr/>
              </a:pPr>
              <a:r>
                <a:rPr kumimoji="0" lang="fr-FR" sz="1200" b="0" i="1" u="none" strike="noStrike" kern="0" cap="none" spc="0" normalizeH="0" baseline="0" noProof="0" dirty="0" err="1" smtClean="0">
                  <a:ln>
                    <a:noFill/>
                  </a:ln>
                  <a:solidFill>
                    <a:prstClr val="white"/>
                  </a:solidFill>
                  <a:effectLst/>
                  <a:uLnTx/>
                  <a:uFillTx/>
                  <a:latin typeface="Calibri" panose="020F0502020204030204"/>
                </a:rPr>
                <a:t>operations</a:t>
              </a:r>
              <a:endParaRPr kumimoji="0" lang="fr-FR" sz="1200" b="0" i="1" u="none" strike="noStrike" kern="0" cap="none" spc="0" normalizeH="0" baseline="0" noProof="0" dirty="0">
                <a:ln>
                  <a:noFill/>
                </a:ln>
                <a:solidFill>
                  <a:prstClr val="white"/>
                </a:solidFill>
                <a:effectLst/>
                <a:uLnTx/>
                <a:uFillTx/>
                <a:latin typeface="Calibri" panose="020F0502020204030204"/>
              </a:endParaRPr>
            </a:p>
          </p:txBody>
        </p:sp>
        <p:sp>
          <p:nvSpPr>
            <p:cNvPr id="125" name="Rounded Rectangle 79"/>
            <p:cNvSpPr/>
            <p:nvPr/>
          </p:nvSpPr>
          <p:spPr>
            <a:xfrm>
              <a:off x="814842" y="2490410"/>
              <a:ext cx="1177010" cy="750120"/>
            </a:xfrm>
            <a:prstGeom prst="roundRect">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975390" eaLnBrk="1" fontAlgn="auto" latinLnBrk="0" hangingPunct="1">
                <a:lnSpc>
                  <a:spcPct val="100000"/>
                </a:lnSpc>
                <a:spcBef>
                  <a:spcPts val="0"/>
                </a:spcBef>
                <a:spcAft>
                  <a:spcPts val="0"/>
                </a:spcAft>
                <a:buClrTx/>
                <a:buSzTx/>
                <a:buFontTx/>
                <a:buNone/>
                <a:tabLst/>
                <a:defRPr/>
              </a:pPr>
              <a:r>
                <a:rPr kumimoji="0" lang="fr-FR" sz="1800" b="0" i="0" u="none" strike="noStrike" kern="0" cap="none" spc="0" normalizeH="0" baseline="0" noProof="0" dirty="0" smtClean="0">
                  <a:ln>
                    <a:noFill/>
                  </a:ln>
                  <a:solidFill>
                    <a:prstClr val="white"/>
                  </a:solidFill>
                  <a:effectLst/>
                  <a:uLnTx/>
                  <a:uFillTx/>
                  <a:latin typeface="Calibri" panose="020F0502020204030204"/>
                </a:rPr>
                <a:t>Client </a:t>
              </a:r>
              <a:r>
                <a:rPr kumimoji="0" lang="fr-FR" sz="1800" b="0" i="0" u="none" strike="noStrike" kern="0" cap="none" spc="0" normalizeH="0" baseline="0" noProof="0" dirty="0" err="1" smtClean="0">
                  <a:ln>
                    <a:noFill/>
                  </a:ln>
                  <a:solidFill>
                    <a:prstClr val="white"/>
                  </a:solidFill>
                  <a:effectLst/>
                  <a:uLnTx/>
                  <a:uFillTx/>
                  <a:latin typeface="Calibri" panose="020F0502020204030204"/>
                </a:rPr>
                <a:t>library</a:t>
              </a:r>
              <a:endParaRPr kumimoji="0" lang="fr-FR" sz="1800" b="0" i="0" u="none" strike="noStrike" kern="0" cap="none" spc="0" normalizeH="0" baseline="0" noProof="0" dirty="0">
                <a:ln>
                  <a:noFill/>
                </a:ln>
                <a:solidFill>
                  <a:prstClr val="white"/>
                </a:solidFill>
                <a:effectLst/>
                <a:uLnTx/>
                <a:uFillTx/>
                <a:latin typeface="Calibri" panose="020F0502020204030204"/>
              </a:endParaRPr>
            </a:p>
          </p:txBody>
        </p:sp>
        <p:sp>
          <p:nvSpPr>
            <p:cNvPr id="126" name="Left-Right Arrow 80"/>
            <p:cNvSpPr/>
            <p:nvPr/>
          </p:nvSpPr>
          <p:spPr>
            <a:xfrm>
              <a:off x="2159672" y="2420810"/>
              <a:ext cx="2245464" cy="936929"/>
            </a:xfrm>
            <a:prstGeom prst="leftRightArrow">
              <a:avLst/>
            </a:prstGeom>
            <a:solidFill>
              <a:srgbClr val="0072C6">
                <a:lumMod val="60000"/>
                <a:lumOff val="40000"/>
              </a:srgbClr>
            </a:solidFill>
            <a:ln w="6350" cap="flat" cmpd="sng" algn="ctr">
              <a:noFill/>
              <a:prstDash val="solid"/>
              <a:miter lim="800000"/>
            </a:ln>
            <a:effectLst/>
          </p:spPr>
          <p:txBody>
            <a:bodyPr rtlCol="0" anchor="ctr"/>
            <a:lstStyle/>
            <a:p>
              <a:pPr marL="0" marR="0" lvl="0" indent="0" algn="ctr" defTabSz="97539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prstClr val="white"/>
                </a:solidFill>
                <a:effectLst/>
                <a:uLnTx/>
                <a:uFillTx/>
                <a:latin typeface="Calibri" panose="020F0502020204030204"/>
              </a:endParaRPr>
            </a:p>
          </p:txBody>
        </p:sp>
        <p:sp>
          <p:nvSpPr>
            <p:cNvPr id="127" name="Rounded Rectangle 85"/>
            <p:cNvSpPr/>
            <p:nvPr/>
          </p:nvSpPr>
          <p:spPr>
            <a:xfrm>
              <a:off x="10082560" y="2384917"/>
              <a:ext cx="1712825" cy="960090"/>
            </a:xfrm>
            <a:prstGeom prst="roundRect">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975390" eaLnBrk="1" fontAlgn="auto" latinLnBrk="0" hangingPunct="1">
                <a:lnSpc>
                  <a:spcPct val="100000"/>
                </a:lnSpc>
                <a:spcBef>
                  <a:spcPts val="0"/>
                </a:spcBef>
                <a:spcAft>
                  <a:spcPts val="0"/>
                </a:spcAft>
                <a:buClrTx/>
                <a:buSzTx/>
                <a:buFontTx/>
                <a:buNone/>
                <a:tabLst/>
                <a:defRPr/>
              </a:pPr>
              <a:r>
                <a:rPr kumimoji="0" lang="fr-FR" sz="1400" b="0" i="0" u="none" strike="noStrike" kern="0" cap="none" spc="0" normalizeH="0" baseline="0" noProof="0" dirty="0" smtClean="0">
                  <a:ln>
                    <a:noFill/>
                  </a:ln>
                  <a:solidFill>
                    <a:prstClr val="white"/>
                  </a:solidFill>
                  <a:effectLst/>
                  <a:uLnTx/>
                  <a:uFillTx/>
                  <a:latin typeface="Calibri" panose="020F0502020204030204"/>
                </a:rPr>
                <a:t>Cross-</a:t>
              </a:r>
              <a:r>
                <a:rPr kumimoji="0" lang="fr-FR" sz="1400" b="0" i="0" u="none" strike="noStrike" kern="0" cap="none" spc="0" normalizeH="0" baseline="0" noProof="0" dirty="0" err="1" smtClean="0">
                  <a:ln>
                    <a:noFill/>
                  </a:ln>
                  <a:solidFill>
                    <a:prstClr val="white"/>
                  </a:solidFill>
                  <a:effectLst/>
                  <a:uLnTx/>
                  <a:uFillTx/>
                  <a:latin typeface="Calibri" panose="020F0502020204030204"/>
                </a:rPr>
                <a:t>shard</a:t>
              </a:r>
              <a:r>
                <a:rPr kumimoji="0" lang="fr-FR" sz="1400" b="0" i="0" u="none" strike="noStrike" kern="0" cap="none" spc="0" normalizeH="0" baseline="0" noProof="0" dirty="0" smtClean="0">
                  <a:ln>
                    <a:noFill/>
                  </a:ln>
                  <a:solidFill>
                    <a:prstClr val="white"/>
                  </a:solidFill>
                  <a:effectLst/>
                  <a:uLnTx/>
                  <a:uFillTx/>
                  <a:latin typeface="Calibri" panose="020F0502020204030204"/>
                </a:rPr>
                <a:t> extensions</a:t>
              </a:r>
              <a:endParaRPr kumimoji="0" lang="fr-FR" sz="1400" b="0" i="0" u="none" strike="noStrike" kern="0" cap="none" spc="0" normalizeH="0" baseline="0" noProof="0" dirty="0">
                <a:ln>
                  <a:noFill/>
                </a:ln>
                <a:solidFill>
                  <a:prstClr val="white"/>
                </a:solidFill>
                <a:effectLst/>
                <a:uLnTx/>
                <a:uFillTx/>
                <a:latin typeface="Calibri" panose="020F0502020204030204"/>
              </a:endParaRPr>
            </a:p>
          </p:txBody>
        </p:sp>
        <p:sp>
          <p:nvSpPr>
            <p:cNvPr id="128" name="TextBox 81"/>
            <p:cNvSpPr txBox="1"/>
            <p:nvPr/>
          </p:nvSpPr>
          <p:spPr>
            <a:xfrm>
              <a:off x="2764986" y="2596886"/>
              <a:ext cx="958872" cy="858928"/>
            </a:xfrm>
            <a:prstGeom prst="rect">
              <a:avLst/>
            </a:prstGeom>
            <a:noFill/>
          </p:spPr>
          <p:txBody>
            <a:bodyPr wrap="none" rtlCol="0">
              <a:spAutoFit/>
            </a:bodyPr>
            <a:lstStyle/>
            <a:p>
              <a:pPr marL="0" marR="0" lvl="0" indent="0" defTabSz="975390" eaLnBrk="1" fontAlgn="auto" latinLnBrk="0" hangingPunct="1">
                <a:lnSpc>
                  <a:spcPct val="100000"/>
                </a:lnSpc>
                <a:spcBef>
                  <a:spcPts val="0"/>
                </a:spcBef>
                <a:spcAft>
                  <a:spcPts val="0"/>
                </a:spcAft>
                <a:buClrTx/>
                <a:buSzTx/>
                <a:buFontTx/>
                <a:buNone/>
                <a:tabLst/>
                <a:defRPr/>
              </a:pPr>
              <a:r>
                <a:rPr kumimoji="0" lang="fr-FR" sz="1200" b="0" i="1" u="none" strike="noStrike" kern="0" cap="none" spc="0" normalizeH="0" baseline="0" noProof="0" dirty="0" smtClean="0">
                  <a:ln>
                    <a:noFill/>
                  </a:ln>
                  <a:solidFill>
                    <a:prstClr val="white"/>
                  </a:solidFill>
                  <a:effectLst/>
                  <a:uLnTx/>
                  <a:uFillTx/>
                  <a:latin typeface="Calibri" panose="020F0502020204030204"/>
                </a:rPr>
                <a:t>Cross-</a:t>
              </a:r>
              <a:r>
                <a:rPr kumimoji="0" lang="fr-FR" sz="1200" b="0" i="1" u="none" strike="noStrike" kern="0" cap="none" spc="0" normalizeH="0" baseline="0" noProof="0" dirty="0" err="1" smtClean="0">
                  <a:ln>
                    <a:noFill/>
                  </a:ln>
                  <a:solidFill>
                    <a:prstClr val="white"/>
                  </a:solidFill>
                  <a:effectLst/>
                  <a:uLnTx/>
                  <a:uFillTx/>
                  <a:latin typeface="Calibri" panose="020F0502020204030204"/>
                </a:rPr>
                <a:t>shard</a:t>
              </a:r>
              <a:endParaRPr kumimoji="0" lang="fr-FR" sz="1200" b="0" i="1" u="none" strike="noStrike" kern="0" cap="none" spc="0" normalizeH="0" baseline="0" noProof="0" dirty="0" smtClean="0">
                <a:ln>
                  <a:noFill/>
                </a:ln>
                <a:solidFill>
                  <a:prstClr val="white"/>
                </a:solidFill>
                <a:effectLst/>
                <a:uLnTx/>
                <a:uFillTx/>
                <a:latin typeface="Calibri" panose="020F0502020204030204"/>
              </a:endParaRPr>
            </a:p>
            <a:p>
              <a:pPr marL="0" marR="0" lvl="0" indent="0" defTabSz="975390" eaLnBrk="1" fontAlgn="auto" latinLnBrk="0" hangingPunct="1">
                <a:lnSpc>
                  <a:spcPct val="100000"/>
                </a:lnSpc>
                <a:spcBef>
                  <a:spcPts val="0"/>
                </a:spcBef>
                <a:spcAft>
                  <a:spcPts val="0"/>
                </a:spcAft>
                <a:buClrTx/>
                <a:buSzTx/>
                <a:buFontTx/>
                <a:buNone/>
                <a:tabLst/>
                <a:defRPr/>
              </a:pPr>
              <a:r>
                <a:rPr kumimoji="0" lang="fr-FR" sz="1200" b="0" i="1" u="none" strike="noStrike" kern="0" cap="none" spc="0" normalizeH="0" baseline="0" noProof="0" dirty="0" err="1" smtClean="0">
                  <a:ln>
                    <a:noFill/>
                  </a:ln>
                  <a:solidFill>
                    <a:prstClr val="white"/>
                  </a:solidFill>
                  <a:effectLst/>
                  <a:uLnTx/>
                  <a:uFillTx/>
                  <a:latin typeface="Calibri" panose="020F0502020204030204"/>
                </a:rPr>
                <a:t>operations</a:t>
              </a:r>
              <a:endParaRPr kumimoji="0" lang="fr-FR" sz="1200" b="0" i="1" u="none" strike="noStrike" kern="0" cap="none" spc="0" normalizeH="0" baseline="0" noProof="0" dirty="0">
                <a:ln>
                  <a:noFill/>
                </a:ln>
                <a:solidFill>
                  <a:prstClr val="white"/>
                </a:solidFill>
                <a:effectLst/>
                <a:uLnTx/>
                <a:uFillTx/>
                <a:latin typeface="Calibri" panose="020F0502020204030204"/>
              </a:endParaRPr>
            </a:p>
          </p:txBody>
        </p:sp>
        <p:sp>
          <p:nvSpPr>
            <p:cNvPr id="129" name="Rounded Rectangle 82"/>
            <p:cNvSpPr/>
            <p:nvPr/>
          </p:nvSpPr>
          <p:spPr>
            <a:xfrm>
              <a:off x="840317" y="4987121"/>
              <a:ext cx="1177010" cy="750120"/>
            </a:xfrm>
            <a:prstGeom prst="roundRect">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975390" eaLnBrk="1" fontAlgn="auto" latinLnBrk="0" hangingPunct="1">
                <a:lnSpc>
                  <a:spcPct val="100000"/>
                </a:lnSpc>
                <a:spcBef>
                  <a:spcPts val="0"/>
                </a:spcBef>
                <a:spcAft>
                  <a:spcPts val="0"/>
                </a:spcAft>
                <a:buClrTx/>
                <a:buSzTx/>
                <a:buFontTx/>
                <a:buNone/>
                <a:tabLst/>
                <a:defRPr/>
              </a:pPr>
              <a:r>
                <a:rPr kumimoji="0" lang="fr-FR" sz="1800" b="0" i="0" u="none" strike="noStrike" kern="0" cap="none" spc="0" normalizeH="0" baseline="0" noProof="0" dirty="0" smtClean="0">
                  <a:ln>
                    <a:noFill/>
                  </a:ln>
                  <a:solidFill>
                    <a:prstClr val="white"/>
                  </a:solidFill>
                  <a:effectLst/>
                  <a:uLnTx/>
                  <a:uFillTx/>
                  <a:latin typeface="Calibri" panose="020F0502020204030204"/>
                </a:rPr>
                <a:t>Client </a:t>
              </a:r>
              <a:r>
                <a:rPr kumimoji="0" lang="fr-FR" sz="1800" b="0" i="0" u="none" strike="noStrike" kern="0" cap="none" spc="0" normalizeH="0" baseline="0" noProof="0" dirty="0" err="1" smtClean="0">
                  <a:ln>
                    <a:noFill/>
                  </a:ln>
                  <a:solidFill>
                    <a:prstClr val="white"/>
                  </a:solidFill>
                  <a:effectLst/>
                  <a:uLnTx/>
                  <a:uFillTx/>
                  <a:latin typeface="Calibri" panose="020F0502020204030204"/>
                </a:rPr>
                <a:t>library</a:t>
              </a:r>
              <a:endParaRPr kumimoji="0" lang="fr-FR" sz="1800" b="0" i="0" u="none" strike="noStrike" kern="0" cap="none" spc="0" normalizeH="0" baseline="0" noProof="0" dirty="0">
                <a:ln>
                  <a:noFill/>
                </a:ln>
                <a:solidFill>
                  <a:prstClr val="white"/>
                </a:solidFill>
                <a:effectLst/>
                <a:uLnTx/>
                <a:uFillTx/>
                <a:latin typeface="Calibri" panose="020F0502020204030204"/>
              </a:endParaRPr>
            </a:p>
          </p:txBody>
        </p:sp>
        <p:sp>
          <p:nvSpPr>
            <p:cNvPr id="130" name="Left-Right Arrow 83"/>
            <p:cNvSpPr/>
            <p:nvPr/>
          </p:nvSpPr>
          <p:spPr>
            <a:xfrm>
              <a:off x="2162603" y="4893718"/>
              <a:ext cx="1495521" cy="936929"/>
            </a:xfrm>
            <a:prstGeom prst="leftRightArrow">
              <a:avLst/>
            </a:prstGeom>
            <a:solidFill>
              <a:srgbClr val="0072C6">
                <a:lumMod val="60000"/>
                <a:lumOff val="40000"/>
              </a:srgbClr>
            </a:solidFill>
            <a:ln w="6350" cap="flat" cmpd="sng" algn="ctr">
              <a:noFill/>
              <a:prstDash val="solid"/>
              <a:miter lim="800000"/>
            </a:ln>
            <a:effectLst/>
          </p:spPr>
          <p:txBody>
            <a:bodyPr rtlCol="0" anchor="ctr"/>
            <a:lstStyle/>
            <a:p>
              <a:pPr marL="0" marR="0" lvl="0" indent="0" algn="ctr" defTabSz="97539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prstClr val="white"/>
                </a:solidFill>
                <a:effectLst/>
                <a:uLnTx/>
                <a:uFillTx/>
                <a:latin typeface="Calibri" panose="020F0502020204030204"/>
              </a:endParaRPr>
            </a:p>
          </p:txBody>
        </p:sp>
        <p:sp>
          <p:nvSpPr>
            <p:cNvPr id="131" name="TextBox 84"/>
            <p:cNvSpPr txBox="1"/>
            <p:nvPr/>
          </p:nvSpPr>
          <p:spPr>
            <a:xfrm>
              <a:off x="2430553" y="5081877"/>
              <a:ext cx="928442" cy="858928"/>
            </a:xfrm>
            <a:prstGeom prst="rect">
              <a:avLst/>
            </a:prstGeom>
            <a:noFill/>
          </p:spPr>
          <p:txBody>
            <a:bodyPr wrap="none" rtlCol="0">
              <a:spAutoFit/>
            </a:bodyPr>
            <a:lstStyle/>
            <a:p>
              <a:pPr marL="0" marR="0" lvl="0" indent="0" defTabSz="975390" eaLnBrk="1" fontAlgn="auto" latinLnBrk="0" hangingPunct="1">
                <a:lnSpc>
                  <a:spcPct val="100000"/>
                </a:lnSpc>
                <a:spcBef>
                  <a:spcPts val="0"/>
                </a:spcBef>
                <a:spcAft>
                  <a:spcPts val="0"/>
                </a:spcAft>
                <a:buClrTx/>
                <a:buSzTx/>
                <a:buFontTx/>
                <a:buNone/>
                <a:tabLst/>
                <a:defRPr/>
              </a:pPr>
              <a:r>
                <a:rPr kumimoji="0" lang="fr-FR" sz="1200" b="0" i="1" u="none" strike="noStrike" kern="0" cap="none" spc="0" normalizeH="0" baseline="0" noProof="0" dirty="0" err="1" smtClean="0">
                  <a:ln>
                    <a:noFill/>
                  </a:ln>
                  <a:solidFill>
                    <a:prstClr val="white"/>
                  </a:solidFill>
                  <a:effectLst/>
                  <a:uLnTx/>
                  <a:uFillTx/>
                  <a:latin typeface="Calibri" panose="020F0502020204030204"/>
                </a:rPr>
                <a:t>Shard</a:t>
              </a:r>
              <a:r>
                <a:rPr kumimoji="0" lang="fr-FR" sz="1200" b="0" i="1" u="none" strike="noStrike" kern="0" cap="none" spc="0" normalizeH="0" baseline="0" noProof="0" dirty="0" smtClean="0">
                  <a:ln>
                    <a:noFill/>
                  </a:ln>
                  <a:solidFill>
                    <a:prstClr val="white"/>
                  </a:solidFill>
                  <a:effectLst/>
                  <a:uLnTx/>
                  <a:uFillTx/>
                  <a:latin typeface="Calibri" panose="020F0502020204030204"/>
                </a:rPr>
                <a:t>-local</a:t>
              </a:r>
            </a:p>
            <a:p>
              <a:pPr marL="0" marR="0" lvl="0" indent="0" defTabSz="975390" eaLnBrk="1" fontAlgn="auto" latinLnBrk="0" hangingPunct="1">
                <a:lnSpc>
                  <a:spcPct val="100000"/>
                </a:lnSpc>
                <a:spcBef>
                  <a:spcPts val="0"/>
                </a:spcBef>
                <a:spcAft>
                  <a:spcPts val="0"/>
                </a:spcAft>
                <a:buClrTx/>
                <a:buSzTx/>
                <a:buFontTx/>
                <a:buNone/>
                <a:tabLst/>
                <a:defRPr/>
              </a:pPr>
              <a:r>
                <a:rPr kumimoji="0" lang="fr-FR" sz="1200" b="0" i="1" u="none" strike="noStrike" kern="0" cap="none" spc="0" normalizeH="0" baseline="0" noProof="0" dirty="0" err="1" smtClean="0">
                  <a:ln>
                    <a:noFill/>
                  </a:ln>
                  <a:solidFill>
                    <a:prstClr val="white"/>
                  </a:solidFill>
                  <a:effectLst/>
                  <a:uLnTx/>
                  <a:uFillTx/>
                  <a:latin typeface="Calibri" panose="020F0502020204030204"/>
                </a:rPr>
                <a:t>operations</a:t>
              </a:r>
              <a:endParaRPr kumimoji="0" lang="fr-FR" sz="1200" b="0" i="1" u="none" strike="noStrike" kern="0" cap="none" spc="0" normalizeH="0" baseline="0" noProof="0" dirty="0">
                <a:ln>
                  <a:noFill/>
                </a:ln>
                <a:solidFill>
                  <a:prstClr val="white"/>
                </a:solidFill>
                <a:effectLst/>
                <a:uLnTx/>
                <a:uFillTx/>
                <a:latin typeface="Calibri" panose="020F0502020204030204"/>
              </a:endParaRPr>
            </a:p>
          </p:txBody>
        </p:sp>
        <p:sp>
          <p:nvSpPr>
            <p:cNvPr id="132" name="Left-Right Arrow 73"/>
            <p:cNvSpPr/>
            <p:nvPr/>
          </p:nvSpPr>
          <p:spPr>
            <a:xfrm>
              <a:off x="8095993" y="2449133"/>
              <a:ext cx="2116068" cy="936929"/>
            </a:xfrm>
            <a:prstGeom prst="leftRightArrow">
              <a:avLst/>
            </a:prstGeom>
            <a:solidFill>
              <a:srgbClr val="0072C6">
                <a:lumMod val="60000"/>
                <a:lumOff val="40000"/>
              </a:srgbClr>
            </a:solidFill>
            <a:ln w="6350" cap="flat" cmpd="sng" algn="ctr">
              <a:noFill/>
              <a:prstDash val="solid"/>
              <a:miter lim="800000"/>
            </a:ln>
            <a:effectLst/>
          </p:spPr>
          <p:txBody>
            <a:bodyPr rtlCol="0" anchor="ctr"/>
            <a:lstStyle/>
            <a:p>
              <a:pPr marL="0" marR="0" lvl="0" indent="0" algn="ctr" defTabSz="97539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prstClr val="white"/>
                </a:solidFill>
                <a:effectLst/>
                <a:uLnTx/>
                <a:uFillTx/>
                <a:latin typeface="Calibri" panose="020F0502020204030204"/>
              </a:endParaRPr>
            </a:p>
          </p:txBody>
        </p:sp>
        <p:sp>
          <p:nvSpPr>
            <p:cNvPr id="133" name="TextBox 76"/>
            <p:cNvSpPr txBox="1"/>
            <p:nvPr/>
          </p:nvSpPr>
          <p:spPr>
            <a:xfrm>
              <a:off x="8626582" y="2627395"/>
              <a:ext cx="958872" cy="858928"/>
            </a:xfrm>
            <a:prstGeom prst="rect">
              <a:avLst/>
            </a:prstGeom>
            <a:noFill/>
          </p:spPr>
          <p:txBody>
            <a:bodyPr wrap="none" rtlCol="0">
              <a:spAutoFit/>
            </a:bodyPr>
            <a:lstStyle/>
            <a:p>
              <a:pPr marL="0" marR="0" lvl="0" indent="0" defTabSz="975390" eaLnBrk="1" fontAlgn="auto" latinLnBrk="0" hangingPunct="1">
                <a:lnSpc>
                  <a:spcPct val="100000"/>
                </a:lnSpc>
                <a:spcBef>
                  <a:spcPts val="0"/>
                </a:spcBef>
                <a:spcAft>
                  <a:spcPts val="0"/>
                </a:spcAft>
                <a:buClrTx/>
                <a:buSzTx/>
                <a:buFontTx/>
                <a:buNone/>
                <a:tabLst/>
                <a:defRPr/>
              </a:pPr>
              <a:r>
                <a:rPr kumimoji="0" lang="fr-FR" sz="1200" b="0" i="1" u="none" strike="noStrike" kern="0" cap="none" spc="0" normalizeH="0" baseline="0" noProof="0" dirty="0" smtClean="0">
                  <a:ln>
                    <a:noFill/>
                  </a:ln>
                  <a:solidFill>
                    <a:prstClr val="white"/>
                  </a:solidFill>
                  <a:effectLst/>
                  <a:uLnTx/>
                  <a:uFillTx/>
                  <a:latin typeface="Calibri" panose="020F0502020204030204"/>
                </a:rPr>
                <a:t>Cross-</a:t>
              </a:r>
              <a:r>
                <a:rPr kumimoji="0" lang="fr-FR" sz="1200" b="0" i="1" u="none" strike="noStrike" kern="0" cap="none" spc="0" normalizeH="0" baseline="0" noProof="0" dirty="0" err="1" smtClean="0">
                  <a:ln>
                    <a:noFill/>
                  </a:ln>
                  <a:solidFill>
                    <a:prstClr val="white"/>
                  </a:solidFill>
                  <a:effectLst/>
                  <a:uLnTx/>
                  <a:uFillTx/>
                  <a:latin typeface="Calibri" panose="020F0502020204030204"/>
                </a:rPr>
                <a:t>shard</a:t>
              </a:r>
              <a:endParaRPr kumimoji="0" lang="fr-FR" sz="1200" b="0" i="1" u="none" strike="noStrike" kern="0" cap="none" spc="0" normalizeH="0" baseline="0" noProof="0" dirty="0" smtClean="0">
                <a:ln>
                  <a:noFill/>
                </a:ln>
                <a:solidFill>
                  <a:prstClr val="white"/>
                </a:solidFill>
                <a:effectLst/>
                <a:uLnTx/>
                <a:uFillTx/>
                <a:latin typeface="Calibri" panose="020F0502020204030204"/>
              </a:endParaRPr>
            </a:p>
            <a:p>
              <a:pPr marL="0" marR="0" lvl="0" indent="0" defTabSz="975390" eaLnBrk="1" fontAlgn="auto" latinLnBrk="0" hangingPunct="1">
                <a:lnSpc>
                  <a:spcPct val="100000"/>
                </a:lnSpc>
                <a:spcBef>
                  <a:spcPts val="0"/>
                </a:spcBef>
                <a:spcAft>
                  <a:spcPts val="0"/>
                </a:spcAft>
                <a:buClrTx/>
                <a:buSzTx/>
                <a:buFontTx/>
                <a:buNone/>
                <a:tabLst/>
                <a:defRPr/>
              </a:pPr>
              <a:r>
                <a:rPr kumimoji="0" lang="fr-FR" sz="1200" b="0" i="1" u="none" strike="noStrike" kern="0" cap="none" spc="0" normalizeH="0" baseline="0" noProof="0" dirty="0" err="1" smtClean="0">
                  <a:ln>
                    <a:noFill/>
                  </a:ln>
                  <a:solidFill>
                    <a:prstClr val="white"/>
                  </a:solidFill>
                  <a:effectLst/>
                  <a:uLnTx/>
                  <a:uFillTx/>
                  <a:latin typeface="Calibri" panose="020F0502020204030204"/>
                </a:rPr>
                <a:t>operations</a:t>
              </a:r>
              <a:endParaRPr kumimoji="0" lang="fr-FR" sz="1200" b="0" i="1" u="none" strike="noStrike" kern="0" cap="none" spc="0" normalizeH="0" baseline="0" noProof="0" dirty="0">
                <a:ln>
                  <a:noFill/>
                </a:ln>
                <a:solidFill>
                  <a:prstClr val="white"/>
                </a:solidFill>
                <a:effectLst/>
                <a:uLnTx/>
                <a:uFillTx/>
                <a:latin typeface="Calibri" panose="020F0502020204030204"/>
              </a:endParaRPr>
            </a:p>
          </p:txBody>
        </p:sp>
      </p:grpSp>
    </p:spTree>
    <p:extLst>
      <p:ext uri="{BB962C8B-B14F-4D97-AF65-F5344CB8AC3E}">
        <p14:creationId xmlns:p14="http://schemas.microsoft.com/office/powerpoint/2010/main" val="3429639841"/>
      </p:ext>
    </p:extLst>
  </p:cSld>
  <p:clrMapOvr>
    <a:masterClrMapping/>
  </p:clrMapOvr>
  <p:transition>
    <p:fade/>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11476641" y="1031081"/>
            <a:ext cx="184731" cy="357021"/>
          </a:xfrm>
          <a:prstGeom prst="rect">
            <a:avLst/>
          </a:prstGeom>
          <a:noFill/>
        </p:spPr>
        <p:txBody>
          <a:bodyPr wrap="none" rtlCol="0">
            <a:spAutoFit/>
          </a:bodyPr>
          <a:lstStyle/>
          <a:p>
            <a:endParaRPr lang="fr-FR" sz="1720" dirty="0">
              <a:solidFill>
                <a:srgbClr val="404040"/>
              </a:solidFill>
            </a:endParaRPr>
          </a:p>
        </p:txBody>
      </p:sp>
      <p:sp>
        <p:nvSpPr>
          <p:cNvPr id="3" name="Text Placeholder 2"/>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sp>
        <p:nvSpPr>
          <p:cNvPr id="71" name="Title 1"/>
          <p:cNvSpPr>
            <a:spLocks noGrp="1"/>
          </p:cNvSpPr>
          <p:nvPr>
            <p:ph type="title"/>
          </p:nvPr>
        </p:nvSpPr>
        <p:spPr/>
        <p:txBody>
          <a:bodyPr>
            <a:normAutofit fontScale="90000"/>
          </a:bodyPr>
          <a:lstStyle/>
          <a:p>
            <a:r>
              <a:rPr lang="fr-FR" dirty="0" smtClean="0"/>
              <a:t>Problématique #3 : </a:t>
            </a:r>
            <a:r>
              <a:rPr lang="fr-FR" dirty="0" err="1" smtClean="0"/>
              <a:t>Scale</a:t>
            </a:r>
            <a:r>
              <a:rPr lang="fr-FR" dirty="0" smtClean="0"/>
              <a:t>-Up, </a:t>
            </a:r>
            <a:r>
              <a:rPr lang="fr-FR" dirty="0" err="1" smtClean="0"/>
              <a:t>Scale</a:t>
            </a:r>
            <a:r>
              <a:rPr lang="fr-FR" dirty="0" smtClean="0"/>
              <a:t>-Down  </a:t>
            </a:r>
            <a:endParaRPr lang="fr-FR" dirty="0"/>
          </a:p>
        </p:txBody>
      </p:sp>
      <p:cxnSp>
        <p:nvCxnSpPr>
          <p:cNvPr id="27" name="Straight Connector 26"/>
          <p:cNvCxnSpPr/>
          <p:nvPr/>
        </p:nvCxnSpPr>
        <p:spPr>
          <a:xfrm>
            <a:off x="6193959" y="5234314"/>
            <a:ext cx="679205" cy="0"/>
          </a:xfrm>
          <a:prstGeom prst="line">
            <a:avLst/>
          </a:prstGeom>
          <a:noFill/>
          <a:ln w="38100" cap="flat" cmpd="sng" algn="ctr">
            <a:solidFill>
              <a:srgbClr val="0072C6">
                <a:lumMod val="75000"/>
              </a:srgbClr>
            </a:solidFill>
            <a:prstDash val="sysDot"/>
          </a:ln>
          <a:effectLst/>
        </p:spPr>
      </p:cxnSp>
      <p:sp>
        <p:nvSpPr>
          <p:cNvPr id="31" name="Can 30"/>
          <p:cNvSpPr/>
          <p:nvPr/>
        </p:nvSpPr>
        <p:spPr>
          <a:xfrm>
            <a:off x="6406356" y="3329337"/>
            <a:ext cx="598149" cy="571270"/>
          </a:xfrm>
          <a:prstGeom prst="can">
            <a:avLst/>
          </a:prstGeom>
          <a:solidFill>
            <a:srgbClr val="0072C6"/>
          </a:solidFill>
          <a:ln w="25400" cap="flat" cmpd="sng" algn="ctr">
            <a:solidFill>
              <a:srgbClr val="0072C6">
                <a:lumMod val="75000"/>
              </a:srgbClr>
            </a:solidFill>
            <a:prstDash val="solid"/>
          </a:ln>
          <a:effectLst/>
        </p:spPr>
        <p:txBody>
          <a:bodyPr lIns="0" rIns="0" rtlCol="0" anchor="ctr"/>
          <a:lstStyle/>
          <a:p>
            <a:pPr marL="0" marR="0" lvl="0" indent="0" algn="ctr" defTabSz="623863" eaLnBrk="1" fontAlgn="auto" latinLnBrk="0" hangingPunct="1">
              <a:lnSpc>
                <a:spcPct val="100000"/>
              </a:lnSpc>
              <a:spcBef>
                <a:spcPts val="0"/>
              </a:spcBef>
              <a:spcAft>
                <a:spcPts val="0"/>
              </a:spcAft>
              <a:buClrTx/>
              <a:buSzTx/>
              <a:buFontTx/>
              <a:buNone/>
              <a:tabLst/>
              <a:defRPr/>
            </a:pPr>
            <a:r>
              <a:rPr kumimoji="0" lang="fr-FR" sz="1176" b="0" i="0" u="none" strike="noStrike" kern="0" cap="none" spc="0" normalizeH="0" baseline="0" noProof="0" dirty="0" err="1" smtClean="0">
                <a:ln>
                  <a:noFill/>
                </a:ln>
                <a:solidFill>
                  <a:srgbClr val="FFFFFF"/>
                </a:solidFill>
                <a:effectLst/>
                <a:uLnTx/>
                <a:uFillTx/>
                <a:latin typeface="Arial"/>
                <a:ea typeface="+mn-ea"/>
                <a:cs typeface="+mn-cs"/>
              </a:rPr>
              <a:t>Catalog</a:t>
            </a:r>
            <a:endParaRPr kumimoji="0" lang="fr-FR" sz="1176"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32" name="Can 31"/>
          <p:cNvSpPr/>
          <p:nvPr/>
        </p:nvSpPr>
        <p:spPr>
          <a:xfrm>
            <a:off x="4227347" y="4839684"/>
            <a:ext cx="563401" cy="693644"/>
          </a:xfrm>
          <a:prstGeom prst="can">
            <a:avLst/>
          </a:prstGeom>
          <a:solidFill>
            <a:srgbClr val="0072C6"/>
          </a:solidFill>
          <a:ln w="25400" cap="flat" cmpd="sng" algn="ctr">
            <a:solidFill>
              <a:srgbClr val="0072C6">
                <a:lumMod val="75000"/>
              </a:srgbClr>
            </a:solidFill>
            <a:prstDash val="solid"/>
          </a:ln>
          <a:effectLst/>
        </p:spPr>
        <p:txBody>
          <a:bodyPr lIns="0" tIns="0" rIns="0" bIns="0" rtlCol="0" anchor="ctr"/>
          <a:lstStyle/>
          <a:p>
            <a:pPr marL="0" marR="0" lvl="0" indent="0" algn="ctr" defTabSz="623863" eaLnBrk="1" fontAlgn="auto" latinLnBrk="0" hangingPunct="1">
              <a:lnSpc>
                <a:spcPct val="100000"/>
              </a:lnSpc>
              <a:spcBef>
                <a:spcPts val="0"/>
              </a:spcBef>
              <a:spcAft>
                <a:spcPts val="0"/>
              </a:spcAft>
              <a:buClrTx/>
              <a:buSzTx/>
              <a:buFontTx/>
              <a:buNone/>
              <a:tabLst/>
              <a:defRPr/>
            </a:pPr>
            <a:r>
              <a:rPr kumimoji="0" lang="fr-FR" sz="1200" b="0" i="0" u="none" strike="noStrike" kern="0" cap="none" spc="0" normalizeH="0" baseline="0" noProof="0" dirty="0" err="1" smtClean="0">
                <a:ln>
                  <a:noFill/>
                </a:ln>
                <a:solidFill>
                  <a:srgbClr val="FFFFFF"/>
                </a:solidFill>
                <a:effectLst/>
                <a:uLnTx/>
                <a:uFillTx/>
                <a:latin typeface="Arial"/>
                <a:ea typeface="+mn-ea"/>
                <a:cs typeface="+mn-cs"/>
              </a:rPr>
              <a:t>Cli</a:t>
            </a:r>
            <a:r>
              <a:rPr kumimoji="0" lang="fr-FR" sz="1200" b="0" i="0" u="none" strike="noStrike" kern="0" cap="none" spc="0" normalizeH="0" baseline="0" noProof="0" dirty="0" smtClean="0">
                <a:ln>
                  <a:noFill/>
                </a:ln>
                <a:solidFill>
                  <a:srgbClr val="FFFFFF"/>
                </a:solidFill>
                <a:effectLst/>
                <a:uLnTx/>
                <a:uFillTx/>
                <a:latin typeface="Arial"/>
                <a:ea typeface="+mn-ea"/>
                <a:cs typeface="+mn-cs"/>
              </a:rPr>
              <a:t>. 1</a:t>
            </a:r>
          </a:p>
        </p:txBody>
      </p:sp>
      <p:sp>
        <p:nvSpPr>
          <p:cNvPr id="33" name="Can 32"/>
          <p:cNvSpPr/>
          <p:nvPr/>
        </p:nvSpPr>
        <p:spPr>
          <a:xfrm>
            <a:off x="4898765" y="4839684"/>
            <a:ext cx="546212" cy="693644"/>
          </a:xfrm>
          <a:prstGeom prst="can">
            <a:avLst/>
          </a:prstGeom>
          <a:solidFill>
            <a:srgbClr val="0072C6"/>
          </a:solidFill>
          <a:ln w="25400" cap="flat" cmpd="sng" algn="ctr">
            <a:solidFill>
              <a:srgbClr val="0072C6">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23863" eaLnBrk="1" fontAlgn="auto" latinLnBrk="0" hangingPunct="1">
              <a:lnSpc>
                <a:spcPct val="100000"/>
              </a:lnSpc>
              <a:spcBef>
                <a:spcPts val="0"/>
              </a:spcBef>
              <a:spcAft>
                <a:spcPts val="0"/>
              </a:spcAft>
              <a:buClrTx/>
              <a:buSzTx/>
              <a:buFontTx/>
              <a:buNone/>
              <a:tabLst/>
              <a:defRPr/>
            </a:pPr>
            <a:r>
              <a:rPr kumimoji="0" lang="fr-FR" sz="1200" b="0" i="0" u="none" strike="noStrike" kern="0" cap="none" spc="0" normalizeH="0" baseline="0" noProof="0" dirty="0" err="1" smtClean="0">
                <a:ln>
                  <a:noFill/>
                </a:ln>
                <a:solidFill>
                  <a:srgbClr val="FFFFFF"/>
                </a:solidFill>
                <a:effectLst/>
                <a:uLnTx/>
                <a:uFillTx/>
                <a:latin typeface="Arial"/>
                <a:ea typeface="+mn-ea"/>
                <a:cs typeface="+mn-cs"/>
              </a:rPr>
              <a:t>Cli</a:t>
            </a:r>
            <a:r>
              <a:rPr kumimoji="0" lang="fr-FR" sz="1200" b="0" i="0" u="none" strike="noStrike" kern="0" cap="none" spc="0" normalizeH="0" baseline="0" noProof="0" dirty="0" smtClean="0">
                <a:ln>
                  <a:noFill/>
                </a:ln>
                <a:solidFill>
                  <a:srgbClr val="FFFFFF"/>
                </a:solidFill>
                <a:effectLst/>
                <a:uLnTx/>
                <a:uFillTx/>
                <a:latin typeface="Arial"/>
                <a:ea typeface="+mn-ea"/>
                <a:cs typeface="+mn-cs"/>
              </a:rPr>
              <a:t>. 2</a:t>
            </a:r>
          </a:p>
        </p:txBody>
      </p:sp>
      <p:sp>
        <p:nvSpPr>
          <p:cNvPr id="34" name="Rectangle 33"/>
          <p:cNvSpPr/>
          <p:nvPr/>
        </p:nvSpPr>
        <p:spPr>
          <a:xfrm>
            <a:off x="4676421" y="2136552"/>
            <a:ext cx="2473786" cy="571270"/>
          </a:xfrm>
          <a:prstGeom prst="rect">
            <a:avLst/>
          </a:prstGeom>
          <a:solidFill>
            <a:srgbClr val="0072C6"/>
          </a:solidFill>
          <a:ln w="25400" cap="flat" cmpd="sng" algn="ctr">
            <a:solidFill>
              <a:srgbClr val="0072C6">
                <a:lumMod val="75000"/>
              </a:srgbClr>
            </a:solidFill>
            <a:prstDash val="solid"/>
          </a:ln>
          <a:effectLst/>
        </p:spPr>
        <p:txBody>
          <a:bodyPr rtlCol="0" anchor="ctr"/>
          <a:lstStyle/>
          <a:p>
            <a:pPr marL="0" marR="0" lvl="0" indent="0" algn="ctr" defTabSz="623863" eaLnBrk="1" fontAlgn="auto" latinLnBrk="0" hangingPunct="1">
              <a:lnSpc>
                <a:spcPct val="100000"/>
              </a:lnSpc>
              <a:spcBef>
                <a:spcPts val="0"/>
              </a:spcBef>
              <a:spcAft>
                <a:spcPts val="0"/>
              </a:spcAft>
              <a:buClrTx/>
              <a:buSzTx/>
              <a:buFontTx/>
              <a:buNone/>
              <a:tabLst/>
              <a:defRPr/>
            </a:pPr>
            <a:endParaRPr kumimoji="0" lang="fr-FR" sz="1799"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35" name="Rectangle 34"/>
          <p:cNvSpPr/>
          <p:nvPr/>
        </p:nvSpPr>
        <p:spPr>
          <a:xfrm>
            <a:off x="4600760" y="2227478"/>
            <a:ext cx="2403745" cy="571270"/>
          </a:xfrm>
          <a:prstGeom prst="rect">
            <a:avLst/>
          </a:prstGeom>
          <a:solidFill>
            <a:srgbClr val="0072C6"/>
          </a:solidFill>
          <a:ln w="25400" cap="flat" cmpd="sng" algn="ctr">
            <a:solidFill>
              <a:srgbClr val="0072C6">
                <a:lumMod val="75000"/>
              </a:srgbClr>
            </a:solidFill>
            <a:prstDash val="solid"/>
          </a:ln>
          <a:effectLst/>
        </p:spPr>
        <p:txBody>
          <a:bodyPr rtlCol="0" anchor="ctr"/>
          <a:lstStyle/>
          <a:p>
            <a:pPr marL="0" marR="0" lvl="0" indent="0" algn="ctr" defTabSz="623863" eaLnBrk="1" fontAlgn="auto" latinLnBrk="0" hangingPunct="1">
              <a:lnSpc>
                <a:spcPct val="100000"/>
              </a:lnSpc>
              <a:spcBef>
                <a:spcPts val="0"/>
              </a:spcBef>
              <a:spcAft>
                <a:spcPts val="0"/>
              </a:spcAft>
              <a:buClrTx/>
              <a:buSzTx/>
              <a:buFontTx/>
              <a:buNone/>
              <a:tabLst/>
              <a:defRPr/>
            </a:pPr>
            <a:r>
              <a:rPr kumimoji="0" lang="fr-FR" sz="2450" b="1" i="0" u="none" strike="noStrike" kern="0" cap="none" spc="0" normalizeH="0" baseline="0" noProof="0" dirty="0" smtClean="0">
                <a:ln>
                  <a:noFill/>
                </a:ln>
                <a:solidFill>
                  <a:srgbClr val="FFFFFF"/>
                </a:solidFill>
                <a:effectLst/>
                <a:uLnTx/>
                <a:uFillTx/>
                <a:latin typeface="Arial"/>
                <a:ea typeface="+mn-ea"/>
                <a:cs typeface="+mn-cs"/>
              </a:rPr>
              <a:t>Service Cloud</a:t>
            </a:r>
          </a:p>
        </p:txBody>
      </p:sp>
      <p:cxnSp>
        <p:nvCxnSpPr>
          <p:cNvPr id="36" name="Straight Arrow Connector 35"/>
          <p:cNvCxnSpPr/>
          <p:nvPr/>
        </p:nvCxnSpPr>
        <p:spPr>
          <a:xfrm>
            <a:off x="6491018" y="2889675"/>
            <a:ext cx="149365" cy="413558"/>
          </a:xfrm>
          <a:prstGeom prst="straightConnector1">
            <a:avLst/>
          </a:prstGeom>
          <a:noFill/>
          <a:ln w="28575" cap="flat" cmpd="sng" algn="ctr">
            <a:solidFill>
              <a:srgbClr val="0072C6">
                <a:lumMod val="75000"/>
              </a:srgbClr>
            </a:solidFill>
            <a:prstDash val="solid"/>
            <a:tailEnd type="triangle" w="lg" len="lg"/>
          </a:ln>
          <a:effectLst/>
        </p:spPr>
      </p:cxnSp>
      <p:cxnSp>
        <p:nvCxnSpPr>
          <p:cNvPr id="37" name="Straight Arrow Connector 36"/>
          <p:cNvCxnSpPr/>
          <p:nvPr/>
        </p:nvCxnSpPr>
        <p:spPr>
          <a:xfrm flipH="1">
            <a:off x="4676420" y="2889675"/>
            <a:ext cx="768557" cy="1877012"/>
          </a:xfrm>
          <a:prstGeom prst="straightConnector1">
            <a:avLst/>
          </a:prstGeom>
          <a:noFill/>
          <a:ln w="28575" cap="flat" cmpd="sng" algn="ctr">
            <a:solidFill>
              <a:srgbClr val="0072C6">
                <a:lumMod val="75000"/>
              </a:srgbClr>
            </a:solidFill>
            <a:prstDash val="solid"/>
            <a:tailEnd type="triangle" w="lg" len="lg"/>
          </a:ln>
          <a:effectLst/>
        </p:spPr>
      </p:cxnSp>
      <p:sp>
        <p:nvSpPr>
          <p:cNvPr id="38" name="TextBox 37"/>
          <p:cNvSpPr txBox="1"/>
          <p:nvPr/>
        </p:nvSpPr>
        <p:spPr>
          <a:xfrm>
            <a:off x="4565972" y="5619904"/>
            <a:ext cx="2793657" cy="846386"/>
          </a:xfrm>
          <a:prstGeom prst="rect">
            <a:avLst/>
          </a:prstGeom>
          <a:noFill/>
        </p:spPr>
        <p:txBody>
          <a:bodyPr wrap="square" rtlCol="0">
            <a:spAutoFit/>
          </a:bodyPr>
          <a:lstStyle/>
          <a:p>
            <a:pPr algn="ctr" defTabSz="623863"/>
            <a:r>
              <a:rPr lang="fr-FR" sz="2450" b="1" dirty="0" smtClean="0">
                <a:solidFill>
                  <a:srgbClr val="0072C6"/>
                </a:solidFill>
                <a:latin typeface="Arial"/>
              </a:rPr>
              <a:t>Bases de données client</a:t>
            </a:r>
            <a:endParaRPr lang="fr-FR" sz="2450" b="1" dirty="0">
              <a:solidFill>
                <a:srgbClr val="0072C6"/>
              </a:solidFill>
              <a:latin typeface="Arial"/>
            </a:endParaRPr>
          </a:p>
        </p:txBody>
      </p:sp>
      <p:sp>
        <p:nvSpPr>
          <p:cNvPr id="39" name="TextBox 38"/>
          <p:cNvSpPr txBox="1"/>
          <p:nvPr/>
        </p:nvSpPr>
        <p:spPr>
          <a:xfrm>
            <a:off x="6741359" y="3866223"/>
            <a:ext cx="2793657" cy="469359"/>
          </a:xfrm>
          <a:prstGeom prst="rect">
            <a:avLst/>
          </a:prstGeom>
          <a:noFill/>
        </p:spPr>
        <p:txBody>
          <a:bodyPr wrap="square" rtlCol="0">
            <a:spAutoFit/>
          </a:bodyPr>
          <a:lstStyle/>
          <a:p>
            <a:pPr algn="ctr" defTabSz="623863"/>
            <a:r>
              <a:rPr lang="fr-FR" sz="2450" b="1" dirty="0" smtClean="0">
                <a:solidFill>
                  <a:srgbClr val="0072C6"/>
                </a:solidFill>
                <a:latin typeface="Arial"/>
              </a:rPr>
              <a:t>Catalogue clients</a:t>
            </a:r>
            <a:endParaRPr lang="fr-FR" sz="2450" b="1" dirty="0">
              <a:solidFill>
                <a:srgbClr val="0072C6"/>
              </a:solidFill>
              <a:latin typeface="Arial"/>
            </a:endParaRPr>
          </a:p>
        </p:txBody>
      </p:sp>
      <p:cxnSp>
        <p:nvCxnSpPr>
          <p:cNvPr id="40" name="Straight Arrow Connector 39"/>
          <p:cNvCxnSpPr/>
          <p:nvPr/>
        </p:nvCxnSpPr>
        <p:spPr>
          <a:xfrm>
            <a:off x="5123538" y="1367722"/>
            <a:ext cx="0" cy="712221"/>
          </a:xfrm>
          <a:prstGeom prst="straightConnector1">
            <a:avLst/>
          </a:prstGeom>
          <a:noFill/>
          <a:ln w="28575" cap="flat" cmpd="sng" algn="ctr">
            <a:solidFill>
              <a:srgbClr val="0072C6">
                <a:lumMod val="75000"/>
              </a:srgbClr>
            </a:solidFill>
            <a:prstDash val="solid"/>
            <a:tailEnd type="triangle" w="lg" len="lg"/>
          </a:ln>
          <a:effectLst/>
        </p:spPr>
      </p:cxnSp>
      <p:sp>
        <p:nvSpPr>
          <p:cNvPr id="41" name="Can 40"/>
          <p:cNvSpPr/>
          <p:nvPr/>
        </p:nvSpPr>
        <p:spPr>
          <a:xfrm>
            <a:off x="5534107" y="4839684"/>
            <a:ext cx="546212" cy="693644"/>
          </a:xfrm>
          <a:prstGeom prst="can">
            <a:avLst/>
          </a:prstGeom>
          <a:solidFill>
            <a:srgbClr val="0072C6"/>
          </a:solidFill>
          <a:ln w="25400" cap="flat" cmpd="sng" algn="ctr">
            <a:solidFill>
              <a:srgbClr val="0072C6">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23863" eaLnBrk="1" fontAlgn="auto" latinLnBrk="0" hangingPunct="1">
              <a:lnSpc>
                <a:spcPct val="100000"/>
              </a:lnSpc>
              <a:spcBef>
                <a:spcPts val="0"/>
              </a:spcBef>
              <a:spcAft>
                <a:spcPts val="0"/>
              </a:spcAft>
              <a:buClrTx/>
              <a:buSzTx/>
              <a:buFontTx/>
              <a:buNone/>
              <a:tabLst/>
              <a:defRPr/>
            </a:pPr>
            <a:r>
              <a:rPr kumimoji="0" lang="fr-FR" sz="1200" b="0" i="0" u="none" strike="noStrike" kern="0" cap="none" spc="0" normalizeH="0" baseline="0" noProof="0" dirty="0" err="1" smtClean="0">
                <a:ln>
                  <a:noFill/>
                </a:ln>
                <a:solidFill>
                  <a:srgbClr val="FFFFFF"/>
                </a:solidFill>
                <a:effectLst/>
                <a:uLnTx/>
                <a:uFillTx/>
                <a:latin typeface="Arial"/>
                <a:ea typeface="+mn-ea"/>
                <a:cs typeface="+mn-cs"/>
              </a:rPr>
              <a:t>Cli</a:t>
            </a:r>
            <a:r>
              <a:rPr kumimoji="0" lang="fr-FR" sz="1200" b="0" i="0" u="none" strike="noStrike" kern="0" cap="none" spc="0" normalizeH="0" baseline="0" noProof="0" dirty="0" smtClean="0">
                <a:ln>
                  <a:noFill/>
                </a:ln>
                <a:solidFill>
                  <a:srgbClr val="FFFFFF"/>
                </a:solidFill>
                <a:effectLst/>
                <a:uLnTx/>
                <a:uFillTx/>
                <a:latin typeface="Arial"/>
                <a:ea typeface="+mn-ea"/>
                <a:cs typeface="+mn-cs"/>
              </a:rPr>
              <a:t>. 3</a:t>
            </a:r>
          </a:p>
        </p:txBody>
      </p:sp>
      <p:sp>
        <p:nvSpPr>
          <p:cNvPr id="43" name="Can 42"/>
          <p:cNvSpPr/>
          <p:nvPr/>
        </p:nvSpPr>
        <p:spPr>
          <a:xfrm>
            <a:off x="6960283" y="4839684"/>
            <a:ext cx="546212" cy="693644"/>
          </a:xfrm>
          <a:prstGeom prst="can">
            <a:avLst/>
          </a:prstGeom>
          <a:solidFill>
            <a:srgbClr val="0072C6"/>
          </a:solidFill>
          <a:ln w="25400" cap="flat" cmpd="sng" algn="ctr">
            <a:solidFill>
              <a:srgbClr val="0072C6">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23863" eaLnBrk="1" fontAlgn="auto" latinLnBrk="0" hangingPunct="1">
              <a:lnSpc>
                <a:spcPct val="100000"/>
              </a:lnSpc>
              <a:spcBef>
                <a:spcPts val="0"/>
              </a:spcBef>
              <a:spcAft>
                <a:spcPts val="0"/>
              </a:spcAft>
              <a:buClrTx/>
              <a:buSzTx/>
              <a:buFontTx/>
              <a:buNone/>
              <a:tabLst/>
              <a:defRPr/>
            </a:pPr>
            <a:r>
              <a:rPr kumimoji="0" lang="fr-FR" sz="1200" b="0" i="0" u="none" strike="noStrike" kern="0" cap="none" spc="0" normalizeH="0" baseline="0" noProof="0" dirty="0" err="1" smtClean="0">
                <a:ln>
                  <a:noFill/>
                </a:ln>
                <a:solidFill>
                  <a:srgbClr val="FFFFFF"/>
                </a:solidFill>
                <a:effectLst/>
                <a:uLnTx/>
                <a:uFillTx/>
                <a:latin typeface="Arial"/>
                <a:ea typeface="+mn-ea"/>
                <a:cs typeface="+mn-cs"/>
              </a:rPr>
              <a:t>Cli</a:t>
            </a:r>
            <a:r>
              <a:rPr kumimoji="0" lang="fr-FR" sz="1200" b="0" i="0" u="none" strike="noStrike" kern="0" cap="none" spc="0" normalizeH="0" baseline="0" noProof="0" dirty="0" smtClean="0">
                <a:ln>
                  <a:noFill/>
                </a:ln>
                <a:solidFill>
                  <a:srgbClr val="FFFFFF"/>
                </a:solidFill>
                <a:effectLst/>
                <a:uLnTx/>
                <a:uFillTx/>
                <a:latin typeface="Arial"/>
                <a:ea typeface="+mn-ea"/>
                <a:cs typeface="+mn-cs"/>
              </a:rPr>
              <a:t>. N</a:t>
            </a:r>
          </a:p>
        </p:txBody>
      </p:sp>
      <p:cxnSp>
        <p:nvCxnSpPr>
          <p:cNvPr id="45" name="Straight Arrow Connector 44"/>
          <p:cNvCxnSpPr/>
          <p:nvPr/>
        </p:nvCxnSpPr>
        <p:spPr>
          <a:xfrm>
            <a:off x="5945047" y="1367722"/>
            <a:ext cx="0" cy="712221"/>
          </a:xfrm>
          <a:prstGeom prst="straightConnector1">
            <a:avLst/>
          </a:prstGeom>
          <a:noFill/>
          <a:ln w="28575" cap="flat" cmpd="sng" algn="ctr">
            <a:solidFill>
              <a:srgbClr val="0072C6">
                <a:lumMod val="75000"/>
              </a:srgbClr>
            </a:solidFill>
            <a:prstDash val="solid"/>
            <a:tailEnd type="triangle" w="lg" len="lg"/>
          </a:ln>
          <a:effectLst/>
        </p:spPr>
      </p:cxnSp>
      <p:cxnSp>
        <p:nvCxnSpPr>
          <p:cNvPr id="46" name="Straight Arrow Connector 45"/>
          <p:cNvCxnSpPr/>
          <p:nvPr/>
        </p:nvCxnSpPr>
        <p:spPr>
          <a:xfrm>
            <a:off x="6766556" y="1367722"/>
            <a:ext cx="0" cy="712221"/>
          </a:xfrm>
          <a:prstGeom prst="straightConnector1">
            <a:avLst/>
          </a:prstGeom>
          <a:noFill/>
          <a:ln w="28575" cap="flat" cmpd="sng" algn="ctr">
            <a:solidFill>
              <a:srgbClr val="0072C6">
                <a:lumMod val="75000"/>
              </a:srgbClr>
            </a:solidFill>
            <a:prstDash val="solid"/>
            <a:tailEnd type="triangle" w="lg" len="lg"/>
          </a:ln>
          <a:effectLst/>
        </p:spPr>
      </p:cxnSp>
      <p:cxnSp>
        <p:nvCxnSpPr>
          <p:cNvPr id="47" name="Straight Arrow Connector 46"/>
          <p:cNvCxnSpPr/>
          <p:nvPr/>
        </p:nvCxnSpPr>
        <p:spPr>
          <a:xfrm flipH="1">
            <a:off x="5795681" y="2889675"/>
            <a:ext cx="41107" cy="1877012"/>
          </a:xfrm>
          <a:prstGeom prst="straightConnector1">
            <a:avLst/>
          </a:prstGeom>
          <a:noFill/>
          <a:ln w="28575" cap="flat" cmpd="sng" algn="ctr">
            <a:solidFill>
              <a:srgbClr val="0072C6">
                <a:lumMod val="75000"/>
              </a:srgbClr>
            </a:solidFill>
            <a:prstDash val="solid"/>
            <a:tailEnd type="triangle" w="lg" len="lg"/>
          </a:ln>
          <a:effectLst/>
        </p:spPr>
      </p:cxnSp>
      <p:cxnSp>
        <p:nvCxnSpPr>
          <p:cNvPr id="48" name="Straight Arrow Connector 47"/>
          <p:cNvCxnSpPr/>
          <p:nvPr/>
        </p:nvCxnSpPr>
        <p:spPr>
          <a:xfrm flipH="1">
            <a:off x="5198220" y="2889675"/>
            <a:ext cx="448096" cy="1877012"/>
          </a:xfrm>
          <a:prstGeom prst="straightConnector1">
            <a:avLst/>
          </a:prstGeom>
          <a:noFill/>
          <a:ln w="28575" cap="flat" cmpd="sng" algn="ctr">
            <a:solidFill>
              <a:srgbClr val="0072C6">
                <a:lumMod val="75000"/>
              </a:srgbClr>
            </a:solidFill>
            <a:prstDash val="solid"/>
            <a:tailEnd type="triangle" w="lg" len="lg"/>
          </a:ln>
          <a:effectLst/>
        </p:spPr>
      </p:cxnSp>
      <p:sp>
        <p:nvSpPr>
          <p:cNvPr id="49" name="Down Arrow 48"/>
          <p:cNvSpPr/>
          <p:nvPr/>
        </p:nvSpPr>
        <p:spPr bwMode="auto">
          <a:xfrm>
            <a:off x="4898765" y="1337022"/>
            <a:ext cx="448821" cy="742921"/>
          </a:xfrm>
          <a:prstGeom prst="downArrow">
            <a:avLst/>
          </a:prstGeom>
          <a:solidFill>
            <a:srgbClr val="0072C6"/>
          </a:solidFill>
          <a:ln w="9525" cap="flat" cmpd="sng" algn="ctr">
            <a:solidFill>
              <a:srgbClr val="0072C6">
                <a:lumMod val="75000"/>
              </a:srgbClr>
            </a:solidFill>
            <a:prstDash val="solid"/>
            <a:headEnd type="none" w="med" len="med"/>
            <a:tailEnd type="none" w="med" len="med"/>
          </a:ln>
          <a:effectLst/>
        </p:spPr>
        <p:txBody>
          <a:bodyPr lIns="89619" tIns="89619" rIns="33611" bIns="33611" rtlCol="0" anchor="b" anchorCtr="0"/>
          <a:lstStyle/>
          <a:p>
            <a:pPr marL="0" marR="0" lvl="0" indent="0" algn="ctr" defTabSz="913851" eaLnBrk="1" fontAlgn="auto" latinLnBrk="0" hangingPunct="1">
              <a:lnSpc>
                <a:spcPct val="100000"/>
              </a:lnSpc>
              <a:spcBef>
                <a:spcPts val="0"/>
              </a:spcBef>
              <a:spcAft>
                <a:spcPts val="0"/>
              </a:spcAft>
              <a:buClrTx/>
              <a:buSzTx/>
              <a:buFontTx/>
              <a:buNone/>
              <a:tabLst/>
              <a:defRPr/>
            </a:pPr>
            <a:endParaRPr kumimoji="0" lang="fr-FR" sz="78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Arial"/>
              <a:ea typeface="Segoe UI" pitchFamily="34" charset="0"/>
              <a:cs typeface="Segoe UI" pitchFamily="34" charset="0"/>
            </a:endParaRPr>
          </a:p>
        </p:txBody>
      </p:sp>
      <p:sp>
        <p:nvSpPr>
          <p:cNvPr id="50" name="Down Arrow 49"/>
          <p:cNvSpPr/>
          <p:nvPr/>
        </p:nvSpPr>
        <p:spPr bwMode="auto">
          <a:xfrm>
            <a:off x="5597408" y="1337022"/>
            <a:ext cx="695277" cy="742922"/>
          </a:xfrm>
          <a:prstGeom prst="downArrow">
            <a:avLst/>
          </a:prstGeom>
          <a:solidFill>
            <a:srgbClr val="0072C6"/>
          </a:solidFill>
          <a:ln w="9525" cap="flat" cmpd="sng" algn="ctr">
            <a:solidFill>
              <a:srgbClr val="0072C6">
                <a:lumMod val="75000"/>
              </a:srgbClr>
            </a:solidFill>
            <a:prstDash val="solid"/>
            <a:headEnd type="none" w="med" len="med"/>
            <a:tailEnd type="none" w="med" len="med"/>
          </a:ln>
          <a:effectLst/>
        </p:spPr>
        <p:txBody>
          <a:bodyPr lIns="89619" tIns="89619" rIns="33611" bIns="33611" rtlCol="0" anchor="b" anchorCtr="0"/>
          <a:lstStyle/>
          <a:p>
            <a:pPr marL="0" marR="0" lvl="0" indent="0" algn="ctr" defTabSz="913851" eaLnBrk="1" fontAlgn="auto" latinLnBrk="0" hangingPunct="1">
              <a:lnSpc>
                <a:spcPct val="100000"/>
              </a:lnSpc>
              <a:spcBef>
                <a:spcPts val="0"/>
              </a:spcBef>
              <a:spcAft>
                <a:spcPts val="0"/>
              </a:spcAft>
              <a:buClrTx/>
              <a:buSzTx/>
              <a:buFontTx/>
              <a:buNone/>
              <a:tabLst/>
              <a:defRPr/>
            </a:pPr>
            <a:endParaRPr kumimoji="0" lang="fr-FR" sz="78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Arial"/>
              <a:ea typeface="Segoe UI" pitchFamily="34" charset="0"/>
              <a:cs typeface="Segoe UI" pitchFamily="34" charset="0"/>
            </a:endParaRPr>
          </a:p>
        </p:txBody>
      </p:sp>
      <p:sp>
        <p:nvSpPr>
          <p:cNvPr id="51" name="Down Arrow 50"/>
          <p:cNvSpPr/>
          <p:nvPr/>
        </p:nvSpPr>
        <p:spPr bwMode="auto">
          <a:xfrm>
            <a:off x="6612520" y="1337022"/>
            <a:ext cx="308069" cy="742921"/>
          </a:xfrm>
          <a:prstGeom prst="downArrow">
            <a:avLst/>
          </a:prstGeom>
          <a:solidFill>
            <a:srgbClr val="0072C6"/>
          </a:solidFill>
          <a:ln w="9525" cap="flat" cmpd="sng" algn="ctr">
            <a:solidFill>
              <a:srgbClr val="0072C6">
                <a:lumMod val="75000"/>
              </a:srgbClr>
            </a:solidFill>
            <a:prstDash val="solid"/>
            <a:headEnd type="none" w="med" len="med"/>
            <a:tailEnd type="none" w="med" len="med"/>
          </a:ln>
          <a:effectLst/>
        </p:spPr>
        <p:txBody>
          <a:bodyPr lIns="89619" tIns="89619" rIns="33611" bIns="33611" rtlCol="0" anchor="b" anchorCtr="0"/>
          <a:lstStyle/>
          <a:p>
            <a:pPr marL="0" marR="0" lvl="0" indent="0" algn="ctr" defTabSz="913851" eaLnBrk="1" fontAlgn="auto" latinLnBrk="0" hangingPunct="1">
              <a:lnSpc>
                <a:spcPct val="100000"/>
              </a:lnSpc>
              <a:spcBef>
                <a:spcPts val="0"/>
              </a:spcBef>
              <a:spcAft>
                <a:spcPts val="0"/>
              </a:spcAft>
              <a:buClrTx/>
              <a:buSzTx/>
              <a:buFontTx/>
              <a:buNone/>
              <a:tabLst/>
              <a:defRPr/>
            </a:pPr>
            <a:endParaRPr kumimoji="0" lang="fr-FR" sz="78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Arial"/>
              <a:ea typeface="Segoe UI" pitchFamily="34" charset="0"/>
              <a:cs typeface="Segoe UI" pitchFamily="34" charset="0"/>
            </a:endParaRPr>
          </a:p>
        </p:txBody>
      </p:sp>
    </p:spTree>
    <p:extLst>
      <p:ext uri="{BB962C8B-B14F-4D97-AF65-F5344CB8AC3E}">
        <p14:creationId xmlns:p14="http://schemas.microsoft.com/office/powerpoint/2010/main" val="161472685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9"/>
                                        </p:tgtEl>
                                        <p:attrNameLst>
                                          <p:attrName>style.visibility</p:attrName>
                                        </p:attrNameLst>
                                      </p:cBhvr>
                                      <p:to>
                                        <p:strVal val="visible"/>
                                      </p:to>
                                    </p:set>
                                  </p:childTnLst>
                                </p:cTn>
                              </p:par>
                            </p:childTnLst>
                          </p:cTn>
                        </p:par>
                        <p:par>
                          <p:cTn id="7" fill="hold">
                            <p:stCondLst>
                              <p:cond delay="0"/>
                            </p:stCondLst>
                            <p:childTnLst>
                              <p:par>
                                <p:cTn id="8" presetID="26" presetClass="emph" presetSubtype="0" fill="hold" nodeType="afterEffect">
                                  <p:stCondLst>
                                    <p:cond delay="500"/>
                                  </p:stCondLst>
                                  <p:childTnLst>
                                    <p:animEffect transition="out" filter="fade">
                                      <p:cBhvr>
                                        <p:cTn id="9" dur="500" tmFilter="0, 0; .2, .5; .8, .5; 1, 0"/>
                                        <p:tgtEl>
                                          <p:spTgt spid="37"/>
                                        </p:tgtEl>
                                      </p:cBhvr>
                                    </p:animEffect>
                                    <p:animScale>
                                      <p:cBhvr>
                                        <p:cTn id="10" dur="250" autoRev="1" fill="hold"/>
                                        <p:tgtEl>
                                          <p:spTgt spid="37"/>
                                        </p:tgtEl>
                                      </p:cBhvr>
                                      <p:by x="105000" y="105000"/>
                                    </p:animScale>
                                  </p:childTnLst>
                                </p:cTn>
                              </p:par>
                            </p:childTnLst>
                          </p:cTn>
                        </p:par>
                        <p:par>
                          <p:cTn id="11" fill="hold">
                            <p:stCondLst>
                              <p:cond delay="1000"/>
                            </p:stCondLst>
                            <p:childTnLst>
                              <p:par>
                                <p:cTn id="12" presetID="1" presetClass="entr" presetSubtype="0" fill="hold" grpId="0" nodeType="afterEffect">
                                  <p:stCondLst>
                                    <p:cond delay="500"/>
                                  </p:stCondLst>
                                  <p:childTnLst>
                                    <p:set>
                                      <p:cBhvr>
                                        <p:cTn id="13" dur="1" fill="hold">
                                          <p:stCondLst>
                                            <p:cond delay="0"/>
                                          </p:stCondLst>
                                        </p:cTn>
                                        <p:tgtEl>
                                          <p:spTgt spid="50"/>
                                        </p:tgtEl>
                                        <p:attrNameLst>
                                          <p:attrName>style.visibility</p:attrName>
                                        </p:attrNameLst>
                                      </p:cBhvr>
                                      <p:to>
                                        <p:strVal val="visible"/>
                                      </p:to>
                                    </p:set>
                                  </p:childTnLst>
                                </p:cTn>
                              </p:par>
                            </p:childTnLst>
                          </p:cTn>
                        </p:par>
                        <p:par>
                          <p:cTn id="14" fill="hold">
                            <p:stCondLst>
                              <p:cond delay="1500"/>
                            </p:stCondLst>
                            <p:childTnLst>
                              <p:par>
                                <p:cTn id="15" presetID="26" presetClass="emph" presetSubtype="0" fill="hold" nodeType="afterEffect">
                                  <p:stCondLst>
                                    <p:cond delay="500"/>
                                  </p:stCondLst>
                                  <p:childTnLst>
                                    <p:animEffect transition="out" filter="fade">
                                      <p:cBhvr>
                                        <p:cTn id="16" dur="500" tmFilter="0, 0; .2, .5; .8, .5; 1, 0"/>
                                        <p:tgtEl>
                                          <p:spTgt spid="48"/>
                                        </p:tgtEl>
                                      </p:cBhvr>
                                    </p:animEffect>
                                    <p:animScale>
                                      <p:cBhvr>
                                        <p:cTn id="17" dur="250" autoRev="1" fill="hold"/>
                                        <p:tgtEl>
                                          <p:spTgt spid="48"/>
                                        </p:tgtEl>
                                      </p:cBhvr>
                                      <p:by x="105000" y="105000"/>
                                    </p:animScale>
                                  </p:childTnLst>
                                </p:cTn>
                              </p:par>
                            </p:childTnLst>
                          </p:cTn>
                        </p:par>
                        <p:par>
                          <p:cTn id="18" fill="hold">
                            <p:stCondLst>
                              <p:cond delay="2500"/>
                            </p:stCondLst>
                            <p:childTnLst>
                              <p:par>
                                <p:cTn id="19" presetID="1" presetClass="entr" presetSubtype="0" fill="hold" grpId="0" nodeType="afterEffect">
                                  <p:stCondLst>
                                    <p:cond delay="500"/>
                                  </p:stCondLst>
                                  <p:childTnLst>
                                    <p:set>
                                      <p:cBhvr>
                                        <p:cTn id="20" dur="1" fill="hold">
                                          <p:stCondLst>
                                            <p:cond delay="0"/>
                                          </p:stCondLst>
                                        </p:cTn>
                                        <p:tgtEl>
                                          <p:spTgt spid="51"/>
                                        </p:tgtEl>
                                        <p:attrNameLst>
                                          <p:attrName>style.visibility</p:attrName>
                                        </p:attrNameLst>
                                      </p:cBhvr>
                                      <p:to>
                                        <p:strVal val="visible"/>
                                      </p:to>
                                    </p:set>
                                  </p:childTnLst>
                                </p:cTn>
                              </p:par>
                            </p:childTnLst>
                          </p:cTn>
                        </p:par>
                        <p:par>
                          <p:cTn id="21" fill="hold">
                            <p:stCondLst>
                              <p:cond delay="3000"/>
                            </p:stCondLst>
                            <p:childTnLst>
                              <p:par>
                                <p:cTn id="22" presetID="26" presetClass="emph" presetSubtype="0" fill="hold" nodeType="afterEffect">
                                  <p:stCondLst>
                                    <p:cond delay="500"/>
                                  </p:stCondLst>
                                  <p:childTnLst>
                                    <p:animEffect transition="out" filter="fade">
                                      <p:cBhvr>
                                        <p:cTn id="23" dur="500" tmFilter="0, 0; .2, .5; .8, .5; 1, 0"/>
                                        <p:tgtEl>
                                          <p:spTgt spid="47"/>
                                        </p:tgtEl>
                                      </p:cBhvr>
                                    </p:animEffect>
                                    <p:animScale>
                                      <p:cBhvr>
                                        <p:cTn id="24" dur="250" autoRev="1" fill="hold"/>
                                        <p:tgtEl>
                                          <p:spTgt spid="47"/>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animBg="1"/>
      <p:bldP spid="50" grpId="0" animBg="1"/>
      <p:bldP spid="51" grpId="0" animBg="1"/>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sp>
        <p:nvSpPr>
          <p:cNvPr id="71" name="Title 1"/>
          <p:cNvSpPr>
            <a:spLocks noGrp="1"/>
          </p:cNvSpPr>
          <p:nvPr>
            <p:ph type="title"/>
          </p:nvPr>
        </p:nvSpPr>
        <p:spPr/>
        <p:txBody>
          <a:bodyPr/>
          <a:lstStyle/>
          <a:p>
            <a:r>
              <a:rPr lang="fr-FR" dirty="0" smtClean="0"/>
              <a:t>Problématique #3 : </a:t>
            </a:r>
            <a:r>
              <a:rPr lang="fr-FR" dirty="0" err="1" smtClean="0"/>
              <a:t>Scale</a:t>
            </a:r>
            <a:r>
              <a:rPr lang="fr-FR" dirty="0" smtClean="0"/>
              <a:t>-Up, </a:t>
            </a:r>
            <a:r>
              <a:rPr lang="fr-FR" dirty="0" err="1" smtClean="0"/>
              <a:t>Scale</a:t>
            </a:r>
            <a:r>
              <a:rPr lang="fr-FR" dirty="0" smtClean="0"/>
              <a:t>-Down </a:t>
            </a:r>
            <a:endParaRPr lang="fr-FR" dirty="0"/>
          </a:p>
        </p:txBody>
      </p:sp>
      <p:cxnSp>
        <p:nvCxnSpPr>
          <p:cNvPr id="89" name="Straight Connector 88"/>
          <p:cNvCxnSpPr/>
          <p:nvPr/>
        </p:nvCxnSpPr>
        <p:spPr>
          <a:xfrm>
            <a:off x="6166716" y="5378330"/>
            <a:ext cx="679205" cy="0"/>
          </a:xfrm>
          <a:prstGeom prst="line">
            <a:avLst/>
          </a:prstGeom>
          <a:noFill/>
          <a:ln w="38100" cap="flat" cmpd="sng" algn="ctr">
            <a:solidFill>
              <a:srgbClr val="0072C6">
                <a:lumMod val="75000"/>
              </a:srgbClr>
            </a:solidFill>
            <a:prstDash val="sysDot"/>
          </a:ln>
          <a:effectLst/>
        </p:spPr>
      </p:cxnSp>
      <p:sp>
        <p:nvSpPr>
          <p:cNvPr id="90" name="Can 89"/>
          <p:cNvSpPr/>
          <p:nvPr/>
        </p:nvSpPr>
        <p:spPr>
          <a:xfrm>
            <a:off x="6379113" y="3473353"/>
            <a:ext cx="598149" cy="571270"/>
          </a:xfrm>
          <a:prstGeom prst="can">
            <a:avLst/>
          </a:prstGeom>
          <a:solidFill>
            <a:srgbClr val="0072C6"/>
          </a:solidFill>
          <a:ln w="25400" cap="flat" cmpd="sng" algn="ctr">
            <a:solidFill>
              <a:srgbClr val="0072C6">
                <a:lumMod val="75000"/>
              </a:srgbClr>
            </a:solidFill>
            <a:prstDash val="solid"/>
          </a:ln>
          <a:effectLst/>
        </p:spPr>
        <p:txBody>
          <a:bodyPr lIns="0" rIns="0" rtlCol="0" anchor="ctr"/>
          <a:lstStyle/>
          <a:p>
            <a:pPr marL="0" marR="0" lvl="0" indent="0" algn="ctr" defTabSz="623863" eaLnBrk="1" fontAlgn="auto" latinLnBrk="0" hangingPunct="1">
              <a:lnSpc>
                <a:spcPct val="100000"/>
              </a:lnSpc>
              <a:spcBef>
                <a:spcPts val="0"/>
              </a:spcBef>
              <a:spcAft>
                <a:spcPts val="0"/>
              </a:spcAft>
              <a:buClrTx/>
              <a:buSzTx/>
              <a:buFontTx/>
              <a:buNone/>
              <a:tabLst/>
              <a:defRPr/>
            </a:pPr>
            <a:r>
              <a:rPr kumimoji="0" lang="fr-FR" sz="1176" b="0" i="0" u="none" strike="noStrike" kern="0" cap="none" spc="0" normalizeH="0" baseline="0" noProof="0" dirty="0" err="1" smtClean="0">
                <a:ln>
                  <a:noFill/>
                </a:ln>
                <a:solidFill>
                  <a:srgbClr val="FFFFFF"/>
                </a:solidFill>
                <a:effectLst/>
                <a:uLnTx/>
                <a:uFillTx/>
                <a:latin typeface="Arial"/>
                <a:ea typeface="+mn-ea"/>
                <a:cs typeface="+mn-cs"/>
              </a:rPr>
              <a:t>Catalog</a:t>
            </a:r>
            <a:endParaRPr kumimoji="0" lang="fr-FR" sz="1176"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91" name="Can 90"/>
          <p:cNvSpPr/>
          <p:nvPr/>
        </p:nvSpPr>
        <p:spPr>
          <a:xfrm>
            <a:off x="4200104" y="4983700"/>
            <a:ext cx="563401" cy="693644"/>
          </a:xfrm>
          <a:prstGeom prst="can">
            <a:avLst/>
          </a:prstGeom>
          <a:solidFill>
            <a:srgbClr val="0072C6"/>
          </a:solidFill>
          <a:ln w="25400" cap="flat" cmpd="sng" algn="ctr">
            <a:solidFill>
              <a:srgbClr val="0072C6">
                <a:lumMod val="75000"/>
              </a:srgbClr>
            </a:solidFill>
            <a:prstDash val="solid"/>
          </a:ln>
          <a:effectLst/>
        </p:spPr>
        <p:txBody>
          <a:bodyPr lIns="0" tIns="0" rIns="0" bIns="0" rtlCol="0" anchor="ctr"/>
          <a:lstStyle/>
          <a:p>
            <a:pPr marL="0" marR="0" lvl="0" indent="0" algn="ctr" defTabSz="623863" eaLnBrk="1" fontAlgn="auto" latinLnBrk="0" hangingPunct="1">
              <a:lnSpc>
                <a:spcPct val="100000"/>
              </a:lnSpc>
              <a:spcBef>
                <a:spcPts val="0"/>
              </a:spcBef>
              <a:spcAft>
                <a:spcPts val="0"/>
              </a:spcAft>
              <a:buClrTx/>
              <a:buSzTx/>
              <a:buFontTx/>
              <a:buNone/>
              <a:tabLst/>
              <a:defRPr/>
            </a:pPr>
            <a:r>
              <a:rPr kumimoji="0" lang="fr-FR" sz="1200" b="0" i="0" u="none" strike="noStrike" kern="0" cap="none" spc="0" normalizeH="0" baseline="0" noProof="0" dirty="0" err="1" smtClean="0">
                <a:ln>
                  <a:noFill/>
                </a:ln>
                <a:solidFill>
                  <a:srgbClr val="FFFFFF"/>
                </a:solidFill>
                <a:effectLst/>
                <a:uLnTx/>
                <a:uFillTx/>
                <a:latin typeface="Arial"/>
                <a:ea typeface="+mn-ea"/>
                <a:cs typeface="+mn-cs"/>
              </a:rPr>
              <a:t>Cli</a:t>
            </a:r>
            <a:r>
              <a:rPr kumimoji="0" lang="fr-FR" sz="1200" b="0" i="0" u="none" strike="noStrike" kern="0" cap="none" spc="0" normalizeH="0" baseline="0" noProof="0" dirty="0" smtClean="0">
                <a:ln>
                  <a:noFill/>
                </a:ln>
                <a:solidFill>
                  <a:srgbClr val="FFFFFF"/>
                </a:solidFill>
                <a:effectLst/>
                <a:uLnTx/>
                <a:uFillTx/>
                <a:latin typeface="Arial"/>
                <a:ea typeface="+mn-ea"/>
                <a:cs typeface="+mn-cs"/>
              </a:rPr>
              <a:t>. 1</a:t>
            </a:r>
          </a:p>
        </p:txBody>
      </p:sp>
      <p:sp>
        <p:nvSpPr>
          <p:cNvPr id="92" name="Can 91"/>
          <p:cNvSpPr/>
          <p:nvPr/>
        </p:nvSpPr>
        <p:spPr>
          <a:xfrm>
            <a:off x="4871522" y="4983700"/>
            <a:ext cx="546212" cy="693644"/>
          </a:xfrm>
          <a:prstGeom prst="can">
            <a:avLst/>
          </a:prstGeom>
          <a:solidFill>
            <a:srgbClr val="0072C6"/>
          </a:solidFill>
          <a:ln w="25400" cap="flat" cmpd="sng" algn="ctr">
            <a:solidFill>
              <a:srgbClr val="0072C6">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23863" eaLnBrk="1" fontAlgn="auto" latinLnBrk="0" hangingPunct="1">
              <a:lnSpc>
                <a:spcPct val="100000"/>
              </a:lnSpc>
              <a:spcBef>
                <a:spcPts val="0"/>
              </a:spcBef>
              <a:spcAft>
                <a:spcPts val="0"/>
              </a:spcAft>
              <a:buClrTx/>
              <a:buSzTx/>
              <a:buFontTx/>
              <a:buNone/>
              <a:tabLst/>
              <a:defRPr/>
            </a:pPr>
            <a:r>
              <a:rPr kumimoji="0" lang="fr-FR" sz="1200" b="0" i="0" u="none" strike="noStrike" kern="0" cap="none" spc="0" normalizeH="0" baseline="0" noProof="0" dirty="0" err="1" smtClean="0">
                <a:ln>
                  <a:noFill/>
                </a:ln>
                <a:solidFill>
                  <a:srgbClr val="FFFFFF"/>
                </a:solidFill>
                <a:effectLst/>
                <a:uLnTx/>
                <a:uFillTx/>
                <a:latin typeface="Arial"/>
                <a:ea typeface="+mn-ea"/>
                <a:cs typeface="+mn-cs"/>
              </a:rPr>
              <a:t>Cli</a:t>
            </a:r>
            <a:r>
              <a:rPr kumimoji="0" lang="fr-FR" sz="1200" b="0" i="0" u="none" strike="noStrike" kern="0" cap="none" spc="0" normalizeH="0" baseline="0" noProof="0" dirty="0" smtClean="0">
                <a:ln>
                  <a:noFill/>
                </a:ln>
                <a:solidFill>
                  <a:srgbClr val="FFFFFF"/>
                </a:solidFill>
                <a:effectLst/>
                <a:uLnTx/>
                <a:uFillTx/>
                <a:latin typeface="Arial"/>
                <a:ea typeface="+mn-ea"/>
                <a:cs typeface="+mn-cs"/>
              </a:rPr>
              <a:t>. 2</a:t>
            </a:r>
          </a:p>
        </p:txBody>
      </p:sp>
      <p:sp>
        <p:nvSpPr>
          <p:cNvPr id="93" name="Rectangle 92"/>
          <p:cNvSpPr/>
          <p:nvPr/>
        </p:nvSpPr>
        <p:spPr>
          <a:xfrm>
            <a:off x="4649178" y="2280568"/>
            <a:ext cx="2473786" cy="571270"/>
          </a:xfrm>
          <a:prstGeom prst="rect">
            <a:avLst/>
          </a:prstGeom>
          <a:solidFill>
            <a:srgbClr val="0072C6"/>
          </a:solidFill>
          <a:ln w="25400" cap="flat" cmpd="sng" algn="ctr">
            <a:solidFill>
              <a:srgbClr val="0072C6">
                <a:lumMod val="75000"/>
              </a:srgbClr>
            </a:solidFill>
            <a:prstDash val="solid"/>
          </a:ln>
          <a:effectLst/>
        </p:spPr>
        <p:txBody>
          <a:bodyPr rtlCol="0" anchor="ctr"/>
          <a:lstStyle/>
          <a:p>
            <a:pPr marL="0" marR="0" lvl="0" indent="0" algn="ctr" defTabSz="623863" eaLnBrk="1" fontAlgn="auto" latinLnBrk="0" hangingPunct="1">
              <a:lnSpc>
                <a:spcPct val="100000"/>
              </a:lnSpc>
              <a:spcBef>
                <a:spcPts val="0"/>
              </a:spcBef>
              <a:spcAft>
                <a:spcPts val="0"/>
              </a:spcAft>
              <a:buClrTx/>
              <a:buSzTx/>
              <a:buFontTx/>
              <a:buNone/>
              <a:tabLst/>
              <a:defRPr/>
            </a:pPr>
            <a:endParaRPr kumimoji="0" lang="fr-FR" sz="1799"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94" name="Rectangle 93"/>
          <p:cNvSpPr/>
          <p:nvPr/>
        </p:nvSpPr>
        <p:spPr>
          <a:xfrm>
            <a:off x="4573517" y="2371494"/>
            <a:ext cx="2403745" cy="571270"/>
          </a:xfrm>
          <a:prstGeom prst="rect">
            <a:avLst/>
          </a:prstGeom>
          <a:solidFill>
            <a:srgbClr val="0072C6"/>
          </a:solidFill>
          <a:ln w="25400" cap="flat" cmpd="sng" algn="ctr">
            <a:solidFill>
              <a:srgbClr val="0072C6">
                <a:lumMod val="75000"/>
              </a:srgbClr>
            </a:solidFill>
            <a:prstDash val="solid"/>
          </a:ln>
          <a:effectLst/>
        </p:spPr>
        <p:txBody>
          <a:bodyPr rtlCol="0" anchor="ctr"/>
          <a:lstStyle/>
          <a:p>
            <a:pPr marL="0" marR="0" lvl="0" indent="0" algn="ctr" defTabSz="623863" eaLnBrk="1" fontAlgn="auto" latinLnBrk="0" hangingPunct="1">
              <a:lnSpc>
                <a:spcPct val="100000"/>
              </a:lnSpc>
              <a:spcBef>
                <a:spcPts val="0"/>
              </a:spcBef>
              <a:spcAft>
                <a:spcPts val="0"/>
              </a:spcAft>
              <a:buClrTx/>
              <a:buSzTx/>
              <a:buFontTx/>
              <a:buNone/>
              <a:tabLst/>
              <a:defRPr/>
            </a:pPr>
            <a:r>
              <a:rPr kumimoji="0" lang="fr-FR" sz="2450" b="1" i="0" u="none" strike="noStrike" kern="0" cap="none" spc="0" normalizeH="0" baseline="0" noProof="0" dirty="0" smtClean="0">
                <a:ln>
                  <a:noFill/>
                </a:ln>
                <a:solidFill>
                  <a:srgbClr val="FFFFFF"/>
                </a:solidFill>
                <a:effectLst/>
                <a:uLnTx/>
                <a:uFillTx/>
                <a:latin typeface="Arial"/>
                <a:ea typeface="+mn-ea"/>
                <a:cs typeface="+mn-cs"/>
              </a:rPr>
              <a:t>Service Cloud</a:t>
            </a:r>
          </a:p>
        </p:txBody>
      </p:sp>
      <p:cxnSp>
        <p:nvCxnSpPr>
          <p:cNvPr id="95" name="Straight Arrow Connector 94"/>
          <p:cNvCxnSpPr/>
          <p:nvPr/>
        </p:nvCxnSpPr>
        <p:spPr>
          <a:xfrm>
            <a:off x="6463775" y="3033691"/>
            <a:ext cx="149365" cy="413558"/>
          </a:xfrm>
          <a:prstGeom prst="straightConnector1">
            <a:avLst/>
          </a:prstGeom>
          <a:noFill/>
          <a:ln w="28575" cap="flat" cmpd="sng" algn="ctr">
            <a:solidFill>
              <a:srgbClr val="0072C6">
                <a:lumMod val="75000"/>
              </a:srgbClr>
            </a:solidFill>
            <a:prstDash val="solid"/>
            <a:tailEnd type="triangle" w="lg" len="lg"/>
          </a:ln>
          <a:effectLst/>
        </p:spPr>
      </p:cxnSp>
      <p:cxnSp>
        <p:nvCxnSpPr>
          <p:cNvPr id="96" name="Straight Arrow Connector 95"/>
          <p:cNvCxnSpPr/>
          <p:nvPr/>
        </p:nvCxnSpPr>
        <p:spPr>
          <a:xfrm flipH="1">
            <a:off x="4649177" y="3033691"/>
            <a:ext cx="768557" cy="1877012"/>
          </a:xfrm>
          <a:prstGeom prst="straightConnector1">
            <a:avLst/>
          </a:prstGeom>
          <a:noFill/>
          <a:ln w="28575" cap="flat" cmpd="sng" algn="ctr">
            <a:solidFill>
              <a:srgbClr val="0072C6">
                <a:lumMod val="75000"/>
              </a:srgbClr>
            </a:solidFill>
            <a:prstDash val="solid"/>
            <a:tailEnd type="triangle" w="lg" len="lg"/>
          </a:ln>
          <a:effectLst/>
        </p:spPr>
      </p:cxnSp>
      <p:sp>
        <p:nvSpPr>
          <p:cNvPr id="97" name="TextBox 96"/>
          <p:cNvSpPr txBox="1"/>
          <p:nvPr/>
        </p:nvSpPr>
        <p:spPr>
          <a:xfrm>
            <a:off x="4538729" y="5763920"/>
            <a:ext cx="2793657" cy="846386"/>
          </a:xfrm>
          <a:prstGeom prst="rect">
            <a:avLst/>
          </a:prstGeom>
          <a:noFill/>
        </p:spPr>
        <p:txBody>
          <a:bodyPr wrap="square" rtlCol="0">
            <a:spAutoFit/>
          </a:bodyPr>
          <a:lstStyle/>
          <a:p>
            <a:pPr algn="ctr" defTabSz="623863"/>
            <a:r>
              <a:rPr lang="fr-FR" sz="2450" b="1" dirty="0" smtClean="0">
                <a:solidFill>
                  <a:srgbClr val="0072C6"/>
                </a:solidFill>
                <a:latin typeface="Arial"/>
              </a:rPr>
              <a:t>Bases de données client</a:t>
            </a:r>
            <a:endParaRPr lang="fr-FR" sz="2450" b="1" dirty="0">
              <a:solidFill>
                <a:srgbClr val="0072C6"/>
              </a:solidFill>
              <a:latin typeface="Arial"/>
            </a:endParaRPr>
          </a:p>
        </p:txBody>
      </p:sp>
      <p:sp>
        <p:nvSpPr>
          <p:cNvPr id="98" name="TextBox 97"/>
          <p:cNvSpPr txBox="1"/>
          <p:nvPr/>
        </p:nvSpPr>
        <p:spPr>
          <a:xfrm>
            <a:off x="6714116" y="4010239"/>
            <a:ext cx="2793657" cy="469359"/>
          </a:xfrm>
          <a:prstGeom prst="rect">
            <a:avLst/>
          </a:prstGeom>
          <a:noFill/>
        </p:spPr>
        <p:txBody>
          <a:bodyPr wrap="square" rtlCol="0">
            <a:spAutoFit/>
          </a:bodyPr>
          <a:lstStyle/>
          <a:p>
            <a:pPr algn="ctr" defTabSz="623863"/>
            <a:r>
              <a:rPr lang="fr-FR" sz="2450" b="1" dirty="0" smtClean="0">
                <a:solidFill>
                  <a:srgbClr val="0072C6"/>
                </a:solidFill>
                <a:latin typeface="Arial"/>
              </a:rPr>
              <a:t>Catalogue clients</a:t>
            </a:r>
            <a:endParaRPr lang="fr-FR" sz="2450" b="1" dirty="0">
              <a:solidFill>
                <a:srgbClr val="0072C6"/>
              </a:solidFill>
              <a:latin typeface="Arial"/>
            </a:endParaRPr>
          </a:p>
        </p:txBody>
      </p:sp>
      <p:sp>
        <p:nvSpPr>
          <p:cNvPr id="99" name="Can 98"/>
          <p:cNvSpPr/>
          <p:nvPr/>
        </p:nvSpPr>
        <p:spPr>
          <a:xfrm>
            <a:off x="5506864" y="4983700"/>
            <a:ext cx="546212" cy="693644"/>
          </a:xfrm>
          <a:prstGeom prst="can">
            <a:avLst/>
          </a:prstGeom>
          <a:solidFill>
            <a:srgbClr val="0072C6"/>
          </a:solidFill>
          <a:ln w="25400" cap="flat" cmpd="sng" algn="ctr">
            <a:solidFill>
              <a:srgbClr val="0072C6">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23863" eaLnBrk="1" fontAlgn="auto" latinLnBrk="0" hangingPunct="1">
              <a:lnSpc>
                <a:spcPct val="100000"/>
              </a:lnSpc>
              <a:spcBef>
                <a:spcPts val="0"/>
              </a:spcBef>
              <a:spcAft>
                <a:spcPts val="0"/>
              </a:spcAft>
              <a:buClrTx/>
              <a:buSzTx/>
              <a:buFontTx/>
              <a:buNone/>
              <a:tabLst/>
              <a:defRPr/>
            </a:pPr>
            <a:r>
              <a:rPr kumimoji="0" lang="fr-FR" sz="1200" b="0" i="0" u="none" strike="noStrike" kern="0" cap="none" spc="0" normalizeH="0" baseline="0" noProof="0" dirty="0" err="1" smtClean="0">
                <a:ln>
                  <a:noFill/>
                </a:ln>
                <a:solidFill>
                  <a:srgbClr val="FFFFFF"/>
                </a:solidFill>
                <a:effectLst/>
                <a:uLnTx/>
                <a:uFillTx/>
                <a:latin typeface="Arial"/>
                <a:ea typeface="+mn-ea"/>
                <a:cs typeface="+mn-cs"/>
              </a:rPr>
              <a:t>Cli</a:t>
            </a:r>
            <a:r>
              <a:rPr kumimoji="0" lang="fr-FR" sz="1200" b="0" i="0" u="none" strike="noStrike" kern="0" cap="none" spc="0" normalizeH="0" baseline="0" noProof="0" dirty="0" smtClean="0">
                <a:ln>
                  <a:noFill/>
                </a:ln>
                <a:solidFill>
                  <a:srgbClr val="FFFFFF"/>
                </a:solidFill>
                <a:effectLst/>
                <a:uLnTx/>
                <a:uFillTx/>
                <a:latin typeface="Arial"/>
                <a:ea typeface="+mn-ea"/>
                <a:cs typeface="+mn-cs"/>
              </a:rPr>
              <a:t>. 3</a:t>
            </a:r>
          </a:p>
        </p:txBody>
      </p:sp>
      <p:sp>
        <p:nvSpPr>
          <p:cNvPr id="100" name="Can 99"/>
          <p:cNvSpPr/>
          <p:nvPr/>
        </p:nvSpPr>
        <p:spPr>
          <a:xfrm>
            <a:off x="6933040" y="4983700"/>
            <a:ext cx="546212" cy="693644"/>
          </a:xfrm>
          <a:prstGeom prst="can">
            <a:avLst/>
          </a:prstGeom>
          <a:solidFill>
            <a:srgbClr val="0072C6"/>
          </a:solidFill>
          <a:ln w="25400" cap="flat" cmpd="sng" algn="ctr">
            <a:solidFill>
              <a:srgbClr val="0072C6">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23863" eaLnBrk="1" fontAlgn="auto" latinLnBrk="0" hangingPunct="1">
              <a:lnSpc>
                <a:spcPct val="100000"/>
              </a:lnSpc>
              <a:spcBef>
                <a:spcPts val="0"/>
              </a:spcBef>
              <a:spcAft>
                <a:spcPts val="0"/>
              </a:spcAft>
              <a:buClrTx/>
              <a:buSzTx/>
              <a:buFontTx/>
              <a:buNone/>
              <a:tabLst/>
              <a:defRPr/>
            </a:pPr>
            <a:r>
              <a:rPr kumimoji="0" lang="fr-FR" sz="1200" b="0" i="0" u="none" strike="noStrike" kern="0" cap="none" spc="0" normalizeH="0" baseline="0" noProof="0" dirty="0" err="1" smtClean="0">
                <a:ln>
                  <a:noFill/>
                </a:ln>
                <a:solidFill>
                  <a:srgbClr val="FFFFFF"/>
                </a:solidFill>
                <a:effectLst/>
                <a:uLnTx/>
                <a:uFillTx/>
                <a:latin typeface="Arial"/>
                <a:ea typeface="+mn-ea"/>
                <a:cs typeface="+mn-cs"/>
              </a:rPr>
              <a:t>Cli</a:t>
            </a:r>
            <a:r>
              <a:rPr kumimoji="0" lang="fr-FR" sz="1200" b="0" i="0" u="none" strike="noStrike" kern="0" cap="none" spc="0" normalizeH="0" baseline="0" noProof="0" dirty="0" smtClean="0">
                <a:ln>
                  <a:noFill/>
                </a:ln>
                <a:solidFill>
                  <a:srgbClr val="FFFFFF"/>
                </a:solidFill>
                <a:effectLst/>
                <a:uLnTx/>
                <a:uFillTx/>
                <a:latin typeface="Arial"/>
                <a:ea typeface="+mn-ea"/>
                <a:cs typeface="+mn-cs"/>
              </a:rPr>
              <a:t>. N</a:t>
            </a:r>
          </a:p>
        </p:txBody>
      </p:sp>
      <p:cxnSp>
        <p:nvCxnSpPr>
          <p:cNvPr id="101" name="Straight Arrow Connector 100"/>
          <p:cNvCxnSpPr/>
          <p:nvPr/>
        </p:nvCxnSpPr>
        <p:spPr>
          <a:xfrm flipH="1">
            <a:off x="5768438" y="3033691"/>
            <a:ext cx="41107" cy="1877012"/>
          </a:xfrm>
          <a:prstGeom prst="straightConnector1">
            <a:avLst/>
          </a:prstGeom>
          <a:noFill/>
          <a:ln w="28575" cap="flat" cmpd="sng" algn="ctr">
            <a:solidFill>
              <a:srgbClr val="0072C6">
                <a:lumMod val="75000"/>
              </a:srgbClr>
            </a:solidFill>
            <a:prstDash val="solid"/>
            <a:tailEnd type="triangle" w="lg" len="lg"/>
          </a:ln>
          <a:effectLst/>
        </p:spPr>
      </p:cxnSp>
      <p:cxnSp>
        <p:nvCxnSpPr>
          <p:cNvPr id="102" name="Straight Arrow Connector 101"/>
          <p:cNvCxnSpPr/>
          <p:nvPr/>
        </p:nvCxnSpPr>
        <p:spPr>
          <a:xfrm flipH="1">
            <a:off x="5170977" y="3033691"/>
            <a:ext cx="448096" cy="1877012"/>
          </a:xfrm>
          <a:prstGeom prst="straightConnector1">
            <a:avLst/>
          </a:prstGeom>
          <a:noFill/>
          <a:ln w="28575" cap="flat" cmpd="sng" algn="ctr">
            <a:solidFill>
              <a:srgbClr val="0072C6">
                <a:lumMod val="75000"/>
              </a:srgbClr>
            </a:solidFill>
            <a:prstDash val="solid"/>
            <a:tailEnd type="triangle" w="lg" len="lg"/>
          </a:ln>
          <a:effectLst/>
        </p:spPr>
      </p:cxnSp>
      <p:sp>
        <p:nvSpPr>
          <p:cNvPr id="103" name="Can 102"/>
          <p:cNvSpPr/>
          <p:nvPr/>
        </p:nvSpPr>
        <p:spPr>
          <a:xfrm>
            <a:off x="4200104" y="4761338"/>
            <a:ext cx="563401" cy="916006"/>
          </a:xfrm>
          <a:prstGeom prst="can">
            <a:avLst/>
          </a:prstGeom>
          <a:solidFill>
            <a:srgbClr val="0072C6"/>
          </a:solidFill>
          <a:ln w="25400" cap="flat" cmpd="sng" algn="ctr">
            <a:solidFill>
              <a:srgbClr val="0072C6">
                <a:lumMod val="75000"/>
              </a:srgbClr>
            </a:solidFill>
            <a:prstDash val="solid"/>
          </a:ln>
          <a:effectLst/>
        </p:spPr>
        <p:txBody>
          <a:bodyPr lIns="0" tIns="0" rIns="0" bIns="0" rtlCol="0" anchor="ctr"/>
          <a:lstStyle/>
          <a:p>
            <a:pPr marL="0" marR="0" lvl="0" indent="0" algn="ctr" defTabSz="623863" eaLnBrk="1" fontAlgn="auto" latinLnBrk="0" hangingPunct="1">
              <a:lnSpc>
                <a:spcPct val="100000"/>
              </a:lnSpc>
              <a:spcBef>
                <a:spcPts val="0"/>
              </a:spcBef>
              <a:spcAft>
                <a:spcPts val="0"/>
              </a:spcAft>
              <a:buClrTx/>
              <a:buSzTx/>
              <a:buFontTx/>
              <a:buNone/>
              <a:tabLst/>
              <a:defRPr/>
            </a:pPr>
            <a:r>
              <a:rPr kumimoji="0" lang="fr-FR" sz="1200" b="0" i="0" u="none" strike="noStrike" kern="0" cap="none" spc="0" normalizeH="0" baseline="0" noProof="0" dirty="0" err="1" smtClean="0">
                <a:ln>
                  <a:noFill/>
                </a:ln>
                <a:solidFill>
                  <a:srgbClr val="FFFFFF"/>
                </a:solidFill>
                <a:effectLst/>
                <a:uLnTx/>
                <a:uFillTx/>
                <a:latin typeface="Arial"/>
                <a:ea typeface="+mn-ea"/>
                <a:cs typeface="+mn-cs"/>
              </a:rPr>
              <a:t>Cli</a:t>
            </a:r>
            <a:r>
              <a:rPr kumimoji="0" lang="fr-FR" sz="1200" b="0" i="0" u="none" strike="noStrike" kern="0" cap="none" spc="0" normalizeH="0" baseline="0" noProof="0" dirty="0" smtClean="0">
                <a:ln>
                  <a:noFill/>
                </a:ln>
                <a:solidFill>
                  <a:srgbClr val="FFFFFF"/>
                </a:solidFill>
                <a:effectLst/>
                <a:uLnTx/>
                <a:uFillTx/>
                <a:latin typeface="Arial"/>
                <a:ea typeface="+mn-ea"/>
                <a:cs typeface="+mn-cs"/>
              </a:rPr>
              <a:t>. 1</a:t>
            </a:r>
          </a:p>
        </p:txBody>
      </p:sp>
      <p:sp>
        <p:nvSpPr>
          <p:cNvPr id="104" name="Can 103"/>
          <p:cNvSpPr/>
          <p:nvPr/>
        </p:nvSpPr>
        <p:spPr>
          <a:xfrm>
            <a:off x="4871522" y="4377621"/>
            <a:ext cx="546212" cy="1299723"/>
          </a:xfrm>
          <a:prstGeom prst="can">
            <a:avLst/>
          </a:prstGeom>
          <a:solidFill>
            <a:srgbClr val="0072C6"/>
          </a:solidFill>
          <a:ln w="25400" cap="flat" cmpd="sng" algn="ctr">
            <a:solidFill>
              <a:srgbClr val="0072C6">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23863" eaLnBrk="1" fontAlgn="auto" latinLnBrk="0" hangingPunct="1">
              <a:lnSpc>
                <a:spcPct val="100000"/>
              </a:lnSpc>
              <a:spcBef>
                <a:spcPts val="0"/>
              </a:spcBef>
              <a:spcAft>
                <a:spcPts val="0"/>
              </a:spcAft>
              <a:buClrTx/>
              <a:buSzTx/>
              <a:buFontTx/>
              <a:buNone/>
              <a:tabLst/>
              <a:defRPr/>
            </a:pPr>
            <a:r>
              <a:rPr kumimoji="0" lang="fr-FR" sz="1200" b="0" i="0" u="none" strike="noStrike" kern="0" cap="none" spc="0" normalizeH="0" baseline="0" noProof="0" dirty="0" err="1" smtClean="0">
                <a:ln>
                  <a:noFill/>
                </a:ln>
                <a:solidFill>
                  <a:srgbClr val="FFFFFF"/>
                </a:solidFill>
                <a:effectLst/>
                <a:uLnTx/>
                <a:uFillTx/>
                <a:latin typeface="Arial"/>
                <a:ea typeface="+mn-ea"/>
                <a:cs typeface="+mn-cs"/>
              </a:rPr>
              <a:t>Cli</a:t>
            </a:r>
            <a:r>
              <a:rPr kumimoji="0" lang="fr-FR" sz="1200" b="0" i="0" u="none" strike="noStrike" kern="0" cap="none" spc="0" normalizeH="0" baseline="0" noProof="0" dirty="0" smtClean="0">
                <a:ln>
                  <a:noFill/>
                </a:ln>
                <a:solidFill>
                  <a:srgbClr val="FFFFFF"/>
                </a:solidFill>
                <a:effectLst/>
                <a:uLnTx/>
                <a:uFillTx/>
                <a:latin typeface="Arial"/>
                <a:ea typeface="+mn-ea"/>
                <a:cs typeface="+mn-cs"/>
              </a:rPr>
              <a:t>. 2</a:t>
            </a:r>
          </a:p>
        </p:txBody>
      </p:sp>
      <p:sp>
        <p:nvSpPr>
          <p:cNvPr id="105" name="Can 104"/>
          <p:cNvSpPr/>
          <p:nvPr/>
        </p:nvSpPr>
        <p:spPr>
          <a:xfrm>
            <a:off x="5506864" y="5134751"/>
            <a:ext cx="546212" cy="542593"/>
          </a:xfrm>
          <a:prstGeom prst="can">
            <a:avLst/>
          </a:prstGeom>
          <a:solidFill>
            <a:srgbClr val="0072C6"/>
          </a:solidFill>
          <a:ln w="25400" cap="flat" cmpd="sng" algn="ctr">
            <a:solidFill>
              <a:srgbClr val="0072C6">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23863" eaLnBrk="1" fontAlgn="auto" latinLnBrk="0" hangingPunct="1">
              <a:lnSpc>
                <a:spcPct val="100000"/>
              </a:lnSpc>
              <a:spcBef>
                <a:spcPts val="0"/>
              </a:spcBef>
              <a:spcAft>
                <a:spcPts val="0"/>
              </a:spcAft>
              <a:buClrTx/>
              <a:buSzTx/>
              <a:buFontTx/>
              <a:buNone/>
              <a:tabLst/>
              <a:defRPr/>
            </a:pPr>
            <a:r>
              <a:rPr kumimoji="0" lang="fr-FR" sz="1200" b="0" i="0" u="none" strike="noStrike" kern="0" cap="none" spc="0" normalizeH="0" baseline="0" noProof="0" dirty="0" err="1" smtClean="0">
                <a:ln>
                  <a:noFill/>
                </a:ln>
                <a:solidFill>
                  <a:srgbClr val="FFFFFF"/>
                </a:solidFill>
                <a:effectLst/>
                <a:uLnTx/>
                <a:uFillTx/>
                <a:latin typeface="Arial"/>
                <a:ea typeface="+mn-ea"/>
                <a:cs typeface="+mn-cs"/>
              </a:rPr>
              <a:t>Cli</a:t>
            </a:r>
            <a:r>
              <a:rPr kumimoji="0" lang="fr-FR" sz="1200" b="0" i="0" u="none" strike="noStrike" kern="0" cap="none" spc="0" normalizeH="0" baseline="0" noProof="0" dirty="0" smtClean="0">
                <a:ln>
                  <a:noFill/>
                </a:ln>
                <a:solidFill>
                  <a:srgbClr val="FFFFFF"/>
                </a:solidFill>
                <a:effectLst/>
                <a:uLnTx/>
                <a:uFillTx/>
                <a:latin typeface="Arial"/>
                <a:ea typeface="+mn-ea"/>
                <a:cs typeface="+mn-cs"/>
              </a:rPr>
              <a:t>. 3</a:t>
            </a:r>
          </a:p>
        </p:txBody>
      </p:sp>
      <p:cxnSp>
        <p:nvCxnSpPr>
          <p:cNvPr id="106" name="Straight Arrow Connector 105"/>
          <p:cNvCxnSpPr/>
          <p:nvPr/>
        </p:nvCxnSpPr>
        <p:spPr>
          <a:xfrm flipH="1">
            <a:off x="4573517" y="3052349"/>
            <a:ext cx="844217" cy="1618062"/>
          </a:xfrm>
          <a:prstGeom prst="straightConnector1">
            <a:avLst/>
          </a:prstGeom>
          <a:noFill/>
          <a:ln w="28575" cap="flat" cmpd="sng" algn="ctr">
            <a:solidFill>
              <a:srgbClr val="0072C6">
                <a:lumMod val="75000"/>
              </a:srgbClr>
            </a:solidFill>
            <a:prstDash val="solid"/>
            <a:tailEnd type="triangle" w="lg" len="lg"/>
          </a:ln>
          <a:effectLst/>
        </p:spPr>
      </p:cxnSp>
      <p:cxnSp>
        <p:nvCxnSpPr>
          <p:cNvPr id="107" name="Straight Arrow Connector 106"/>
          <p:cNvCxnSpPr/>
          <p:nvPr/>
        </p:nvCxnSpPr>
        <p:spPr>
          <a:xfrm flipH="1">
            <a:off x="5200541" y="3033691"/>
            <a:ext cx="418533" cy="1287331"/>
          </a:xfrm>
          <a:prstGeom prst="straightConnector1">
            <a:avLst/>
          </a:prstGeom>
          <a:noFill/>
          <a:ln w="28575" cap="flat" cmpd="sng" algn="ctr">
            <a:solidFill>
              <a:srgbClr val="0072C6">
                <a:lumMod val="75000"/>
              </a:srgbClr>
            </a:solidFill>
            <a:prstDash val="solid"/>
            <a:tailEnd type="triangle" w="lg" len="lg"/>
          </a:ln>
          <a:effectLst/>
        </p:spPr>
      </p:cxnSp>
      <p:cxnSp>
        <p:nvCxnSpPr>
          <p:cNvPr id="108" name="Straight Arrow Connector 107"/>
          <p:cNvCxnSpPr/>
          <p:nvPr/>
        </p:nvCxnSpPr>
        <p:spPr>
          <a:xfrm flipH="1">
            <a:off x="5788992" y="3033691"/>
            <a:ext cx="10390" cy="1934581"/>
          </a:xfrm>
          <a:prstGeom prst="straightConnector1">
            <a:avLst/>
          </a:prstGeom>
          <a:noFill/>
          <a:ln w="28575" cap="flat" cmpd="sng" algn="ctr">
            <a:solidFill>
              <a:srgbClr val="0072C6">
                <a:lumMod val="75000"/>
              </a:srgbClr>
            </a:solidFill>
            <a:prstDash val="solid"/>
            <a:tailEnd type="triangle" w="lg" len="lg"/>
          </a:ln>
          <a:effectLst/>
        </p:spPr>
      </p:cxnSp>
      <p:sp>
        <p:nvSpPr>
          <p:cNvPr id="109" name="Down Arrow 108"/>
          <p:cNvSpPr/>
          <p:nvPr/>
        </p:nvSpPr>
        <p:spPr bwMode="auto">
          <a:xfrm>
            <a:off x="4871522" y="1481038"/>
            <a:ext cx="448821" cy="742921"/>
          </a:xfrm>
          <a:prstGeom prst="downArrow">
            <a:avLst/>
          </a:prstGeom>
          <a:solidFill>
            <a:srgbClr val="0072C6"/>
          </a:solidFill>
          <a:ln w="9525" cap="flat" cmpd="sng" algn="ctr">
            <a:solidFill>
              <a:srgbClr val="0072C6">
                <a:lumMod val="75000"/>
              </a:srgbClr>
            </a:solidFill>
            <a:prstDash val="solid"/>
            <a:headEnd type="none" w="med" len="med"/>
            <a:tailEnd type="none" w="med" len="med"/>
          </a:ln>
          <a:effectLst/>
        </p:spPr>
        <p:txBody>
          <a:bodyPr lIns="89619" tIns="89619" rIns="33611" bIns="33611" rtlCol="0" anchor="b" anchorCtr="0"/>
          <a:lstStyle/>
          <a:p>
            <a:pPr marL="0" marR="0" lvl="0" indent="0" algn="ctr" defTabSz="913851" eaLnBrk="1" fontAlgn="auto" latinLnBrk="0" hangingPunct="1">
              <a:lnSpc>
                <a:spcPct val="100000"/>
              </a:lnSpc>
              <a:spcBef>
                <a:spcPts val="0"/>
              </a:spcBef>
              <a:spcAft>
                <a:spcPts val="0"/>
              </a:spcAft>
              <a:buClrTx/>
              <a:buSzTx/>
              <a:buFontTx/>
              <a:buNone/>
              <a:tabLst/>
              <a:defRPr/>
            </a:pPr>
            <a:endParaRPr kumimoji="0" lang="fr-FR" sz="78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Arial"/>
              <a:ea typeface="Segoe UI" pitchFamily="34" charset="0"/>
              <a:cs typeface="Segoe UI" pitchFamily="34" charset="0"/>
            </a:endParaRPr>
          </a:p>
        </p:txBody>
      </p:sp>
      <p:sp>
        <p:nvSpPr>
          <p:cNvPr id="110" name="Down Arrow 109"/>
          <p:cNvSpPr/>
          <p:nvPr/>
        </p:nvSpPr>
        <p:spPr bwMode="auto">
          <a:xfrm>
            <a:off x="5570165" y="1481038"/>
            <a:ext cx="695277" cy="742922"/>
          </a:xfrm>
          <a:prstGeom prst="downArrow">
            <a:avLst/>
          </a:prstGeom>
          <a:solidFill>
            <a:srgbClr val="0072C6"/>
          </a:solidFill>
          <a:ln w="9525" cap="flat" cmpd="sng" algn="ctr">
            <a:solidFill>
              <a:srgbClr val="0072C6">
                <a:lumMod val="75000"/>
              </a:srgbClr>
            </a:solidFill>
            <a:prstDash val="solid"/>
            <a:headEnd type="none" w="med" len="med"/>
            <a:tailEnd type="none" w="med" len="med"/>
          </a:ln>
          <a:effectLst/>
        </p:spPr>
        <p:txBody>
          <a:bodyPr lIns="89619" tIns="89619" rIns="33611" bIns="33611" rtlCol="0" anchor="b" anchorCtr="0"/>
          <a:lstStyle/>
          <a:p>
            <a:pPr marL="0" marR="0" lvl="0" indent="0" algn="ctr" defTabSz="913851" eaLnBrk="1" fontAlgn="auto" latinLnBrk="0" hangingPunct="1">
              <a:lnSpc>
                <a:spcPct val="100000"/>
              </a:lnSpc>
              <a:spcBef>
                <a:spcPts val="0"/>
              </a:spcBef>
              <a:spcAft>
                <a:spcPts val="0"/>
              </a:spcAft>
              <a:buClrTx/>
              <a:buSzTx/>
              <a:buFontTx/>
              <a:buNone/>
              <a:tabLst/>
              <a:defRPr/>
            </a:pPr>
            <a:endParaRPr kumimoji="0" lang="fr-FR" sz="78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Arial"/>
              <a:ea typeface="Segoe UI" pitchFamily="34" charset="0"/>
              <a:cs typeface="Segoe UI" pitchFamily="34" charset="0"/>
            </a:endParaRPr>
          </a:p>
        </p:txBody>
      </p:sp>
      <p:sp>
        <p:nvSpPr>
          <p:cNvPr id="111" name="Down Arrow 110"/>
          <p:cNvSpPr/>
          <p:nvPr/>
        </p:nvSpPr>
        <p:spPr bwMode="auto">
          <a:xfrm>
            <a:off x="6585277" y="1481038"/>
            <a:ext cx="308069" cy="742921"/>
          </a:xfrm>
          <a:prstGeom prst="downArrow">
            <a:avLst/>
          </a:prstGeom>
          <a:solidFill>
            <a:srgbClr val="0072C6"/>
          </a:solidFill>
          <a:ln w="9525" cap="flat" cmpd="sng" algn="ctr">
            <a:solidFill>
              <a:srgbClr val="0072C6">
                <a:lumMod val="75000"/>
              </a:srgbClr>
            </a:solidFill>
            <a:prstDash val="solid"/>
            <a:headEnd type="none" w="med" len="med"/>
            <a:tailEnd type="none" w="med" len="med"/>
          </a:ln>
          <a:effectLst/>
        </p:spPr>
        <p:txBody>
          <a:bodyPr lIns="89619" tIns="89619" rIns="33611" bIns="33611" rtlCol="0" anchor="b" anchorCtr="0"/>
          <a:lstStyle/>
          <a:p>
            <a:pPr marL="0" marR="0" lvl="0" indent="0" algn="ctr" defTabSz="913851" eaLnBrk="1" fontAlgn="auto" latinLnBrk="0" hangingPunct="1">
              <a:lnSpc>
                <a:spcPct val="100000"/>
              </a:lnSpc>
              <a:spcBef>
                <a:spcPts val="0"/>
              </a:spcBef>
              <a:spcAft>
                <a:spcPts val="0"/>
              </a:spcAft>
              <a:buClrTx/>
              <a:buSzTx/>
              <a:buFontTx/>
              <a:buNone/>
              <a:tabLst/>
              <a:defRPr/>
            </a:pPr>
            <a:endParaRPr kumimoji="0" lang="fr-FR" sz="78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Arial"/>
              <a:ea typeface="Segoe UI" pitchFamily="34" charset="0"/>
              <a:cs typeface="Segoe UI" pitchFamily="34" charset="0"/>
            </a:endParaRPr>
          </a:p>
        </p:txBody>
      </p:sp>
    </p:spTree>
    <p:extLst>
      <p:ext uri="{BB962C8B-B14F-4D97-AF65-F5344CB8AC3E}">
        <p14:creationId xmlns:p14="http://schemas.microsoft.com/office/powerpoint/2010/main" val="18711563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3"/>
                                        </p:tgtEl>
                                        <p:attrNameLst>
                                          <p:attrName>style.visibility</p:attrName>
                                        </p:attrNameLst>
                                      </p:cBhvr>
                                      <p:to>
                                        <p:strVal val="visible"/>
                                      </p:to>
                                    </p:set>
                                  </p:childTnLst>
                                </p:cTn>
                              </p:par>
                              <p:par>
                                <p:cTn id="7" presetID="1" presetClass="exit" presetSubtype="0" fill="hold" nodeType="withEffect">
                                  <p:stCondLst>
                                    <p:cond delay="0"/>
                                  </p:stCondLst>
                                  <p:childTnLst>
                                    <p:set>
                                      <p:cBhvr>
                                        <p:cTn id="8" dur="1" fill="hold">
                                          <p:stCondLst>
                                            <p:cond delay="0"/>
                                          </p:stCondLst>
                                        </p:cTn>
                                        <p:tgtEl>
                                          <p:spTgt spid="96"/>
                                        </p:tgtEl>
                                        <p:attrNameLst>
                                          <p:attrName>style.visibility</p:attrName>
                                        </p:attrNameLst>
                                      </p:cBhvr>
                                      <p:to>
                                        <p:strVal val="hidden"/>
                                      </p:to>
                                    </p:set>
                                  </p:childTnLst>
                                </p:cTn>
                              </p:par>
                              <p:par>
                                <p:cTn id="9" presetID="1" presetClass="entr" presetSubtype="0" fill="hold" nodeType="withEffect">
                                  <p:stCondLst>
                                    <p:cond delay="0"/>
                                  </p:stCondLst>
                                  <p:childTnLst>
                                    <p:set>
                                      <p:cBhvr>
                                        <p:cTn id="10" dur="1" fill="hold">
                                          <p:stCondLst>
                                            <p:cond delay="0"/>
                                          </p:stCondLst>
                                        </p:cTn>
                                        <p:tgtEl>
                                          <p:spTgt spid="10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4"/>
                                        </p:tgtEl>
                                        <p:attrNameLst>
                                          <p:attrName>style.visibility</p:attrName>
                                        </p:attrNameLst>
                                      </p:cBhvr>
                                      <p:to>
                                        <p:strVal val="visible"/>
                                      </p:to>
                                    </p:set>
                                  </p:childTnLst>
                                </p:cTn>
                              </p:par>
                              <p:par>
                                <p:cTn id="15" presetID="1" presetClass="exit" presetSubtype="0" fill="hold" nodeType="withEffect">
                                  <p:stCondLst>
                                    <p:cond delay="0"/>
                                  </p:stCondLst>
                                  <p:childTnLst>
                                    <p:set>
                                      <p:cBhvr>
                                        <p:cTn id="16" dur="1" fill="hold">
                                          <p:stCondLst>
                                            <p:cond delay="0"/>
                                          </p:stCondLst>
                                        </p:cTn>
                                        <p:tgtEl>
                                          <p:spTgt spid="102"/>
                                        </p:tgtEl>
                                        <p:attrNameLst>
                                          <p:attrName>style.visibility</p:attrName>
                                        </p:attrNameLst>
                                      </p:cBhvr>
                                      <p:to>
                                        <p:strVal val="hidden"/>
                                      </p:to>
                                    </p:set>
                                  </p:childTnLst>
                                </p:cTn>
                              </p:par>
                              <p:par>
                                <p:cTn id="17" presetID="1" presetClass="entr" presetSubtype="0" fill="hold" nodeType="withEffect">
                                  <p:stCondLst>
                                    <p:cond delay="0"/>
                                  </p:stCondLst>
                                  <p:childTnLst>
                                    <p:set>
                                      <p:cBhvr>
                                        <p:cTn id="18" dur="1" fill="hold">
                                          <p:stCondLst>
                                            <p:cond delay="0"/>
                                          </p:stCondLst>
                                        </p:cTn>
                                        <p:tgtEl>
                                          <p:spTgt spid="10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05"/>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08"/>
                                        </p:tgtEl>
                                        <p:attrNameLst>
                                          <p:attrName>style.visibility</p:attrName>
                                        </p:attrNameLst>
                                      </p:cBhvr>
                                      <p:to>
                                        <p:strVal val="visible"/>
                                      </p:to>
                                    </p:set>
                                  </p:childTnLst>
                                </p:cTn>
                              </p:par>
                              <p:par>
                                <p:cTn id="25" presetID="1" presetClass="exit" presetSubtype="0" fill="hold" nodeType="withEffect">
                                  <p:stCondLst>
                                    <p:cond delay="0"/>
                                  </p:stCondLst>
                                  <p:childTnLst>
                                    <p:set>
                                      <p:cBhvr>
                                        <p:cTn id="26" dur="1" fill="hold">
                                          <p:stCondLst>
                                            <p:cond delay="0"/>
                                          </p:stCondLst>
                                        </p:cTn>
                                        <p:tgtEl>
                                          <p:spTgt spid="101"/>
                                        </p:tgtEl>
                                        <p:attrNameLst>
                                          <p:attrName>style.visibility</p:attrName>
                                        </p:attrNameLst>
                                      </p:cBhvr>
                                      <p:to>
                                        <p:strVal val="hidden"/>
                                      </p:to>
                                    </p:set>
                                  </p:childTnLst>
                                </p:cTn>
                              </p:par>
                              <p:par>
                                <p:cTn id="27" presetID="1" presetClass="exit" presetSubtype="0" fill="hold" grpId="0" nodeType="withEffect">
                                  <p:stCondLst>
                                    <p:cond delay="0"/>
                                  </p:stCondLst>
                                  <p:childTnLst>
                                    <p:set>
                                      <p:cBhvr>
                                        <p:cTn id="28" dur="1" fill="hold">
                                          <p:stCondLst>
                                            <p:cond delay="0"/>
                                          </p:stCondLst>
                                        </p:cTn>
                                        <p:tgtEl>
                                          <p:spTgt spid="9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9" grpId="0" animBg="1"/>
      <p:bldP spid="103" grpId="0" animBg="1"/>
      <p:bldP spid="104" grpId="0" animBg="1"/>
      <p:bldP spid="105" grpId="0" animBg="1"/>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fontScale="90000"/>
          </a:bodyPr>
          <a:lstStyle/>
          <a:p>
            <a:r>
              <a:rPr lang="fr-FR" dirty="0" smtClean="0"/>
              <a:t>Une solution existante : Choix du niveau de service</a:t>
            </a:r>
            <a:endParaRPr lang="fr-FR" dirty="0"/>
          </a:p>
        </p:txBody>
      </p:sp>
      <p:sp>
        <p:nvSpPr>
          <p:cNvPr id="2" name="Text Placeholder 1"/>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sp>
        <p:nvSpPr>
          <p:cNvPr id="30" name="Content Placeholder 6"/>
          <p:cNvSpPr txBox="1">
            <a:spLocks/>
          </p:cNvSpPr>
          <p:nvPr/>
        </p:nvSpPr>
        <p:spPr>
          <a:xfrm>
            <a:off x="1333153" y="1586683"/>
            <a:ext cx="6897911" cy="4947893"/>
          </a:xfrm>
          <a:prstGeom prst="rect">
            <a:avLst/>
          </a:prstGeom>
        </p:spPr>
        <p:txBody>
          <a:bodyPr>
            <a:norm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fr-FR" smtClean="0"/>
              <a:t>Niveaux de service </a:t>
            </a:r>
          </a:p>
          <a:p>
            <a:pPr lvl="1"/>
            <a:r>
              <a:rPr lang="fr-FR" smtClean="0"/>
              <a:t>Basic, Standard, Premium</a:t>
            </a:r>
            <a:endParaRPr lang="fr-FR" dirty="0"/>
          </a:p>
          <a:p>
            <a:pPr lvl="1"/>
            <a:r>
              <a:rPr lang="fr-FR" smtClean="0"/>
              <a:t>Configuration via le portail, PowerShell, REST APIs, ou T-SQL </a:t>
            </a:r>
          </a:p>
          <a:p>
            <a:pPr lvl="1"/>
            <a:r>
              <a:rPr lang="fr-FR" smtClean="0"/>
              <a:t>La base reste en ligne pendant la mise à jour</a:t>
            </a:r>
          </a:p>
          <a:p>
            <a:pPr lvl="1"/>
            <a:r>
              <a:rPr lang="fr-FR" smtClean="0"/>
              <a:t>Facturation à l’heure</a:t>
            </a:r>
          </a:p>
          <a:p>
            <a:r>
              <a:rPr lang="fr-FR" smtClean="0"/>
              <a:t>Les limites :</a:t>
            </a:r>
          </a:p>
          <a:p>
            <a:pPr marL="1013776" lvl="2" indent="-467897">
              <a:buFont typeface="Arial"/>
              <a:buChar char="•"/>
            </a:pPr>
            <a:r>
              <a:rPr lang="fr-FR" smtClean="0"/>
              <a:t>Uniquement si la performance est constatée ou si elle peut-être anticipée</a:t>
            </a:r>
          </a:p>
          <a:p>
            <a:pPr marL="1013776" lvl="2" indent="-467897">
              <a:buFont typeface="Arial"/>
              <a:buChar char="•"/>
            </a:pPr>
            <a:r>
              <a:rPr lang="fr-FR" smtClean="0"/>
              <a:t>Granularité</a:t>
            </a:r>
          </a:p>
          <a:p>
            <a:endParaRPr lang="fr-FR" dirty="0"/>
          </a:p>
        </p:txBody>
      </p:sp>
      <p:sp>
        <p:nvSpPr>
          <p:cNvPr id="31" name="Rectangle 30"/>
          <p:cNvSpPr/>
          <p:nvPr/>
        </p:nvSpPr>
        <p:spPr>
          <a:xfrm>
            <a:off x="8511245" y="1722970"/>
            <a:ext cx="3014522" cy="3191802"/>
          </a:xfrm>
          <a:prstGeom prst="rect">
            <a:avLst/>
          </a:prstGeom>
          <a:noFill/>
          <a:ln w="57150" cap="flat" cmpd="sng" algn="ctr">
            <a:solidFill>
              <a:srgbClr val="0072C6">
                <a:lumMod val="7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623863"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smtClean="0">
              <a:ln>
                <a:noFill/>
              </a:ln>
              <a:solidFill>
                <a:srgbClr val="404040"/>
              </a:solidFill>
              <a:effectLst/>
              <a:uLnTx/>
              <a:uFillTx/>
              <a:latin typeface="Arial"/>
              <a:ea typeface="+mn-ea"/>
              <a:cs typeface="+mn-cs"/>
            </a:endParaRPr>
          </a:p>
        </p:txBody>
      </p:sp>
      <p:sp>
        <p:nvSpPr>
          <p:cNvPr id="36" name="TextBox 35"/>
          <p:cNvSpPr txBox="1"/>
          <p:nvPr/>
        </p:nvSpPr>
        <p:spPr>
          <a:xfrm>
            <a:off x="9278967" y="1229538"/>
            <a:ext cx="1479080" cy="452472"/>
          </a:xfrm>
          <a:prstGeom prst="rect">
            <a:avLst/>
          </a:prstGeom>
          <a:noFill/>
        </p:spPr>
        <p:txBody>
          <a:bodyPr wrap="none" rtlCol="0">
            <a:spAutoFit/>
          </a:bodyPr>
          <a:lstStyle/>
          <a:p>
            <a:pPr algn="ctr" defTabSz="623863"/>
            <a:r>
              <a:rPr lang="en-US" sz="2352" b="1" dirty="0">
                <a:solidFill>
                  <a:srgbClr val="0072C6"/>
                </a:solidFill>
                <a:latin typeface="Arial"/>
              </a:rPr>
              <a:t>Compute</a:t>
            </a:r>
          </a:p>
        </p:txBody>
      </p:sp>
      <p:sp>
        <p:nvSpPr>
          <p:cNvPr id="37" name="TextBox 36"/>
          <p:cNvSpPr txBox="1"/>
          <p:nvPr/>
        </p:nvSpPr>
        <p:spPr>
          <a:xfrm rot="16200000">
            <a:off x="7656274" y="3092636"/>
            <a:ext cx="1103214" cy="452472"/>
          </a:xfrm>
          <a:prstGeom prst="rect">
            <a:avLst/>
          </a:prstGeom>
          <a:noFill/>
        </p:spPr>
        <p:txBody>
          <a:bodyPr wrap="none" rtlCol="0">
            <a:spAutoFit/>
          </a:bodyPr>
          <a:lstStyle/>
          <a:p>
            <a:pPr algn="ctr" defTabSz="623863"/>
            <a:r>
              <a:rPr lang="en-US" sz="2352" b="1" dirty="0">
                <a:solidFill>
                  <a:srgbClr val="0072C6"/>
                </a:solidFill>
                <a:latin typeface="Arial"/>
              </a:rPr>
              <a:t>Writes</a:t>
            </a:r>
          </a:p>
        </p:txBody>
      </p:sp>
      <p:sp>
        <p:nvSpPr>
          <p:cNvPr id="38" name="TextBox 37"/>
          <p:cNvSpPr txBox="1"/>
          <p:nvPr/>
        </p:nvSpPr>
        <p:spPr>
          <a:xfrm rot="5400000">
            <a:off x="11309067" y="3091725"/>
            <a:ext cx="1091966" cy="454292"/>
          </a:xfrm>
          <a:prstGeom prst="rect">
            <a:avLst/>
          </a:prstGeom>
          <a:noFill/>
        </p:spPr>
        <p:txBody>
          <a:bodyPr wrap="none" rtlCol="0">
            <a:spAutoFit/>
          </a:bodyPr>
          <a:lstStyle/>
          <a:p>
            <a:pPr algn="ctr" defTabSz="623863"/>
            <a:r>
              <a:rPr lang="en-US" sz="2352" b="1" dirty="0">
                <a:solidFill>
                  <a:srgbClr val="0072C6"/>
                </a:solidFill>
                <a:latin typeface="Arial"/>
              </a:rPr>
              <a:t>Reads</a:t>
            </a:r>
          </a:p>
        </p:txBody>
      </p:sp>
      <p:sp>
        <p:nvSpPr>
          <p:cNvPr id="39" name="TextBox 38"/>
          <p:cNvSpPr txBox="1"/>
          <p:nvPr/>
        </p:nvSpPr>
        <p:spPr>
          <a:xfrm>
            <a:off x="9347489" y="5063788"/>
            <a:ext cx="1342034" cy="454292"/>
          </a:xfrm>
          <a:prstGeom prst="rect">
            <a:avLst/>
          </a:prstGeom>
          <a:noFill/>
        </p:spPr>
        <p:txBody>
          <a:bodyPr wrap="none" rtlCol="0">
            <a:spAutoFit/>
          </a:bodyPr>
          <a:lstStyle/>
          <a:p>
            <a:pPr algn="ctr" defTabSz="623863"/>
            <a:r>
              <a:rPr lang="en-US" sz="2352" b="1" dirty="0">
                <a:solidFill>
                  <a:srgbClr val="0072C6"/>
                </a:solidFill>
                <a:latin typeface="Arial"/>
              </a:rPr>
              <a:t>Memory</a:t>
            </a:r>
            <a:endParaRPr lang="en-US" sz="2352" b="1" i="1" dirty="0">
              <a:solidFill>
                <a:srgbClr val="0072C6"/>
              </a:solidFill>
              <a:latin typeface="Arial"/>
            </a:endParaRPr>
          </a:p>
        </p:txBody>
      </p:sp>
      <p:cxnSp>
        <p:nvCxnSpPr>
          <p:cNvPr id="40" name="Straight Arrow Connector 39"/>
          <p:cNvCxnSpPr/>
          <p:nvPr/>
        </p:nvCxnSpPr>
        <p:spPr>
          <a:xfrm flipH="1" flipV="1">
            <a:off x="10004897" y="1831026"/>
            <a:ext cx="13609" cy="1411383"/>
          </a:xfrm>
          <a:prstGeom prst="straightConnector1">
            <a:avLst/>
          </a:prstGeom>
          <a:noFill/>
          <a:ln w="57150" cap="flat" cmpd="sng" algn="ctr">
            <a:solidFill>
              <a:srgbClr val="6DC2E9">
                <a:lumMod val="75000"/>
              </a:srgbClr>
            </a:solidFill>
            <a:prstDash val="solid"/>
            <a:headEnd type="none"/>
            <a:tailEnd type="triangle"/>
          </a:ln>
          <a:effectLst/>
        </p:spPr>
      </p:cxnSp>
      <p:cxnSp>
        <p:nvCxnSpPr>
          <p:cNvPr id="41" name="Straight Arrow Connector 40"/>
          <p:cNvCxnSpPr/>
          <p:nvPr/>
        </p:nvCxnSpPr>
        <p:spPr>
          <a:xfrm>
            <a:off x="10110260" y="3318871"/>
            <a:ext cx="1238924" cy="0"/>
          </a:xfrm>
          <a:prstGeom prst="straightConnector1">
            <a:avLst/>
          </a:prstGeom>
          <a:noFill/>
          <a:ln w="57150" cap="flat" cmpd="sng" algn="ctr">
            <a:solidFill>
              <a:srgbClr val="6DC2E9">
                <a:lumMod val="75000"/>
              </a:srgbClr>
            </a:solidFill>
            <a:prstDash val="solid"/>
            <a:headEnd type="none"/>
            <a:tailEnd type="triangle"/>
          </a:ln>
          <a:effectLst/>
        </p:spPr>
      </p:cxnSp>
      <p:cxnSp>
        <p:nvCxnSpPr>
          <p:cNvPr id="42" name="Straight Arrow Connector 41"/>
          <p:cNvCxnSpPr/>
          <p:nvPr/>
        </p:nvCxnSpPr>
        <p:spPr>
          <a:xfrm>
            <a:off x="10018506" y="3395334"/>
            <a:ext cx="0" cy="1344287"/>
          </a:xfrm>
          <a:prstGeom prst="straightConnector1">
            <a:avLst/>
          </a:prstGeom>
          <a:noFill/>
          <a:ln w="57150" cap="flat" cmpd="sng" algn="ctr">
            <a:solidFill>
              <a:srgbClr val="6DC2E9">
                <a:lumMod val="75000"/>
              </a:srgbClr>
            </a:solidFill>
            <a:prstDash val="solid"/>
            <a:headEnd type="none"/>
            <a:tailEnd type="triangle"/>
          </a:ln>
          <a:effectLst/>
        </p:spPr>
      </p:cxnSp>
      <p:cxnSp>
        <p:nvCxnSpPr>
          <p:cNvPr id="43" name="Straight Arrow Connector 42"/>
          <p:cNvCxnSpPr/>
          <p:nvPr/>
        </p:nvCxnSpPr>
        <p:spPr>
          <a:xfrm flipH="1">
            <a:off x="8660610" y="3318871"/>
            <a:ext cx="1266141" cy="0"/>
          </a:xfrm>
          <a:prstGeom prst="straightConnector1">
            <a:avLst/>
          </a:prstGeom>
          <a:noFill/>
          <a:ln w="57150" cap="flat" cmpd="sng" algn="ctr">
            <a:solidFill>
              <a:srgbClr val="6DC2E9">
                <a:lumMod val="75000"/>
              </a:srgbClr>
            </a:solidFill>
            <a:prstDash val="solid"/>
            <a:headEnd type="none"/>
            <a:tailEnd type="triangle"/>
          </a:ln>
          <a:effectLst/>
        </p:spPr>
      </p:cxnSp>
      <p:sp>
        <p:nvSpPr>
          <p:cNvPr id="44" name="Can 43"/>
          <p:cNvSpPr/>
          <p:nvPr/>
        </p:nvSpPr>
        <p:spPr bwMode="auto">
          <a:xfrm>
            <a:off x="9632644" y="2947238"/>
            <a:ext cx="745666" cy="764726"/>
          </a:xfrm>
          <a:prstGeom prst="can">
            <a:avLst/>
          </a:prstGeom>
          <a:solidFill>
            <a:srgbClr val="0072C6"/>
          </a:solidFill>
          <a:ln w="9525" cap="flat" cmpd="sng" algn="ctr">
            <a:noFill/>
            <a:prstDash val="solid"/>
            <a:headEnd type="none" w="med" len="med"/>
            <a:tailEnd type="none" w="med" len="med"/>
          </a:ln>
          <a:effectLst/>
        </p:spPr>
        <p:txBody>
          <a:bodyPr lIns="89619" tIns="89619" rIns="33611" bIns="33611" rtlCol="0" anchor="b" anchorCtr="0"/>
          <a:lstStyle/>
          <a:p>
            <a:pPr marL="0" marR="0" lvl="0" indent="0" algn="ctr" defTabSz="913851"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Arial"/>
              <a:ea typeface="Segoe UI" pitchFamily="34" charset="0"/>
              <a:cs typeface="Segoe UI" pitchFamily="34" charset="0"/>
            </a:endParaRPr>
          </a:p>
        </p:txBody>
      </p:sp>
      <p:sp>
        <p:nvSpPr>
          <p:cNvPr id="45" name="Can 44"/>
          <p:cNvSpPr/>
          <p:nvPr/>
        </p:nvSpPr>
        <p:spPr bwMode="auto">
          <a:xfrm>
            <a:off x="9413538" y="3052984"/>
            <a:ext cx="745666" cy="1111552"/>
          </a:xfrm>
          <a:prstGeom prst="can">
            <a:avLst/>
          </a:prstGeom>
          <a:solidFill>
            <a:srgbClr val="0072C6"/>
          </a:solidFill>
          <a:ln w="9525" cap="flat" cmpd="sng" algn="ctr">
            <a:noFill/>
            <a:prstDash val="solid"/>
            <a:headEnd type="none" w="med" len="med"/>
            <a:tailEnd type="none" w="med" len="med"/>
          </a:ln>
          <a:effectLst/>
        </p:spPr>
        <p:txBody>
          <a:bodyPr lIns="89619" tIns="89619" rIns="33611" bIns="33611" rtlCol="0" anchor="b" anchorCtr="0"/>
          <a:lstStyle/>
          <a:p>
            <a:pPr marL="0" marR="0" lvl="0" indent="0" algn="ctr" defTabSz="913851"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Arial"/>
              <a:ea typeface="Segoe UI" pitchFamily="34" charset="0"/>
              <a:cs typeface="Segoe UI" pitchFamily="34" charset="0"/>
            </a:endParaRPr>
          </a:p>
        </p:txBody>
      </p:sp>
      <p:sp>
        <p:nvSpPr>
          <p:cNvPr id="46" name="Can 45"/>
          <p:cNvSpPr/>
          <p:nvPr/>
        </p:nvSpPr>
        <p:spPr bwMode="auto">
          <a:xfrm>
            <a:off x="9758535" y="3039175"/>
            <a:ext cx="1337591" cy="805688"/>
          </a:xfrm>
          <a:prstGeom prst="can">
            <a:avLst/>
          </a:prstGeom>
          <a:solidFill>
            <a:srgbClr val="0072C6"/>
          </a:solidFill>
          <a:ln w="9525" cap="flat" cmpd="sng" algn="ctr">
            <a:noFill/>
            <a:prstDash val="solid"/>
            <a:headEnd type="none" w="med" len="med"/>
            <a:tailEnd type="none" w="med" len="med"/>
          </a:ln>
          <a:effectLst/>
        </p:spPr>
        <p:txBody>
          <a:bodyPr lIns="89619" tIns="89619" rIns="33611" bIns="33611" rtlCol="0" anchor="b" anchorCtr="0"/>
          <a:lstStyle/>
          <a:p>
            <a:pPr marL="0" marR="0" lvl="0" indent="0" algn="ctr" defTabSz="913851"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Arial"/>
              <a:ea typeface="Segoe UI" pitchFamily="34" charset="0"/>
              <a:cs typeface="Segoe UI" pitchFamily="34" charset="0"/>
            </a:endParaRPr>
          </a:p>
        </p:txBody>
      </p:sp>
      <p:sp>
        <p:nvSpPr>
          <p:cNvPr id="47" name="Can 46"/>
          <p:cNvSpPr/>
          <p:nvPr/>
        </p:nvSpPr>
        <p:spPr bwMode="auto">
          <a:xfrm>
            <a:off x="9448746" y="2786399"/>
            <a:ext cx="1892932" cy="1907288"/>
          </a:xfrm>
          <a:prstGeom prst="can">
            <a:avLst/>
          </a:prstGeom>
          <a:solidFill>
            <a:srgbClr val="0072C6"/>
          </a:solidFill>
          <a:ln w="9525" cap="flat" cmpd="sng" algn="ctr">
            <a:noFill/>
            <a:prstDash val="solid"/>
            <a:headEnd type="none" w="med" len="med"/>
            <a:tailEnd type="none" w="med" len="med"/>
          </a:ln>
          <a:effectLst/>
        </p:spPr>
        <p:txBody>
          <a:bodyPr lIns="89619" tIns="89619" rIns="33611" bIns="33611" rtlCol="0" anchor="b" anchorCtr="0"/>
          <a:lstStyle/>
          <a:p>
            <a:pPr marL="0" marR="0" lvl="0" indent="0" algn="ctr" defTabSz="913851"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Arial"/>
              <a:ea typeface="Segoe UI" pitchFamily="34" charset="0"/>
              <a:cs typeface="Segoe UI" pitchFamily="34" charset="0"/>
            </a:endParaRPr>
          </a:p>
        </p:txBody>
      </p:sp>
      <p:sp>
        <p:nvSpPr>
          <p:cNvPr id="48" name="Can 47"/>
          <p:cNvSpPr/>
          <p:nvPr/>
        </p:nvSpPr>
        <p:spPr bwMode="auto">
          <a:xfrm>
            <a:off x="8671189" y="1889149"/>
            <a:ext cx="1707121" cy="1701878"/>
          </a:xfrm>
          <a:prstGeom prst="can">
            <a:avLst/>
          </a:prstGeom>
          <a:solidFill>
            <a:srgbClr val="0072C6"/>
          </a:solidFill>
          <a:ln w="9525" cap="flat" cmpd="sng" algn="ctr">
            <a:noFill/>
            <a:prstDash val="solid"/>
            <a:headEnd type="none" w="med" len="med"/>
            <a:tailEnd type="none" w="med" len="med"/>
          </a:ln>
          <a:effectLst/>
        </p:spPr>
        <p:txBody>
          <a:bodyPr lIns="89619" tIns="89619" rIns="33611" bIns="33611" rtlCol="0" anchor="b" anchorCtr="0"/>
          <a:lstStyle/>
          <a:p>
            <a:pPr marL="0" marR="0" lvl="0" indent="0" algn="ctr" defTabSz="913851"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Arial"/>
              <a:ea typeface="Segoe UI" pitchFamily="34" charset="0"/>
              <a:cs typeface="Segoe UI" pitchFamily="34" charset="0"/>
            </a:endParaRPr>
          </a:p>
        </p:txBody>
      </p:sp>
      <p:sp>
        <p:nvSpPr>
          <p:cNvPr id="49" name="Rounded Rectangle 48"/>
          <p:cNvSpPr/>
          <p:nvPr/>
        </p:nvSpPr>
        <p:spPr bwMode="auto">
          <a:xfrm>
            <a:off x="9950865" y="5710837"/>
            <a:ext cx="458766" cy="689713"/>
          </a:xfrm>
          <a:prstGeom prst="roundRect">
            <a:avLst/>
          </a:prstGeom>
          <a:solidFill>
            <a:sysClr val="window" lastClr="FFFFFF">
              <a:lumMod val="95000"/>
            </a:sysClr>
          </a:solidFill>
          <a:ln w="38100" cap="flat" cmpd="sng" algn="ctr">
            <a:solidFill>
              <a:srgbClr val="0072C6">
                <a:lumMod val="75000"/>
              </a:srgbClr>
            </a:solidFill>
            <a:prstDash val="solid"/>
            <a:headEnd type="none" w="med" len="med"/>
            <a:tailEnd type="none" w="med" len="med"/>
          </a:ln>
          <a:effectLst/>
        </p:spPr>
        <p:txBody>
          <a:bodyPr rot="0" spcFirstLastPara="0" vertOverflow="overflow" horzOverflow="overflow" vert="horz" wrap="square" lIns="35848" tIns="35848" rIns="33611" bIns="33611" numCol="1" spcCol="0" rtlCol="0" fromWordArt="0" anchor="ctr" anchorCtr="0" forceAA="0" compatLnSpc="1">
            <a:prstTxWarp prst="textNoShape">
              <a:avLst/>
            </a:prstTxWarp>
            <a:noAutofit/>
          </a:bodyPr>
          <a:lstStyle/>
          <a:p>
            <a:pPr marL="0" marR="0" lvl="0" indent="0" algn="ctr" defTabSz="913851" eaLnBrk="1" fontAlgn="auto" latinLnBrk="0" hangingPunct="1">
              <a:lnSpc>
                <a:spcPct val="100000"/>
              </a:lnSpc>
              <a:spcBef>
                <a:spcPts val="0"/>
              </a:spcBef>
              <a:spcAft>
                <a:spcPts val="0"/>
              </a:spcAft>
              <a:buClrTx/>
              <a:buSzTx/>
              <a:buFontTx/>
              <a:buNone/>
              <a:tabLst/>
              <a:defRPr/>
            </a:pPr>
            <a:r>
              <a:rPr kumimoji="0" lang="en-US" sz="2744" b="0" i="0" u="none" strike="noStrike" kern="0" cap="none" spc="0" normalizeH="0" baseline="0" noProof="0" dirty="0" smtClean="0">
                <a:ln>
                  <a:noFill/>
                </a:ln>
                <a:solidFill>
                  <a:srgbClr val="404040">
                    <a:lumMod val="75000"/>
                  </a:srgbClr>
                </a:solidFill>
                <a:effectLst/>
                <a:uLnTx/>
                <a:uFillTx/>
                <a:latin typeface="Segoe UI Semibold" panose="020B0702040204020203" pitchFamily="34" charset="0"/>
                <a:ea typeface="Segoe UI" pitchFamily="34" charset="0"/>
                <a:cs typeface="Segoe UI Semibold" panose="020B0702040204020203" pitchFamily="34" charset="0"/>
              </a:rPr>
              <a:t>0</a:t>
            </a:r>
          </a:p>
        </p:txBody>
      </p:sp>
      <p:sp>
        <p:nvSpPr>
          <p:cNvPr id="50" name="Rounded Rectangle 49"/>
          <p:cNvSpPr/>
          <p:nvPr/>
        </p:nvSpPr>
        <p:spPr bwMode="auto">
          <a:xfrm>
            <a:off x="10524321" y="5710837"/>
            <a:ext cx="458766" cy="689713"/>
          </a:xfrm>
          <a:prstGeom prst="roundRect">
            <a:avLst/>
          </a:prstGeom>
          <a:solidFill>
            <a:sysClr val="window" lastClr="FFFFFF">
              <a:lumMod val="95000"/>
            </a:sysClr>
          </a:solidFill>
          <a:ln w="38100" cap="flat" cmpd="sng" algn="ctr">
            <a:solidFill>
              <a:srgbClr val="0072C6">
                <a:lumMod val="75000"/>
              </a:srgbClr>
            </a:solidFill>
            <a:prstDash val="solid"/>
            <a:headEnd type="none" w="med" len="med"/>
            <a:tailEnd type="none" w="med" len="med"/>
          </a:ln>
          <a:effectLst/>
        </p:spPr>
        <p:txBody>
          <a:bodyPr rot="0" spcFirstLastPara="0" vertOverflow="overflow" horzOverflow="overflow" vert="horz" wrap="square" lIns="35848" tIns="35848" rIns="33611" bIns="33611" numCol="1" spcCol="0" rtlCol="0" fromWordArt="0" anchor="ctr" anchorCtr="0" forceAA="0" compatLnSpc="1">
            <a:prstTxWarp prst="textNoShape">
              <a:avLst/>
            </a:prstTxWarp>
            <a:noAutofit/>
          </a:bodyPr>
          <a:lstStyle/>
          <a:p>
            <a:pPr marL="0" marR="0" lvl="0" indent="0" algn="ctr" defTabSz="913851" eaLnBrk="1" fontAlgn="auto" latinLnBrk="0" hangingPunct="1">
              <a:lnSpc>
                <a:spcPct val="100000"/>
              </a:lnSpc>
              <a:spcBef>
                <a:spcPts val="0"/>
              </a:spcBef>
              <a:spcAft>
                <a:spcPts val="0"/>
              </a:spcAft>
              <a:buClrTx/>
              <a:buSzTx/>
              <a:buFontTx/>
              <a:buNone/>
              <a:tabLst/>
              <a:defRPr/>
            </a:pPr>
            <a:r>
              <a:rPr kumimoji="0" lang="en-US" sz="2744" b="0" i="0" u="none" strike="noStrike" kern="0" cap="none" spc="0" normalizeH="0" baseline="0" noProof="0" dirty="0" smtClean="0">
                <a:ln>
                  <a:noFill/>
                </a:ln>
                <a:solidFill>
                  <a:srgbClr val="404040">
                    <a:lumMod val="75000"/>
                  </a:srgbClr>
                </a:solidFill>
                <a:effectLst/>
                <a:uLnTx/>
                <a:uFillTx/>
                <a:latin typeface="Segoe UI Semibold" panose="020B0702040204020203" pitchFamily="34" charset="0"/>
                <a:ea typeface="Segoe UI" pitchFamily="34" charset="0"/>
                <a:cs typeface="Segoe UI Semibold" panose="020B0702040204020203" pitchFamily="34" charset="0"/>
              </a:rPr>
              <a:t>0</a:t>
            </a:r>
          </a:p>
        </p:txBody>
      </p:sp>
      <p:sp>
        <p:nvSpPr>
          <p:cNvPr id="51" name="Rounded Rectangle 50"/>
          <p:cNvSpPr/>
          <p:nvPr/>
        </p:nvSpPr>
        <p:spPr bwMode="auto">
          <a:xfrm>
            <a:off x="11097778" y="5710837"/>
            <a:ext cx="458766" cy="689713"/>
          </a:xfrm>
          <a:prstGeom prst="roundRect">
            <a:avLst/>
          </a:prstGeom>
          <a:solidFill>
            <a:sysClr val="window" lastClr="FFFFFF">
              <a:lumMod val="95000"/>
            </a:sysClr>
          </a:solidFill>
          <a:ln w="38100" cap="flat" cmpd="sng" algn="ctr">
            <a:solidFill>
              <a:srgbClr val="0072C6">
                <a:lumMod val="75000"/>
              </a:srgbClr>
            </a:solidFill>
            <a:prstDash val="solid"/>
            <a:headEnd type="none" w="med" len="med"/>
            <a:tailEnd type="none" w="med" len="med"/>
          </a:ln>
          <a:effectLst/>
        </p:spPr>
        <p:txBody>
          <a:bodyPr lIns="35848" tIns="35848" rIns="33611" bIns="33611" rtlCol="0" anchor="ctr" anchorCtr="0"/>
          <a:lstStyle/>
          <a:p>
            <a:pPr marL="0" marR="0" lvl="0" indent="0" algn="ctr" defTabSz="913851" eaLnBrk="1" fontAlgn="auto" latinLnBrk="0" hangingPunct="1">
              <a:lnSpc>
                <a:spcPct val="100000"/>
              </a:lnSpc>
              <a:spcBef>
                <a:spcPts val="0"/>
              </a:spcBef>
              <a:spcAft>
                <a:spcPts val="0"/>
              </a:spcAft>
              <a:buClrTx/>
              <a:buSzTx/>
              <a:buFontTx/>
              <a:buNone/>
              <a:tabLst/>
              <a:defRPr/>
            </a:pPr>
            <a:r>
              <a:rPr kumimoji="0" lang="en-US" sz="2744" b="0" i="0" u="none" strike="noStrike" kern="0" cap="none" spc="0" normalizeH="0" baseline="0" noProof="0" dirty="0" smtClean="0">
                <a:ln>
                  <a:noFill/>
                </a:ln>
                <a:solidFill>
                  <a:srgbClr val="404040">
                    <a:lumMod val="75000"/>
                  </a:srgbClr>
                </a:solidFill>
                <a:effectLst/>
                <a:uLnTx/>
                <a:uFillTx/>
                <a:latin typeface="Segoe UI Semibold" panose="020B0702040204020203" pitchFamily="34" charset="0"/>
                <a:ea typeface="Segoe UI" pitchFamily="34" charset="0"/>
                <a:cs typeface="Segoe UI Semibold" panose="020B0702040204020203" pitchFamily="34" charset="0"/>
              </a:rPr>
              <a:t>0</a:t>
            </a:r>
          </a:p>
        </p:txBody>
      </p:sp>
      <p:sp>
        <p:nvSpPr>
          <p:cNvPr id="52" name="TextBox 51"/>
          <p:cNvSpPr txBox="1"/>
          <p:nvPr/>
        </p:nvSpPr>
        <p:spPr>
          <a:xfrm>
            <a:off x="8637721" y="5667096"/>
            <a:ext cx="1311917" cy="723955"/>
          </a:xfrm>
          <a:prstGeom prst="rect">
            <a:avLst/>
          </a:prstGeom>
          <a:noFill/>
        </p:spPr>
        <p:txBody>
          <a:bodyPr wrap="none" lIns="179238" tIns="143391" rIns="179238" bIns="143391" rtlCol="0" anchor="ctr">
            <a:spAutoFit/>
          </a:bodyPr>
          <a:lstStyle/>
          <a:p>
            <a:pPr defTabSz="623863">
              <a:lnSpc>
                <a:spcPct val="90000"/>
              </a:lnSpc>
              <a:spcAft>
                <a:spcPts val="588"/>
              </a:spcAft>
            </a:pPr>
            <a:r>
              <a:rPr lang="en-US" sz="3136" dirty="0">
                <a:gradFill>
                  <a:gsLst>
                    <a:gs pos="2917">
                      <a:srgbClr val="404040"/>
                    </a:gs>
                    <a:gs pos="30000">
                      <a:srgbClr val="404040"/>
                    </a:gs>
                  </a:gsLst>
                  <a:lin ang="5400000" scaled="0"/>
                </a:gradFill>
                <a:latin typeface="Segoe UI Semibold" panose="020B0702040204020203" pitchFamily="34" charset="0"/>
                <a:cs typeface="Segoe UI Semibold" panose="020B0702040204020203" pitchFamily="34" charset="0"/>
              </a:rPr>
              <a:t>DTUs</a:t>
            </a:r>
          </a:p>
        </p:txBody>
      </p:sp>
      <p:sp>
        <p:nvSpPr>
          <p:cNvPr id="53" name="Rounded Rectangle 52"/>
          <p:cNvSpPr/>
          <p:nvPr/>
        </p:nvSpPr>
        <p:spPr bwMode="auto">
          <a:xfrm>
            <a:off x="10524321" y="5710837"/>
            <a:ext cx="458766" cy="689713"/>
          </a:xfrm>
          <a:prstGeom prst="roundRect">
            <a:avLst/>
          </a:prstGeom>
          <a:solidFill>
            <a:sysClr val="window" lastClr="FFFFFF">
              <a:lumMod val="95000"/>
            </a:sysClr>
          </a:solidFill>
          <a:ln w="38100" cap="flat" cmpd="sng" algn="ctr">
            <a:solidFill>
              <a:srgbClr val="0072C6">
                <a:lumMod val="75000"/>
              </a:srgbClr>
            </a:solidFill>
            <a:prstDash val="solid"/>
            <a:headEnd type="none" w="med" len="med"/>
            <a:tailEnd type="none" w="med" len="med"/>
          </a:ln>
          <a:effectLst/>
        </p:spPr>
        <p:txBody>
          <a:bodyPr rot="0" spcFirstLastPara="0" vertOverflow="overflow" horzOverflow="overflow" vert="horz" wrap="square" lIns="35848" tIns="35848" rIns="33611" bIns="33611" numCol="1" spcCol="0" rtlCol="0" fromWordArt="0" anchor="ctr" anchorCtr="0" forceAA="0" compatLnSpc="1">
            <a:prstTxWarp prst="textNoShape">
              <a:avLst/>
            </a:prstTxWarp>
            <a:noAutofit/>
          </a:bodyPr>
          <a:lstStyle/>
          <a:p>
            <a:pPr marL="0" marR="0" lvl="0" indent="0" algn="ctr" defTabSz="913851" eaLnBrk="1" fontAlgn="auto" latinLnBrk="0" hangingPunct="1">
              <a:lnSpc>
                <a:spcPct val="100000"/>
              </a:lnSpc>
              <a:spcBef>
                <a:spcPts val="0"/>
              </a:spcBef>
              <a:spcAft>
                <a:spcPts val="0"/>
              </a:spcAft>
              <a:buClrTx/>
              <a:buSzTx/>
              <a:buFontTx/>
              <a:buNone/>
              <a:tabLst/>
              <a:defRPr/>
            </a:pPr>
            <a:r>
              <a:rPr kumimoji="0" lang="en-US" sz="2744" b="0" i="0" u="none" strike="noStrike" kern="0" cap="none" spc="0" normalizeH="0" baseline="0" noProof="0" dirty="0" smtClean="0">
                <a:ln>
                  <a:noFill/>
                </a:ln>
                <a:solidFill>
                  <a:srgbClr val="404040">
                    <a:lumMod val="75000"/>
                  </a:srgbClr>
                </a:solidFill>
                <a:effectLst/>
                <a:uLnTx/>
                <a:uFillTx/>
                <a:latin typeface="Segoe UI Semibold" panose="020B0702040204020203" pitchFamily="34" charset="0"/>
                <a:ea typeface="Segoe UI" pitchFamily="34" charset="0"/>
                <a:cs typeface="Segoe UI Semibold" panose="020B0702040204020203" pitchFamily="34" charset="0"/>
              </a:rPr>
              <a:t>2</a:t>
            </a:r>
          </a:p>
        </p:txBody>
      </p:sp>
      <p:sp>
        <p:nvSpPr>
          <p:cNvPr id="54" name="Rounded Rectangle 53"/>
          <p:cNvSpPr/>
          <p:nvPr/>
        </p:nvSpPr>
        <p:spPr bwMode="auto">
          <a:xfrm>
            <a:off x="10524321" y="5710837"/>
            <a:ext cx="458766" cy="689713"/>
          </a:xfrm>
          <a:prstGeom prst="roundRect">
            <a:avLst/>
          </a:prstGeom>
          <a:solidFill>
            <a:sysClr val="window" lastClr="FFFFFF">
              <a:lumMod val="95000"/>
            </a:sysClr>
          </a:solidFill>
          <a:ln w="38100" cap="flat" cmpd="sng" algn="ctr">
            <a:solidFill>
              <a:srgbClr val="0072C6">
                <a:lumMod val="75000"/>
              </a:srgbClr>
            </a:solidFill>
            <a:prstDash val="solid"/>
            <a:headEnd type="none" w="med" len="med"/>
            <a:tailEnd type="none" w="med" len="med"/>
          </a:ln>
          <a:effectLst/>
        </p:spPr>
        <p:txBody>
          <a:bodyPr rot="0" spcFirstLastPara="0" vertOverflow="overflow" horzOverflow="overflow" vert="horz" wrap="square" lIns="35848" tIns="35848" rIns="33611" bIns="33611" numCol="1" spcCol="0" rtlCol="0" fromWordArt="0" anchor="ctr" anchorCtr="0" forceAA="0" compatLnSpc="1">
            <a:prstTxWarp prst="textNoShape">
              <a:avLst/>
            </a:prstTxWarp>
            <a:noAutofit/>
          </a:bodyPr>
          <a:lstStyle/>
          <a:p>
            <a:pPr marL="0" marR="0" lvl="0" indent="0" algn="ctr" defTabSz="913851" eaLnBrk="1" fontAlgn="auto" latinLnBrk="0" hangingPunct="1">
              <a:lnSpc>
                <a:spcPct val="100000"/>
              </a:lnSpc>
              <a:spcBef>
                <a:spcPts val="0"/>
              </a:spcBef>
              <a:spcAft>
                <a:spcPts val="0"/>
              </a:spcAft>
              <a:buClrTx/>
              <a:buSzTx/>
              <a:buFontTx/>
              <a:buNone/>
              <a:tabLst/>
              <a:defRPr/>
            </a:pPr>
            <a:r>
              <a:rPr kumimoji="0" lang="en-US" sz="2744" b="0" i="0" u="none" strike="noStrike" kern="0" cap="none" spc="0" normalizeH="0" baseline="0" noProof="0" dirty="0" smtClean="0">
                <a:ln>
                  <a:noFill/>
                </a:ln>
                <a:solidFill>
                  <a:srgbClr val="404040">
                    <a:lumMod val="75000"/>
                  </a:srgbClr>
                </a:solidFill>
                <a:effectLst/>
                <a:uLnTx/>
                <a:uFillTx/>
                <a:latin typeface="Segoe UI Semibold" panose="020B0702040204020203" pitchFamily="34" charset="0"/>
                <a:ea typeface="Segoe UI" pitchFamily="34" charset="0"/>
                <a:cs typeface="Segoe UI Semibold" panose="020B0702040204020203" pitchFamily="34" charset="0"/>
              </a:rPr>
              <a:t>3</a:t>
            </a:r>
          </a:p>
        </p:txBody>
      </p:sp>
      <p:sp>
        <p:nvSpPr>
          <p:cNvPr id="55" name="Rounded Rectangle 54"/>
          <p:cNvSpPr/>
          <p:nvPr/>
        </p:nvSpPr>
        <p:spPr bwMode="auto">
          <a:xfrm>
            <a:off x="10524321" y="5710837"/>
            <a:ext cx="458766" cy="689713"/>
          </a:xfrm>
          <a:prstGeom prst="roundRect">
            <a:avLst/>
          </a:prstGeom>
          <a:solidFill>
            <a:sysClr val="window" lastClr="FFFFFF">
              <a:lumMod val="95000"/>
            </a:sysClr>
          </a:solidFill>
          <a:ln w="38100" cap="flat" cmpd="sng" algn="ctr">
            <a:solidFill>
              <a:srgbClr val="0072C6">
                <a:lumMod val="75000"/>
              </a:srgbClr>
            </a:solidFill>
            <a:prstDash val="solid"/>
            <a:headEnd type="none" w="med" len="med"/>
            <a:tailEnd type="none" w="med" len="med"/>
          </a:ln>
          <a:effectLst/>
        </p:spPr>
        <p:txBody>
          <a:bodyPr rot="0" spcFirstLastPara="0" vertOverflow="overflow" horzOverflow="overflow" vert="horz" wrap="square" lIns="35848" tIns="35848" rIns="33611" bIns="33611" numCol="1" spcCol="0" rtlCol="0" fromWordArt="0" anchor="ctr" anchorCtr="0" forceAA="0" compatLnSpc="1">
            <a:prstTxWarp prst="textNoShape">
              <a:avLst/>
            </a:prstTxWarp>
            <a:noAutofit/>
          </a:bodyPr>
          <a:lstStyle/>
          <a:p>
            <a:pPr marL="0" marR="0" lvl="0" indent="0" algn="ctr" defTabSz="913851" eaLnBrk="1" fontAlgn="auto" latinLnBrk="0" hangingPunct="1">
              <a:lnSpc>
                <a:spcPct val="100000"/>
              </a:lnSpc>
              <a:spcBef>
                <a:spcPts val="0"/>
              </a:spcBef>
              <a:spcAft>
                <a:spcPts val="0"/>
              </a:spcAft>
              <a:buClrTx/>
              <a:buSzTx/>
              <a:buFontTx/>
              <a:buNone/>
              <a:tabLst/>
              <a:defRPr/>
            </a:pPr>
            <a:r>
              <a:rPr kumimoji="0" lang="en-US" sz="2744" b="0" i="0" u="none" strike="noStrike" kern="0" cap="none" spc="0" normalizeH="0" baseline="0" noProof="0" dirty="0" smtClean="0">
                <a:ln>
                  <a:noFill/>
                </a:ln>
                <a:solidFill>
                  <a:srgbClr val="404040">
                    <a:lumMod val="75000"/>
                  </a:srgbClr>
                </a:solidFill>
                <a:effectLst/>
                <a:uLnTx/>
                <a:uFillTx/>
                <a:latin typeface="Segoe UI Semibold" panose="020B0702040204020203" pitchFamily="34" charset="0"/>
                <a:ea typeface="Segoe UI" pitchFamily="34" charset="0"/>
                <a:cs typeface="Segoe UI Semibold" panose="020B0702040204020203" pitchFamily="34" charset="0"/>
              </a:rPr>
              <a:t>4</a:t>
            </a:r>
          </a:p>
        </p:txBody>
      </p:sp>
      <p:sp>
        <p:nvSpPr>
          <p:cNvPr id="56" name="Rounded Rectangle 55"/>
          <p:cNvSpPr/>
          <p:nvPr/>
        </p:nvSpPr>
        <p:spPr bwMode="auto">
          <a:xfrm>
            <a:off x="10524321" y="5710837"/>
            <a:ext cx="458766" cy="689713"/>
          </a:xfrm>
          <a:prstGeom prst="roundRect">
            <a:avLst/>
          </a:prstGeom>
          <a:solidFill>
            <a:sysClr val="window" lastClr="FFFFFF">
              <a:lumMod val="95000"/>
            </a:sysClr>
          </a:solidFill>
          <a:ln w="38100" cap="flat" cmpd="sng" algn="ctr">
            <a:solidFill>
              <a:srgbClr val="0072C6">
                <a:lumMod val="75000"/>
              </a:srgbClr>
            </a:solidFill>
            <a:prstDash val="solid"/>
            <a:headEnd type="none" w="med" len="med"/>
            <a:tailEnd type="none" w="med" len="med"/>
          </a:ln>
          <a:effectLst/>
        </p:spPr>
        <p:txBody>
          <a:bodyPr rot="0" spcFirstLastPara="0" vertOverflow="overflow" horzOverflow="overflow" vert="horz" wrap="square" lIns="35848" tIns="35848" rIns="33611" bIns="33611" numCol="1" spcCol="0" rtlCol="0" fromWordArt="0" anchor="ctr" anchorCtr="0" forceAA="0" compatLnSpc="1">
            <a:prstTxWarp prst="textNoShape">
              <a:avLst/>
            </a:prstTxWarp>
            <a:noAutofit/>
          </a:bodyPr>
          <a:lstStyle/>
          <a:p>
            <a:pPr marL="0" marR="0" lvl="0" indent="0" algn="ctr" defTabSz="913851" eaLnBrk="1" fontAlgn="auto" latinLnBrk="0" hangingPunct="1">
              <a:lnSpc>
                <a:spcPct val="100000"/>
              </a:lnSpc>
              <a:spcBef>
                <a:spcPts val="0"/>
              </a:spcBef>
              <a:spcAft>
                <a:spcPts val="0"/>
              </a:spcAft>
              <a:buClrTx/>
              <a:buSzTx/>
              <a:buFontTx/>
              <a:buNone/>
              <a:tabLst/>
              <a:defRPr/>
            </a:pPr>
            <a:r>
              <a:rPr kumimoji="0" lang="en-US" sz="2744" b="0" i="0" u="none" strike="noStrike" kern="0" cap="none" spc="0" normalizeH="0" baseline="0" noProof="0" dirty="0" smtClean="0">
                <a:ln>
                  <a:noFill/>
                </a:ln>
                <a:solidFill>
                  <a:srgbClr val="404040">
                    <a:lumMod val="75000"/>
                  </a:srgbClr>
                </a:solidFill>
                <a:effectLst/>
                <a:uLnTx/>
                <a:uFillTx/>
                <a:latin typeface="Segoe UI Semibold" panose="020B0702040204020203" pitchFamily="34" charset="0"/>
                <a:ea typeface="Segoe UI" pitchFamily="34" charset="0"/>
                <a:cs typeface="Segoe UI Semibold" panose="020B0702040204020203" pitchFamily="34" charset="0"/>
              </a:rPr>
              <a:t>1</a:t>
            </a:r>
          </a:p>
        </p:txBody>
      </p:sp>
    </p:spTree>
    <p:extLst>
      <p:ext uri="{BB962C8B-B14F-4D97-AF65-F5344CB8AC3E}">
        <p14:creationId xmlns:p14="http://schemas.microsoft.com/office/powerpoint/2010/main" val="32409194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2"/>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nodeType="afterEffect">
                                  <p:stCondLst>
                                    <p:cond delay="250"/>
                                  </p:stCondLst>
                                  <p:childTnLst>
                                    <p:set>
                                      <p:cBhvr>
                                        <p:cTn id="9" dur="1" fill="hold">
                                          <p:stCondLst>
                                            <p:cond delay="0"/>
                                          </p:stCondLst>
                                        </p:cTn>
                                        <p:tgtEl>
                                          <p:spTgt spid="43"/>
                                        </p:tgtEl>
                                        <p:attrNameLst>
                                          <p:attrName>style.visibility</p:attrName>
                                        </p:attrNameLst>
                                      </p:cBhvr>
                                      <p:to>
                                        <p:strVal val="visible"/>
                                      </p:to>
                                    </p:set>
                                  </p:childTnLst>
                                </p:cTn>
                              </p:par>
                            </p:childTnLst>
                          </p:cTn>
                        </p:par>
                        <p:par>
                          <p:cTn id="10" fill="hold">
                            <p:stCondLst>
                              <p:cond delay="250"/>
                            </p:stCondLst>
                            <p:childTnLst>
                              <p:par>
                                <p:cTn id="11" presetID="1" presetClass="entr" presetSubtype="0" fill="hold" nodeType="afterEffect">
                                  <p:stCondLst>
                                    <p:cond delay="250"/>
                                  </p:stCondLst>
                                  <p:childTnLst>
                                    <p:set>
                                      <p:cBhvr>
                                        <p:cTn id="12" dur="1" fill="hold">
                                          <p:stCondLst>
                                            <p:cond delay="0"/>
                                          </p:stCondLst>
                                        </p:cTn>
                                        <p:tgtEl>
                                          <p:spTgt spid="40"/>
                                        </p:tgtEl>
                                        <p:attrNameLst>
                                          <p:attrName>style.visibility</p:attrName>
                                        </p:attrNameLst>
                                      </p:cBhvr>
                                      <p:to>
                                        <p:strVal val="visible"/>
                                      </p:to>
                                    </p:set>
                                  </p:childTnLst>
                                </p:cTn>
                              </p:par>
                            </p:childTnLst>
                          </p:cTn>
                        </p:par>
                        <p:par>
                          <p:cTn id="13" fill="hold">
                            <p:stCondLst>
                              <p:cond delay="500"/>
                            </p:stCondLst>
                            <p:childTnLst>
                              <p:par>
                                <p:cTn id="14" presetID="1" presetClass="entr" presetSubtype="0" fill="hold" nodeType="afterEffect">
                                  <p:stCondLst>
                                    <p:cond delay="250"/>
                                  </p:stCondLst>
                                  <p:childTnLst>
                                    <p:set>
                                      <p:cBhvr>
                                        <p:cTn id="15" dur="1" fill="hold">
                                          <p:stCondLst>
                                            <p:cond delay="0"/>
                                          </p:stCondLst>
                                        </p:cTn>
                                        <p:tgtEl>
                                          <p:spTgt spid="41"/>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1" presetClass="entr" presetSubtype="0" fill="hold" grpId="0" nodeType="clickEffect">
                                  <p:stCondLst>
                                    <p:cond delay="0"/>
                                  </p:stCondLst>
                                  <p:childTnLst>
                                    <p:set>
                                      <p:cBhvr>
                                        <p:cTn id="19" dur="1" fill="hold">
                                          <p:stCondLst>
                                            <p:cond delay="0"/>
                                          </p:stCondLst>
                                        </p:cTn>
                                        <p:tgtEl>
                                          <p:spTgt spid="44"/>
                                        </p:tgtEl>
                                        <p:attrNameLst>
                                          <p:attrName>style.visibility</p:attrName>
                                        </p:attrNameLst>
                                      </p:cBhvr>
                                      <p:to>
                                        <p:strVal val="visible"/>
                                      </p:to>
                                    </p:set>
                                  </p:childTnLst>
                                </p:cTn>
                              </p:par>
                              <p:par>
                                <p:cTn id="20" presetID="1" presetClass="entr" presetSubtype="0" fill="hold" grpId="0" nodeType="withEffect">
                                  <p:stCondLst>
                                    <p:cond delay="0"/>
                                  </p:stCondLst>
                                  <p:childTnLst>
                                    <p:set>
                                      <p:cBhvr>
                                        <p:cTn id="21" dur="1" fill="hold">
                                          <p:stCondLst>
                                            <p:cond delay="0"/>
                                          </p:stCondLst>
                                        </p:cTn>
                                        <p:tgtEl>
                                          <p:spTgt spid="56"/>
                                        </p:tgtEl>
                                        <p:attrNameLst>
                                          <p:attrName>style.visibility</p:attrName>
                                        </p:attrNameLst>
                                      </p:cBhvr>
                                      <p:to>
                                        <p:strVal val="visible"/>
                                      </p:to>
                                    </p:set>
                                  </p:childTnLst>
                                </p:cTn>
                              </p:par>
                            </p:childTnLst>
                          </p:cTn>
                        </p:par>
                      </p:childTnLst>
                    </p:cTn>
                  </p:par>
                  <p:par>
                    <p:cTn id="22" fill="hold">
                      <p:stCondLst>
                        <p:cond delay="indefinite"/>
                      </p:stCondLst>
                      <p:childTnLst>
                        <p:par>
                          <p:cTn id="23" fill="hold">
                            <p:stCondLst>
                              <p:cond delay="0"/>
                            </p:stCondLst>
                            <p:childTnLst>
                              <p:par>
                                <p:cTn id="24" presetID="1" presetClass="entr" presetSubtype="0" fill="hold" grpId="0" nodeType="clickEffect">
                                  <p:stCondLst>
                                    <p:cond delay="0"/>
                                  </p:stCondLst>
                                  <p:childTnLst>
                                    <p:set>
                                      <p:cBhvr>
                                        <p:cTn id="25" dur="1" fill="hold">
                                          <p:stCondLst>
                                            <p:cond delay="0"/>
                                          </p:stCondLst>
                                        </p:cTn>
                                        <p:tgtEl>
                                          <p:spTgt spid="45"/>
                                        </p:tgtEl>
                                        <p:attrNameLst>
                                          <p:attrName>style.visibility</p:attrName>
                                        </p:attrNameLst>
                                      </p:cBhvr>
                                      <p:to>
                                        <p:strVal val="visible"/>
                                      </p:to>
                                    </p:set>
                                  </p:childTnLst>
                                </p:cTn>
                              </p:par>
                              <p:par>
                                <p:cTn id="26" presetID="1" presetClass="exit" presetSubtype="0" fill="hold" grpId="1" nodeType="withEffect">
                                  <p:stCondLst>
                                    <p:cond delay="0"/>
                                  </p:stCondLst>
                                  <p:childTnLst>
                                    <p:set>
                                      <p:cBhvr>
                                        <p:cTn id="27" dur="1" fill="hold">
                                          <p:stCondLst>
                                            <p:cond delay="0"/>
                                          </p:stCondLst>
                                        </p:cTn>
                                        <p:tgtEl>
                                          <p:spTgt spid="56"/>
                                        </p:tgtEl>
                                        <p:attrNameLst>
                                          <p:attrName>style.visibility</p:attrName>
                                        </p:attrNameLst>
                                      </p:cBhvr>
                                      <p:to>
                                        <p:strVal val="hidden"/>
                                      </p:to>
                                    </p:set>
                                  </p:childTnLst>
                                </p:cTn>
                              </p:par>
                              <p:par>
                                <p:cTn id="28" presetID="1" presetClass="entr" presetSubtype="0" fill="hold" grpId="0" nodeType="withEffect">
                                  <p:stCondLst>
                                    <p:cond delay="0"/>
                                  </p:stCondLst>
                                  <p:childTnLst>
                                    <p:set>
                                      <p:cBhvr>
                                        <p:cTn id="29" dur="1" fill="hold">
                                          <p:stCondLst>
                                            <p:cond delay="0"/>
                                          </p:stCondLst>
                                        </p:cTn>
                                        <p:tgtEl>
                                          <p:spTgt spid="53"/>
                                        </p:tgtEl>
                                        <p:attrNameLst>
                                          <p:attrName>style.visibility</p:attrName>
                                        </p:attrNameLst>
                                      </p:cBhvr>
                                      <p:to>
                                        <p:strVal val="visible"/>
                                      </p:to>
                                    </p:set>
                                  </p:childTnLst>
                                </p:cTn>
                              </p:par>
                            </p:childTnLst>
                          </p:cTn>
                        </p:par>
                      </p:childTnLst>
                    </p:cTn>
                  </p:par>
                  <p:par>
                    <p:cTn id="30" fill="hold">
                      <p:stCondLst>
                        <p:cond delay="indefinite"/>
                      </p:stCondLst>
                      <p:childTnLst>
                        <p:par>
                          <p:cTn id="31" fill="hold">
                            <p:stCondLst>
                              <p:cond delay="0"/>
                            </p:stCondLst>
                            <p:childTnLst>
                              <p:par>
                                <p:cTn id="32" presetID="1" presetClass="entr" presetSubtype="0" fill="hold" grpId="0" nodeType="clickEffect">
                                  <p:stCondLst>
                                    <p:cond delay="0"/>
                                  </p:stCondLst>
                                  <p:childTnLst>
                                    <p:set>
                                      <p:cBhvr>
                                        <p:cTn id="33" dur="1" fill="hold">
                                          <p:stCondLst>
                                            <p:cond delay="0"/>
                                          </p:stCondLst>
                                        </p:cTn>
                                        <p:tgtEl>
                                          <p:spTgt spid="46"/>
                                        </p:tgtEl>
                                        <p:attrNameLst>
                                          <p:attrName>style.visibility</p:attrName>
                                        </p:attrNameLst>
                                      </p:cBhvr>
                                      <p:to>
                                        <p:strVal val="visible"/>
                                      </p:to>
                                    </p:set>
                                  </p:childTnLst>
                                </p:cTn>
                              </p:par>
                              <p:par>
                                <p:cTn id="34" presetID="1" presetClass="exit" presetSubtype="0" fill="hold" grpId="1" nodeType="withEffect">
                                  <p:stCondLst>
                                    <p:cond delay="0"/>
                                  </p:stCondLst>
                                  <p:childTnLst>
                                    <p:set>
                                      <p:cBhvr>
                                        <p:cTn id="35" dur="1" fill="hold">
                                          <p:stCondLst>
                                            <p:cond delay="0"/>
                                          </p:stCondLst>
                                        </p:cTn>
                                        <p:tgtEl>
                                          <p:spTgt spid="45"/>
                                        </p:tgtEl>
                                        <p:attrNameLst>
                                          <p:attrName>style.visibility</p:attrName>
                                        </p:attrNameLst>
                                      </p:cBhvr>
                                      <p:to>
                                        <p:strVal val="hidden"/>
                                      </p:to>
                                    </p:set>
                                  </p:childTnLst>
                                </p:cTn>
                              </p:par>
                            </p:childTnLst>
                          </p:cTn>
                        </p:par>
                      </p:childTnLst>
                    </p:cTn>
                  </p:par>
                  <p:par>
                    <p:cTn id="36" fill="hold">
                      <p:stCondLst>
                        <p:cond delay="indefinite"/>
                      </p:stCondLst>
                      <p:childTnLst>
                        <p:par>
                          <p:cTn id="37" fill="hold">
                            <p:stCondLst>
                              <p:cond delay="0"/>
                            </p:stCondLst>
                            <p:childTnLst>
                              <p:par>
                                <p:cTn id="38" presetID="1" presetClass="entr" presetSubtype="0" fill="hold" grpId="0" nodeType="clickEffect">
                                  <p:stCondLst>
                                    <p:cond delay="0"/>
                                  </p:stCondLst>
                                  <p:childTnLst>
                                    <p:set>
                                      <p:cBhvr>
                                        <p:cTn id="39" dur="1" fill="hold">
                                          <p:stCondLst>
                                            <p:cond delay="0"/>
                                          </p:stCondLst>
                                        </p:cTn>
                                        <p:tgtEl>
                                          <p:spTgt spid="47"/>
                                        </p:tgtEl>
                                        <p:attrNameLst>
                                          <p:attrName>style.visibility</p:attrName>
                                        </p:attrNameLst>
                                      </p:cBhvr>
                                      <p:to>
                                        <p:strVal val="visible"/>
                                      </p:to>
                                    </p:set>
                                  </p:childTnLst>
                                </p:cTn>
                              </p:par>
                              <p:par>
                                <p:cTn id="40" presetID="1" presetClass="exit" presetSubtype="0" fill="hold" grpId="1" nodeType="withEffect">
                                  <p:stCondLst>
                                    <p:cond delay="0"/>
                                  </p:stCondLst>
                                  <p:childTnLst>
                                    <p:set>
                                      <p:cBhvr>
                                        <p:cTn id="41" dur="1" fill="hold">
                                          <p:stCondLst>
                                            <p:cond delay="0"/>
                                          </p:stCondLst>
                                        </p:cTn>
                                        <p:tgtEl>
                                          <p:spTgt spid="53"/>
                                        </p:tgtEl>
                                        <p:attrNameLst>
                                          <p:attrName>style.visibility</p:attrName>
                                        </p:attrNameLst>
                                      </p:cBhvr>
                                      <p:to>
                                        <p:strVal val="hidden"/>
                                      </p:to>
                                    </p:set>
                                  </p:childTnLst>
                                </p:cTn>
                              </p:par>
                              <p:par>
                                <p:cTn id="42" presetID="1" presetClass="entr" presetSubtype="0" fill="hold" grpId="0" nodeType="withEffect">
                                  <p:stCondLst>
                                    <p:cond delay="0"/>
                                  </p:stCondLst>
                                  <p:childTnLst>
                                    <p:set>
                                      <p:cBhvr>
                                        <p:cTn id="43" dur="1" fill="hold">
                                          <p:stCondLst>
                                            <p:cond delay="0"/>
                                          </p:stCondLst>
                                        </p:cTn>
                                        <p:tgtEl>
                                          <p:spTgt spid="54"/>
                                        </p:tgtEl>
                                        <p:attrNameLst>
                                          <p:attrName>style.visibility</p:attrName>
                                        </p:attrNameLst>
                                      </p:cBhvr>
                                      <p:to>
                                        <p:strVal val="visible"/>
                                      </p:to>
                                    </p:set>
                                  </p:childTnLst>
                                </p:cTn>
                              </p:par>
                              <p:par>
                                <p:cTn id="44" presetID="1" presetClass="exit" presetSubtype="0" fill="hold" grpId="1" nodeType="withEffect">
                                  <p:stCondLst>
                                    <p:cond delay="0"/>
                                  </p:stCondLst>
                                  <p:childTnLst>
                                    <p:set>
                                      <p:cBhvr>
                                        <p:cTn id="45" dur="1" fill="hold">
                                          <p:stCondLst>
                                            <p:cond delay="0"/>
                                          </p:stCondLst>
                                        </p:cTn>
                                        <p:tgtEl>
                                          <p:spTgt spid="46"/>
                                        </p:tgtEl>
                                        <p:attrNameLst>
                                          <p:attrName>style.visibility</p:attrName>
                                        </p:attrNameLst>
                                      </p:cBhvr>
                                      <p:to>
                                        <p:strVal val="hidden"/>
                                      </p:to>
                                    </p:set>
                                  </p:childTnLst>
                                </p:cTn>
                              </p:par>
                            </p:childTnLst>
                          </p:cTn>
                        </p:par>
                      </p:childTnLst>
                    </p:cTn>
                  </p:par>
                  <p:par>
                    <p:cTn id="46" fill="hold">
                      <p:stCondLst>
                        <p:cond delay="indefinite"/>
                      </p:stCondLst>
                      <p:childTnLst>
                        <p:par>
                          <p:cTn id="47" fill="hold">
                            <p:stCondLst>
                              <p:cond delay="0"/>
                            </p:stCondLst>
                            <p:childTnLst>
                              <p:par>
                                <p:cTn id="48" presetID="1" presetClass="entr" presetSubtype="0" fill="hold" grpId="0" nodeType="clickEffect">
                                  <p:stCondLst>
                                    <p:cond delay="0"/>
                                  </p:stCondLst>
                                  <p:childTnLst>
                                    <p:set>
                                      <p:cBhvr>
                                        <p:cTn id="49" dur="1" fill="hold">
                                          <p:stCondLst>
                                            <p:cond delay="0"/>
                                          </p:stCondLst>
                                        </p:cTn>
                                        <p:tgtEl>
                                          <p:spTgt spid="48"/>
                                        </p:tgtEl>
                                        <p:attrNameLst>
                                          <p:attrName>style.visibility</p:attrName>
                                        </p:attrNameLst>
                                      </p:cBhvr>
                                      <p:to>
                                        <p:strVal val="visible"/>
                                      </p:to>
                                    </p:set>
                                  </p:childTnLst>
                                </p:cTn>
                              </p:par>
                              <p:par>
                                <p:cTn id="50" presetID="1" presetClass="entr" presetSubtype="0" fill="hold" grpId="0" nodeType="withEffect">
                                  <p:stCondLst>
                                    <p:cond delay="0"/>
                                  </p:stCondLst>
                                  <p:childTnLst>
                                    <p:set>
                                      <p:cBhvr>
                                        <p:cTn id="51" dur="1" fill="hold">
                                          <p:stCondLst>
                                            <p:cond delay="0"/>
                                          </p:stCondLst>
                                        </p:cTn>
                                        <p:tgtEl>
                                          <p:spTgt spid="55"/>
                                        </p:tgtEl>
                                        <p:attrNameLst>
                                          <p:attrName>style.visibility</p:attrName>
                                        </p:attrNameLst>
                                      </p:cBhvr>
                                      <p:to>
                                        <p:strVal val="visible"/>
                                      </p:to>
                                    </p:set>
                                  </p:childTnLst>
                                </p:cTn>
                              </p:par>
                              <p:par>
                                <p:cTn id="52" presetID="1" presetClass="exit" presetSubtype="0" fill="hold" grpId="1" nodeType="withEffect">
                                  <p:stCondLst>
                                    <p:cond delay="0"/>
                                  </p:stCondLst>
                                  <p:childTnLst>
                                    <p:set>
                                      <p:cBhvr>
                                        <p:cTn id="53" dur="1" fill="hold">
                                          <p:stCondLst>
                                            <p:cond delay="0"/>
                                          </p:stCondLst>
                                        </p:cTn>
                                        <p:tgtEl>
                                          <p:spTgt spid="54"/>
                                        </p:tgtEl>
                                        <p:attrNameLst>
                                          <p:attrName>style.visibility</p:attrName>
                                        </p:attrNameLst>
                                      </p:cBhvr>
                                      <p:to>
                                        <p:strVal val="hidden"/>
                                      </p:to>
                                    </p:set>
                                  </p:childTnLst>
                                </p:cTn>
                              </p:par>
                              <p:par>
                                <p:cTn id="54" presetID="1" presetClass="exit" presetSubtype="0" fill="hold" grpId="1" nodeType="withEffect">
                                  <p:stCondLst>
                                    <p:cond delay="0"/>
                                  </p:stCondLst>
                                  <p:childTnLst>
                                    <p:set>
                                      <p:cBhvr>
                                        <p:cTn id="55" dur="1" fill="hold">
                                          <p:stCondLst>
                                            <p:cond delay="0"/>
                                          </p:stCondLst>
                                        </p:cTn>
                                        <p:tgtEl>
                                          <p:spTgt spid="47"/>
                                        </p:tgtEl>
                                        <p:attrNameLst>
                                          <p:attrName>style.visibility</p:attrName>
                                        </p:attrNameLst>
                                      </p:cBhvr>
                                      <p:to>
                                        <p:strVal val="hidden"/>
                                      </p:to>
                                    </p:set>
                                  </p:childTnLst>
                                </p:cTn>
                              </p:par>
                            </p:childTnLst>
                          </p:cTn>
                        </p:par>
                      </p:childTnLst>
                    </p:cTn>
                  </p:par>
                  <p:par>
                    <p:cTn id="56" fill="hold">
                      <p:stCondLst>
                        <p:cond delay="indefinite"/>
                      </p:stCondLst>
                      <p:childTnLst>
                        <p:par>
                          <p:cTn id="57" fill="hold">
                            <p:stCondLst>
                              <p:cond delay="0"/>
                            </p:stCondLst>
                            <p:childTnLst>
                              <p:par>
                                <p:cTn id="58" presetID="1" presetClass="exit" presetSubtype="0" fill="hold" grpId="1" nodeType="clickEffect">
                                  <p:stCondLst>
                                    <p:cond delay="0"/>
                                  </p:stCondLst>
                                  <p:childTnLst>
                                    <p:set>
                                      <p:cBhvr>
                                        <p:cTn id="59" dur="1" fill="hold">
                                          <p:stCondLst>
                                            <p:cond delay="0"/>
                                          </p:stCondLst>
                                        </p:cTn>
                                        <p:tgtEl>
                                          <p:spTgt spid="48"/>
                                        </p:tgtEl>
                                        <p:attrNameLst>
                                          <p:attrName>style.visibility</p:attrName>
                                        </p:attrNameLst>
                                      </p:cBhvr>
                                      <p:to>
                                        <p:strVal val="hidden"/>
                                      </p:to>
                                    </p:set>
                                  </p:childTnLst>
                                </p:cTn>
                              </p:par>
                              <p:par>
                                <p:cTn id="60" presetID="1" presetClass="exit" presetSubtype="0" fill="hold" grpId="1" nodeType="withEffect">
                                  <p:stCondLst>
                                    <p:cond delay="0"/>
                                  </p:stCondLst>
                                  <p:childTnLst>
                                    <p:set>
                                      <p:cBhvr>
                                        <p:cTn id="61" dur="1" fill="hold">
                                          <p:stCondLst>
                                            <p:cond delay="0"/>
                                          </p:stCondLst>
                                        </p:cTn>
                                        <p:tgtEl>
                                          <p:spTgt spid="55"/>
                                        </p:tgtEl>
                                        <p:attrNameLst>
                                          <p:attrName>style.visibility</p:attrName>
                                        </p:attrNameLst>
                                      </p:cBhvr>
                                      <p:to>
                                        <p:strVal val="hidden"/>
                                      </p:to>
                                    </p:set>
                                  </p:childTnLst>
                                </p:cTn>
                              </p:par>
                              <p:par>
                                <p:cTn id="62" presetID="1" presetClass="entr" presetSubtype="0" fill="hold" grpId="2" nodeType="withEffect">
                                  <p:stCondLst>
                                    <p:cond delay="0"/>
                                  </p:stCondLst>
                                  <p:childTnLst>
                                    <p:set>
                                      <p:cBhvr>
                                        <p:cTn id="63" dur="1" fill="hold">
                                          <p:stCondLst>
                                            <p:cond delay="0"/>
                                          </p:stCondLst>
                                        </p:cTn>
                                        <p:tgtEl>
                                          <p:spTgt spid="5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5" grpId="0" animBg="1"/>
      <p:bldP spid="45" grpId="1" animBg="1"/>
      <p:bldP spid="46" grpId="0" animBg="1"/>
      <p:bldP spid="46" grpId="1" animBg="1"/>
      <p:bldP spid="47" grpId="0" animBg="1"/>
      <p:bldP spid="47" grpId="1" animBg="1"/>
      <p:bldP spid="48" grpId="0" animBg="1"/>
      <p:bldP spid="48" grpId="1" animBg="1"/>
      <p:bldP spid="53" grpId="0" animBg="1"/>
      <p:bldP spid="53" grpId="1" animBg="1"/>
      <p:bldP spid="54" grpId="0" animBg="1"/>
      <p:bldP spid="54" grpId="1" animBg="1"/>
      <p:bldP spid="55" grpId="0" animBg="1"/>
      <p:bldP spid="55" grpId="1" animBg="1"/>
      <p:bldP spid="56" grpId="0" animBg="1"/>
      <p:bldP spid="56" grpId="1" animBg="1"/>
      <p:bldP spid="56" grpId="2" animBg="1"/>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sp>
        <p:nvSpPr>
          <p:cNvPr id="2" name="Title 1"/>
          <p:cNvSpPr>
            <a:spLocks noGrp="1"/>
          </p:cNvSpPr>
          <p:nvPr>
            <p:ph type="title"/>
          </p:nvPr>
        </p:nvSpPr>
        <p:spPr/>
        <p:txBody>
          <a:bodyPr>
            <a:normAutofit fontScale="90000"/>
          </a:bodyPr>
          <a:lstStyle/>
          <a:p>
            <a:r>
              <a:rPr lang="fr-FR" dirty="0" smtClean="0"/>
              <a:t>Problématique #4 : La performance n’est pas prédictible, le nombre de bases est très élevé</a:t>
            </a:r>
            <a:endParaRPr lang="fr-FR" dirty="0"/>
          </a:p>
        </p:txBody>
      </p:sp>
      <p:sp>
        <p:nvSpPr>
          <p:cNvPr id="113" name="Can 112"/>
          <p:cNvSpPr/>
          <p:nvPr/>
        </p:nvSpPr>
        <p:spPr>
          <a:xfrm>
            <a:off x="6367649" y="3519001"/>
            <a:ext cx="598149" cy="571270"/>
          </a:xfrm>
          <a:prstGeom prst="can">
            <a:avLst/>
          </a:prstGeom>
          <a:solidFill>
            <a:srgbClr val="0072C6"/>
          </a:solidFill>
          <a:ln w="25400" cap="flat" cmpd="sng" algn="ctr">
            <a:solidFill>
              <a:srgbClr val="0072C6">
                <a:lumMod val="75000"/>
              </a:srgbClr>
            </a:solidFill>
            <a:prstDash val="solid"/>
          </a:ln>
          <a:effectLst/>
        </p:spPr>
        <p:txBody>
          <a:bodyPr lIns="0" rIns="0" rtlCol="0" anchor="ctr"/>
          <a:lstStyle/>
          <a:p>
            <a:pPr marL="0" marR="0" lvl="0" indent="0" algn="ctr" defTabSz="623863" eaLnBrk="1" fontAlgn="auto" latinLnBrk="0" hangingPunct="1">
              <a:lnSpc>
                <a:spcPct val="100000"/>
              </a:lnSpc>
              <a:spcBef>
                <a:spcPts val="0"/>
              </a:spcBef>
              <a:spcAft>
                <a:spcPts val="0"/>
              </a:spcAft>
              <a:buClrTx/>
              <a:buSzTx/>
              <a:buFontTx/>
              <a:buNone/>
              <a:tabLst/>
              <a:defRPr/>
            </a:pPr>
            <a:r>
              <a:rPr kumimoji="0" lang="fr-FR" sz="1176" b="0" i="0" u="none" strike="noStrike" kern="0" cap="none" spc="0" normalizeH="0" baseline="0" noProof="0" dirty="0" err="1" smtClean="0">
                <a:ln>
                  <a:noFill/>
                </a:ln>
                <a:solidFill>
                  <a:srgbClr val="FFFFFF"/>
                </a:solidFill>
                <a:effectLst/>
                <a:uLnTx/>
                <a:uFillTx/>
                <a:latin typeface="Arial"/>
                <a:ea typeface="+mn-ea"/>
                <a:cs typeface="+mn-cs"/>
              </a:rPr>
              <a:t>Catalog</a:t>
            </a:r>
            <a:endParaRPr kumimoji="0" lang="fr-FR" sz="1176"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114" name="Rectangle 113"/>
          <p:cNvSpPr/>
          <p:nvPr/>
        </p:nvSpPr>
        <p:spPr>
          <a:xfrm>
            <a:off x="4637714" y="2326216"/>
            <a:ext cx="2473786" cy="571270"/>
          </a:xfrm>
          <a:prstGeom prst="rect">
            <a:avLst/>
          </a:prstGeom>
          <a:solidFill>
            <a:srgbClr val="0072C6"/>
          </a:solidFill>
          <a:ln w="25400" cap="flat" cmpd="sng" algn="ctr">
            <a:solidFill>
              <a:srgbClr val="0072C6">
                <a:lumMod val="75000"/>
              </a:srgbClr>
            </a:solidFill>
            <a:prstDash val="solid"/>
          </a:ln>
          <a:effectLst/>
        </p:spPr>
        <p:txBody>
          <a:bodyPr rtlCol="0" anchor="ctr"/>
          <a:lstStyle/>
          <a:p>
            <a:pPr marL="0" marR="0" lvl="0" indent="0" algn="ctr" defTabSz="623863" eaLnBrk="1" fontAlgn="auto" latinLnBrk="0" hangingPunct="1">
              <a:lnSpc>
                <a:spcPct val="100000"/>
              </a:lnSpc>
              <a:spcBef>
                <a:spcPts val="0"/>
              </a:spcBef>
              <a:spcAft>
                <a:spcPts val="0"/>
              </a:spcAft>
              <a:buClrTx/>
              <a:buSzTx/>
              <a:buFontTx/>
              <a:buNone/>
              <a:tabLst/>
              <a:defRPr/>
            </a:pPr>
            <a:endParaRPr kumimoji="0" lang="fr-FR" sz="1799"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115" name="Rectangle 114"/>
          <p:cNvSpPr/>
          <p:nvPr/>
        </p:nvSpPr>
        <p:spPr>
          <a:xfrm>
            <a:off x="4562053" y="2417142"/>
            <a:ext cx="2403745" cy="571270"/>
          </a:xfrm>
          <a:prstGeom prst="rect">
            <a:avLst/>
          </a:prstGeom>
          <a:solidFill>
            <a:srgbClr val="0072C6"/>
          </a:solidFill>
          <a:ln w="25400" cap="flat" cmpd="sng" algn="ctr">
            <a:solidFill>
              <a:srgbClr val="0072C6">
                <a:lumMod val="75000"/>
              </a:srgbClr>
            </a:solidFill>
            <a:prstDash val="solid"/>
          </a:ln>
          <a:effectLst/>
        </p:spPr>
        <p:txBody>
          <a:bodyPr rtlCol="0" anchor="ctr"/>
          <a:lstStyle/>
          <a:p>
            <a:pPr marL="0" marR="0" lvl="0" indent="0" algn="ctr" defTabSz="623863" eaLnBrk="1" fontAlgn="auto" latinLnBrk="0" hangingPunct="1">
              <a:lnSpc>
                <a:spcPct val="100000"/>
              </a:lnSpc>
              <a:spcBef>
                <a:spcPts val="0"/>
              </a:spcBef>
              <a:spcAft>
                <a:spcPts val="0"/>
              </a:spcAft>
              <a:buClrTx/>
              <a:buSzTx/>
              <a:buFontTx/>
              <a:buNone/>
              <a:tabLst/>
              <a:defRPr/>
            </a:pPr>
            <a:r>
              <a:rPr kumimoji="0" lang="fr-FR" sz="2450" b="1" i="0" u="none" strike="noStrike" kern="0" cap="none" spc="0" normalizeH="0" baseline="0" noProof="0" dirty="0" smtClean="0">
                <a:ln>
                  <a:noFill/>
                </a:ln>
                <a:solidFill>
                  <a:srgbClr val="FFFFFF"/>
                </a:solidFill>
                <a:effectLst/>
                <a:uLnTx/>
                <a:uFillTx/>
                <a:latin typeface="Arial"/>
                <a:ea typeface="+mn-ea"/>
                <a:cs typeface="+mn-cs"/>
              </a:rPr>
              <a:t>Service Cloud</a:t>
            </a:r>
          </a:p>
        </p:txBody>
      </p:sp>
      <p:cxnSp>
        <p:nvCxnSpPr>
          <p:cNvPr id="116" name="Straight Arrow Connector 115"/>
          <p:cNvCxnSpPr/>
          <p:nvPr/>
        </p:nvCxnSpPr>
        <p:spPr>
          <a:xfrm>
            <a:off x="6452311" y="3079339"/>
            <a:ext cx="149365" cy="413558"/>
          </a:xfrm>
          <a:prstGeom prst="straightConnector1">
            <a:avLst/>
          </a:prstGeom>
          <a:noFill/>
          <a:ln w="28575" cap="flat" cmpd="sng" algn="ctr">
            <a:solidFill>
              <a:srgbClr val="0072C6">
                <a:lumMod val="75000"/>
              </a:srgbClr>
            </a:solidFill>
            <a:prstDash val="solid"/>
            <a:tailEnd type="triangle" w="lg" len="lg"/>
          </a:ln>
          <a:effectLst/>
        </p:spPr>
      </p:cxnSp>
      <p:sp>
        <p:nvSpPr>
          <p:cNvPr id="117" name="TextBox 116"/>
          <p:cNvSpPr txBox="1"/>
          <p:nvPr/>
        </p:nvSpPr>
        <p:spPr>
          <a:xfrm>
            <a:off x="6702652" y="4055887"/>
            <a:ext cx="2793657" cy="469359"/>
          </a:xfrm>
          <a:prstGeom prst="rect">
            <a:avLst/>
          </a:prstGeom>
          <a:noFill/>
        </p:spPr>
        <p:txBody>
          <a:bodyPr wrap="square" rtlCol="0">
            <a:spAutoFit/>
          </a:bodyPr>
          <a:lstStyle/>
          <a:p>
            <a:pPr algn="ctr" defTabSz="623863"/>
            <a:r>
              <a:rPr lang="fr-FR" sz="2450" b="1" dirty="0" smtClean="0">
                <a:solidFill>
                  <a:srgbClr val="0072C6"/>
                </a:solidFill>
                <a:latin typeface="Arial"/>
              </a:rPr>
              <a:t>Catalogue clients</a:t>
            </a:r>
            <a:endParaRPr lang="fr-FR" sz="2450" b="1" dirty="0">
              <a:solidFill>
                <a:srgbClr val="0072C6"/>
              </a:solidFill>
              <a:latin typeface="Arial"/>
            </a:endParaRPr>
          </a:p>
        </p:txBody>
      </p:sp>
      <p:cxnSp>
        <p:nvCxnSpPr>
          <p:cNvPr id="118" name="Straight Arrow Connector 117"/>
          <p:cNvCxnSpPr/>
          <p:nvPr/>
        </p:nvCxnSpPr>
        <p:spPr>
          <a:xfrm flipH="1">
            <a:off x="5159514" y="3079339"/>
            <a:ext cx="246758" cy="1950009"/>
          </a:xfrm>
          <a:prstGeom prst="straightConnector1">
            <a:avLst/>
          </a:prstGeom>
          <a:noFill/>
          <a:ln w="28575" cap="flat" cmpd="sng" algn="ctr">
            <a:solidFill>
              <a:srgbClr val="0072C6">
                <a:lumMod val="75000"/>
              </a:srgbClr>
            </a:solidFill>
            <a:prstDash val="solid"/>
            <a:tailEnd type="triangle" w="lg" len="lg"/>
          </a:ln>
          <a:effectLst/>
        </p:spPr>
      </p:cxnSp>
      <p:sp>
        <p:nvSpPr>
          <p:cNvPr id="119" name="Can 118"/>
          <p:cNvSpPr/>
          <p:nvPr/>
        </p:nvSpPr>
        <p:spPr>
          <a:xfrm>
            <a:off x="3589798" y="5029348"/>
            <a:ext cx="563401" cy="693644"/>
          </a:xfrm>
          <a:prstGeom prst="can">
            <a:avLst/>
          </a:prstGeom>
          <a:solidFill>
            <a:srgbClr val="0072C6"/>
          </a:solidFill>
          <a:ln w="25400" cap="flat" cmpd="sng" algn="ctr">
            <a:solidFill>
              <a:srgbClr val="0072C6">
                <a:lumMod val="75000"/>
              </a:srgbClr>
            </a:solidFill>
            <a:prstDash val="solid"/>
          </a:ln>
          <a:effectLst/>
        </p:spPr>
        <p:txBody>
          <a:bodyPr lIns="0" tIns="0" rIns="0" bIns="0" rtlCol="0" anchor="ctr"/>
          <a:lstStyle/>
          <a:p>
            <a:pPr marL="0" marR="0" lvl="0" indent="0" algn="ctr" defTabSz="623863" eaLnBrk="1" fontAlgn="auto" latinLnBrk="0" hangingPunct="1">
              <a:lnSpc>
                <a:spcPct val="100000"/>
              </a:lnSpc>
              <a:spcBef>
                <a:spcPts val="0"/>
              </a:spcBef>
              <a:spcAft>
                <a:spcPts val="0"/>
              </a:spcAft>
              <a:buClrTx/>
              <a:buSzTx/>
              <a:buFontTx/>
              <a:buNone/>
              <a:tabLst/>
              <a:defRPr/>
            </a:pPr>
            <a:r>
              <a:rPr kumimoji="0" lang="fr-FR" sz="1200" b="0" i="0" u="none" strike="noStrike" kern="0" cap="none" spc="0" normalizeH="0" baseline="0" noProof="0" dirty="0" err="1" smtClean="0">
                <a:ln>
                  <a:noFill/>
                </a:ln>
                <a:solidFill>
                  <a:srgbClr val="FFFFFF"/>
                </a:solidFill>
                <a:effectLst/>
                <a:uLnTx/>
                <a:uFillTx/>
                <a:latin typeface="Arial"/>
                <a:ea typeface="+mn-ea"/>
                <a:cs typeface="+mn-cs"/>
              </a:rPr>
              <a:t>Cli</a:t>
            </a:r>
            <a:r>
              <a:rPr kumimoji="0" lang="fr-FR" sz="1200" b="0" i="0" u="none" strike="noStrike" kern="0" cap="none" spc="0" normalizeH="0" baseline="0" noProof="0" dirty="0" smtClean="0">
                <a:ln>
                  <a:noFill/>
                </a:ln>
                <a:solidFill>
                  <a:srgbClr val="FFFFFF"/>
                </a:solidFill>
                <a:effectLst/>
                <a:uLnTx/>
                <a:uFillTx/>
                <a:latin typeface="Arial"/>
                <a:ea typeface="+mn-ea"/>
                <a:cs typeface="+mn-cs"/>
              </a:rPr>
              <a:t>. 3</a:t>
            </a:r>
          </a:p>
        </p:txBody>
      </p:sp>
      <p:sp>
        <p:nvSpPr>
          <p:cNvPr id="120" name="Can 119"/>
          <p:cNvSpPr/>
          <p:nvPr/>
        </p:nvSpPr>
        <p:spPr>
          <a:xfrm>
            <a:off x="4241221" y="5029348"/>
            <a:ext cx="546212" cy="693644"/>
          </a:xfrm>
          <a:prstGeom prst="can">
            <a:avLst/>
          </a:prstGeom>
          <a:solidFill>
            <a:srgbClr val="0072C6"/>
          </a:solidFill>
          <a:ln w="25400" cap="flat" cmpd="sng" algn="ctr">
            <a:solidFill>
              <a:srgbClr val="0072C6">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23863" eaLnBrk="1" fontAlgn="auto" latinLnBrk="0" hangingPunct="1">
              <a:lnSpc>
                <a:spcPct val="100000"/>
              </a:lnSpc>
              <a:spcBef>
                <a:spcPts val="0"/>
              </a:spcBef>
              <a:spcAft>
                <a:spcPts val="0"/>
              </a:spcAft>
              <a:buClrTx/>
              <a:buSzTx/>
              <a:buFontTx/>
              <a:buNone/>
              <a:tabLst/>
              <a:defRPr/>
            </a:pPr>
            <a:r>
              <a:rPr kumimoji="0" lang="fr-FR" sz="1200" b="0" i="0" u="none" strike="noStrike" kern="0" cap="none" spc="0" normalizeH="0" baseline="0" noProof="0" dirty="0" err="1" smtClean="0">
                <a:ln>
                  <a:noFill/>
                </a:ln>
                <a:solidFill>
                  <a:srgbClr val="FFFFFF"/>
                </a:solidFill>
                <a:effectLst/>
                <a:uLnTx/>
                <a:uFillTx/>
                <a:latin typeface="Arial"/>
                <a:ea typeface="+mn-ea"/>
                <a:cs typeface="+mn-cs"/>
              </a:rPr>
              <a:t>Cli</a:t>
            </a:r>
            <a:r>
              <a:rPr kumimoji="0" lang="fr-FR" sz="1200" b="0" i="0" u="none" strike="noStrike" kern="0" cap="none" spc="0" normalizeH="0" baseline="0" noProof="0" dirty="0" smtClean="0">
                <a:ln>
                  <a:noFill/>
                </a:ln>
                <a:solidFill>
                  <a:srgbClr val="FFFFFF"/>
                </a:solidFill>
                <a:effectLst/>
                <a:uLnTx/>
                <a:uFillTx/>
                <a:latin typeface="Arial"/>
                <a:ea typeface="+mn-ea"/>
                <a:cs typeface="+mn-cs"/>
              </a:rPr>
              <a:t>. 4</a:t>
            </a:r>
          </a:p>
        </p:txBody>
      </p:sp>
      <p:sp>
        <p:nvSpPr>
          <p:cNvPr id="121" name="Can 120"/>
          <p:cNvSpPr/>
          <p:nvPr/>
        </p:nvSpPr>
        <p:spPr>
          <a:xfrm>
            <a:off x="2938374" y="5029348"/>
            <a:ext cx="563401" cy="693644"/>
          </a:xfrm>
          <a:prstGeom prst="can">
            <a:avLst/>
          </a:prstGeom>
          <a:solidFill>
            <a:srgbClr val="0072C6"/>
          </a:solidFill>
          <a:ln w="25400" cap="flat" cmpd="sng" algn="ctr">
            <a:solidFill>
              <a:srgbClr val="0072C6">
                <a:lumMod val="75000"/>
              </a:srgbClr>
            </a:solidFill>
            <a:prstDash val="solid"/>
          </a:ln>
          <a:effectLst/>
        </p:spPr>
        <p:txBody>
          <a:bodyPr lIns="0" tIns="0" rIns="0" bIns="0" rtlCol="0" anchor="ctr"/>
          <a:lstStyle/>
          <a:p>
            <a:pPr marL="0" marR="0" lvl="0" indent="0" algn="ctr" defTabSz="623863" eaLnBrk="1" fontAlgn="auto" latinLnBrk="0" hangingPunct="1">
              <a:lnSpc>
                <a:spcPct val="100000"/>
              </a:lnSpc>
              <a:spcBef>
                <a:spcPts val="0"/>
              </a:spcBef>
              <a:spcAft>
                <a:spcPts val="0"/>
              </a:spcAft>
              <a:buClrTx/>
              <a:buSzTx/>
              <a:buFontTx/>
              <a:buNone/>
              <a:tabLst/>
              <a:defRPr/>
            </a:pPr>
            <a:r>
              <a:rPr kumimoji="0" lang="fr-FR" sz="1200" b="0" i="0" u="none" strike="noStrike" kern="0" cap="none" spc="0" normalizeH="0" baseline="0" noProof="0" dirty="0" err="1" smtClean="0">
                <a:ln>
                  <a:noFill/>
                </a:ln>
                <a:solidFill>
                  <a:srgbClr val="FFFFFF"/>
                </a:solidFill>
                <a:effectLst/>
                <a:uLnTx/>
                <a:uFillTx/>
                <a:latin typeface="Arial"/>
                <a:ea typeface="+mn-ea"/>
                <a:cs typeface="+mn-cs"/>
              </a:rPr>
              <a:t>Cli</a:t>
            </a:r>
            <a:r>
              <a:rPr kumimoji="0" lang="fr-FR" sz="1200" b="0" i="0" u="none" strike="noStrike" kern="0" cap="none" spc="0" normalizeH="0" baseline="0" noProof="0" dirty="0" smtClean="0">
                <a:ln>
                  <a:noFill/>
                </a:ln>
                <a:solidFill>
                  <a:srgbClr val="FFFFFF"/>
                </a:solidFill>
                <a:effectLst/>
                <a:uLnTx/>
                <a:uFillTx/>
                <a:latin typeface="Arial"/>
                <a:ea typeface="+mn-ea"/>
                <a:cs typeface="+mn-cs"/>
              </a:rPr>
              <a:t>. 2</a:t>
            </a:r>
          </a:p>
        </p:txBody>
      </p:sp>
      <p:sp>
        <p:nvSpPr>
          <p:cNvPr id="122" name="Can 121"/>
          <p:cNvSpPr/>
          <p:nvPr/>
        </p:nvSpPr>
        <p:spPr>
          <a:xfrm>
            <a:off x="2286951" y="5029348"/>
            <a:ext cx="563401" cy="693644"/>
          </a:xfrm>
          <a:prstGeom prst="can">
            <a:avLst/>
          </a:prstGeom>
          <a:solidFill>
            <a:srgbClr val="0072C6"/>
          </a:solidFill>
          <a:ln w="25400" cap="flat" cmpd="sng" algn="ctr">
            <a:solidFill>
              <a:srgbClr val="0072C6">
                <a:lumMod val="75000"/>
              </a:srgbClr>
            </a:solidFill>
            <a:prstDash val="solid"/>
          </a:ln>
          <a:effectLst/>
        </p:spPr>
        <p:txBody>
          <a:bodyPr lIns="0" tIns="0" rIns="0" bIns="0" rtlCol="0" anchor="ctr"/>
          <a:lstStyle/>
          <a:p>
            <a:pPr marL="0" marR="0" lvl="0" indent="0" algn="ctr" defTabSz="623863" eaLnBrk="1" fontAlgn="auto" latinLnBrk="0" hangingPunct="1">
              <a:lnSpc>
                <a:spcPct val="100000"/>
              </a:lnSpc>
              <a:spcBef>
                <a:spcPts val="0"/>
              </a:spcBef>
              <a:spcAft>
                <a:spcPts val="0"/>
              </a:spcAft>
              <a:buClrTx/>
              <a:buSzTx/>
              <a:buFontTx/>
              <a:buNone/>
              <a:tabLst/>
              <a:defRPr/>
            </a:pPr>
            <a:r>
              <a:rPr kumimoji="0" lang="fr-FR" sz="1200" b="0" i="0" u="none" strike="noStrike" kern="0" cap="none" spc="0" normalizeH="0" baseline="0" noProof="0" dirty="0" err="1" smtClean="0">
                <a:ln>
                  <a:noFill/>
                </a:ln>
                <a:solidFill>
                  <a:srgbClr val="FFFFFF"/>
                </a:solidFill>
                <a:effectLst/>
                <a:uLnTx/>
                <a:uFillTx/>
                <a:latin typeface="Arial"/>
                <a:ea typeface="+mn-ea"/>
                <a:cs typeface="+mn-cs"/>
              </a:rPr>
              <a:t>Cli</a:t>
            </a:r>
            <a:r>
              <a:rPr kumimoji="0" lang="fr-FR" sz="1200" b="0" i="0" u="none" strike="noStrike" kern="0" cap="none" spc="0" normalizeH="0" baseline="0" noProof="0" dirty="0" smtClean="0">
                <a:ln>
                  <a:noFill/>
                </a:ln>
                <a:solidFill>
                  <a:srgbClr val="FFFFFF"/>
                </a:solidFill>
                <a:effectLst/>
                <a:uLnTx/>
                <a:uFillTx/>
                <a:latin typeface="Arial"/>
                <a:ea typeface="+mn-ea"/>
                <a:cs typeface="+mn-cs"/>
              </a:rPr>
              <a:t>. 1</a:t>
            </a:r>
          </a:p>
        </p:txBody>
      </p:sp>
      <p:cxnSp>
        <p:nvCxnSpPr>
          <p:cNvPr id="123" name="Straight Arrow Connector 122"/>
          <p:cNvCxnSpPr/>
          <p:nvPr/>
        </p:nvCxnSpPr>
        <p:spPr>
          <a:xfrm flipH="1">
            <a:off x="3943244" y="3079339"/>
            <a:ext cx="1339651" cy="1950009"/>
          </a:xfrm>
          <a:prstGeom prst="straightConnector1">
            <a:avLst/>
          </a:prstGeom>
          <a:noFill/>
          <a:ln w="28575" cap="flat" cmpd="sng" algn="ctr">
            <a:solidFill>
              <a:srgbClr val="0072C6">
                <a:lumMod val="75000"/>
              </a:srgbClr>
            </a:solidFill>
            <a:prstDash val="solid"/>
            <a:tailEnd type="triangle" w="lg" len="lg"/>
          </a:ln>
          <a:effectLst/>
        </p:spPr>
      </p:cxnSp>
      <p:cxnSp>
        <p:nvCxnSpPr>
          <p:cNvPr id="124" name="Straight Arrow Connector 123"/>
          <p:cNvCxnSpPr/>
          <p:nvPr/>
        </p:nvCxnSpPr>
        <p:spPr>
          <a:xfrm flipH="1">
            <a:off x="3291820" y="3079339"/>
            <a:ext cx="1867696" cy="1950009"/>
          </a:xfrm>
          <a:prstGeom prst="straightConnector1">
            <a:avLst/>
          </a:prstGeom>
          <a:noFill/>
          <a:ln w="28575" cap="flat" cmpd="sng" algn="ctr">
            <a:solidFill>
              <a:srgbClr val="0072C6">
                <a:lumMod val="75000"/>
              </a:srgbClr>
            </a:solidFill>
            <a:prstDash val="solid"/>
            <a:tailEnd type="triangle" w="lg" len="lg"/>
          </a:ln>
          <a:effectLst/>
        </p:spPr>
      </p:cxnSp>
      <p:cxnSp>
        <p:nvCxnSpPr>
          <p:cNvPr id="125" name="Straight Arrow Connector 124"/>
          <p:cNvCxnSpPr/>
          <p:nvPr/>
        </p:nvCxnSpPr>
        <p:spPr>
          <a:xfrm>
            <a:off x="5559156" y="3079339"/>
            <a:ext cx="197819" cy="1950009"/>
          </a:xfrm>
          <a:prstGeom prst="straightConnector1">
            <a:avLst/>
          </a:prstGeom>
          <a:noFill/>
          <a:ln w="28575" cap="flat" cmpd="sng" algn="ctr">
            <a:solidFill>
              <a:srgbClr val="0072C6">
                <a:lumMod val="75000"/>
              </a:srgbClr>
            </a:solidFill>
            <a:prstDash val="solid"/>
            <a:tailEnd type="triangle" w="lg" len="lg"/>
          </a:ln>
          <a:effectLst/>
        </p:spPr>
      </p:cxnSp>
      <p:cxnSp>
        <p:nvCxnSpPr>
          <p:cNvPr id="126" name="Straight Arrow Connector 125"/>
          <p:cNvCxnSpPr/>
          <p:nvPr/>
        </p:nvCxnSpPr>
        <p:spPr>
          <a:xfrm>
            <a:off x="5725816" y="1557386"/>
            <a:ext cx="0" cy="712221"/>
          </a:xfrm>
          <a:prstGeom prst="straightConnector1">
            <a:avLst/>
          </a:prstGeom>
          <a:noFill/>
          <a:ln w="28575" cap="flat" cmpd="sng" algn="ctr">
            <a:solidFill>
              <a:srgbClr val="0072C6">
                <a:lumMod val="75000"/>
              </a:srgbClr>
            </a:solidFill>
            <a:prstDash val="solid"/>
            <a:tailEnd type="triangle" w="lg" len="lg"/>
          </a:ln>
          <a:effectLst/>
        </p:spPr>
      </p:cxnSp>
      <p:cxnSp>
        <p:nvCxnSpPr>
          <p:cNvPr id="127" name="Straight Arrow Connector 126"/>
          <p:cNvCxnSpPr/>
          <p:nvPr/>
        </p:nvCxnSpPr>
        <p:spPr>
          <a:xfrm>
            <a:off x="6083649" y="1557386"/>
            <a:ext cx="0" cy="712221"/>
          </a:xfrm>
          <a:prstGeom prst="straightConnector1">
            <a:avLst/>
          </a:prstGeom>
          <a:noFill/>
          <a:ln w="28575" cap="flat" cmpd="sng" algn="ctr">
            <a:solidFill>
              <a:srgbClr val="0072C6">
                <a:lumMod val="75000"/>
              </a:srgbClr>
            </a:solidFill>
            <a:prstDash val="solid"/>
            <a:tailEnd type="triangle" w="lg" len="lg"/>
          </a:ln>
          <a:effectLst/>
        </p:spPr>
      </p:cxnSp>
      <p:cxnSp>
        <p:nvCxnSpPr>
          <p:cNvPr id="128" name="Straight Arrow Connector 127"/>
          <p:cNvCxnSpPr/>
          <p:nvPr/>
        </p:nvCxnSpPr>
        <p:spPr>
          <a:xfrm>
            <a:off x="5010148" y="1557386"/>
            <a:ext cx="0" cy="712221"/>
          </a:xfrm>
          <a:prstGeom prst="straightConnector1">
            <a:avLst/>
          </a:prstGeom>
          <a:noFill/>
          <a:ln w="28575" cap="flat" cmpd="sng" algn="ctr">
            <a:solidFill>
              <a:srgbClr val="0072C6">
                <a:lumMod val="75000"/>
              </a:srgbClr>
            </a:solidFill>
            <a:prstDash val="solid"/>
            <a:tailEnd type="triangle" w="lg" len="lg"/>
          </a:ln>
          <a:effectLst/>
        </p:spPr>
      </p:cxnSp>
      <p:cxnSp>
        <p:nvCxnSpPr>
          <p:cNvPr id="129" name="Straight Arrow Connector 128"/>
          <p:cNvCxnSpPr/>
          <p:nvPr/>
        </p:nvCxnSpPr>
        <p:spPr>
          <a:xfrm>
            <a:off x="5367982" y="1557386"/>
            <a:ext cx="0" cy="712221"/>
          </a:xfrm>
          <a:prstGeom prst="straightConnector1">
            <a:avLst/>
          </a:prstGeom>
          <a:noFill/>
          <a:ln w="28575" cap="flat" cmpd="sng" algn="ctr">
            <a:solidFill>
              <a:srgbClr val="0072C6">
                <a:lumMod val="75000"/>
              </a:srgbClr>
            </a:solidFill>
            <a:prstDash val="solid"/>
            <a:tailEnd type="triangle" w="lg" len="lg"/>
          </a:ln>
          <a:effectLst/>
        </p:spPr>
      </p:cxnSp>
      <p:sp>
        <p:nvSpPr>
          <p:cNvPr id="130" name="Can 129"/>
          <p:cNvSpPr/>
          <p:nvPr/>
        </p:nvSpPr>
        <p:spPr>
          <a:xfrm>
            <a:off x="3502605" y="5105716"/>
            <a:ext cx="563401" cy="693644"/>
          </a:xfrm>
          <a:prstGeom prst="can">
            <a:avLst/>
          </a:prstGeom>
          <a:solidFill>
            <a:srgbClr val="0072C6"/>
          </a:solidFill>
          <a:ln w="25400" cap="flat" cmpd="sng" algn="ctr">
            <a:solidFill>
              <a:srgbClr val="0072C6">
                <a:lumMod val="75000"/>
              </a:srgbClr>
            </a:solidFill>
            <a:prstDash val="solid"/>
          </a:ln>
          <a:effectLst/>
        </p:spPr>
        <p:txBody>
          <a:bodyPr lIns="0" tIns="0" rIns="0" bIns="0" rtlCol="0" anchor="ctr"/>
          <a:lstStyle/>
          <a:p>
            <a:pPr marL="0" marR="0" lvl="0" indent="0" algn="ctr" defTabSz="623863" eaLnBrk="1" fontAlgn="auto" latinLnBrk="0" hangingPunct="1">
              <a:lnSpc>
                <a:spcPct val="100000"/>
              </a:lnSpc>
              <a:spcBef>
                <a:spcPts val="0"/>
              </a:spcBef>
              <a:spcAft>
                <a:spcPts val="0"/>
              </a:spcAft>
              <a:buClrTx/>
              <a:buSzTx/>
              <a:buFontTx/>
              <a:buNone/>
              <a:tabLst/>
              <a:defRPr/>
            </a:pPr>
            <a:endParaRPr kumimoji="0" lang="fr-FR" sz="1200"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131" name="Can 130"/>
          <p:cNvSpPr/>
          <p:nvPr/>
        </p:nvSpPr>
        <p:spPr>
          <a:xfrm>
            <a:off x="4154029" y="5105716"/>
            <a:ext cx="546212" cy="693644"/>
          </a:xfrm>
          <a:prstGeom prst="can">
            <a:avLst/>
          </a:prstGeom>
          <a:solidFill>
            <a:srgbClr val="0072C6"/>
          </a:solidFill>
          <a:ln w="25400" cap="flat" cmpd="sng" algn="ctr">
            <a:solidFill>
              <a:srgbClr val="0072C6">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23863" eaLnBrk="1" fontAlgn="auto" latinLnBrk="0" hangingPunct="1">
              <a:lnSpc>
                <a:spcPct val="100000"/>
              </a:lnSpc>
              <a:spcBef>
                <a:spcPts val="0"/>
              </a:spcBef>
              <a:spcAft>
                <a:spcPts val="0"/>
              </a:spcAft>
              <a:buClrTx/>
              <a:buSzTx/>
              <a:buFontTx/>
              <a:buNone/>
              <a:tabLst/>
              <a:defRPr/>
            </a:pPr>
            <a:endParaRPr kumimoji="0" lang="fr-FR" sz="1200"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132" name="Can 131"/>
          <p:cNvSpPr/>
          <p:nvPr/>
        </p:nvSpPr>
        <p:spPr>
          <a:xfrm>
            <a:off x="2851182" y="5105716"/>
            <a:ext cx="563401" cy="693644"/>
          </a:xfrm>
          <a:prstGeom prst="can">
            <a:avLst/>
          </a:prstGeom>
          <a:solidFill>
            <a:srgbClr val="0072C6"/>
          </a:solidFill>
          <a:ln w="25400" cap="flat" cmpd="sng" algn="ctr">
            <a:solidFill>
              <a:srgbClr val="0072C6">
                <a:lumMod val="75000"/>
              </a:srgbClr>
            </a:solidFill>
            <a:prstDash val="solid"/>
          </a:ln>
          <a:effectLst/>
        </p:spPr>
        <p:txBody>
          <a:bodyPr lIns="0" tIns="0" rIns="0" bIns="0" rtlCol="0" anchor="ctr"/>
          <a:lstStyle/>
          <a:p>
            <a:pPr marL="0" marR="0" lvl="0" indent="0" algn="ctr" defTabSz="623863" eaLnBrk="1" fontAlgn="auto" latinLnBrk="0" hangingPunct="1">
              <a:lnSpc>
                <a:spcPct val="100000"/>
              </a:lnSpc>
              <a:spcBef>
                <a:spcPts val="0"/>
              </a:spcBef>
              <a:spcAft>
                <a:spcPts val="0"/>
              </a:spcAft>
              <a:buClrTx/>
              <a:buSzTx/>
              <a:buFontTx/>
              <a:buNone/>
              <a:tabLst/>
              <a:defRPr/>
            </a:pPr>
            <a:endParaRPr kumimoji="0" lang="fr-FR" sz="1200"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133" name="Can 132"/>
          <p:cNvSpPr/>
          <p:nvPr/>
        </p:nvSpPr>
        <p:spPr>
          <a:xfrm>
            <a:off x="2199758" y="5105716"/>
            <a:ext cx="563401" cy="693644"/>
          </a:xfrm>
          <a:prstGeom prst="can">
            <a:avLst/>
          </a:prstGeom>
          <a:solidFill>
            <a:srgbClr val="0072C6"/>
          </a:solidFill>
          <a:ln w="25400" cap="flat" cmpd="sng" algn="ctr">
            <a:solidFill>
              <a:srgbClr val="0072C6">
                <a:lumMod val="75000"/>
              </a:srgbClr>
            </a:solidFill>
            <a:prstDash val="solid"/>
          </a:ln>
          <a:effectLst/>
        </p:spPr>
        <p:txBody>
          <a:bodyPr lIns="0" tIns="0" rIns="0" bIns="0" rtlCol="0" anchor="ctr"/>
          <a:lstStyle/>
          <a:p>
            <a:pPr marL="0" marR="0" lvl="0" indent="0" algn="ctr" defTabSz="623863" eaLnBrk="1" fontAlgn="auto" latinLnBrk="0" hangingPunct="1">
              <a:lnSpc>
                <a:spcPct val="100000"/>
              </a:lnSpc>
              <a:spcBef>
                <a:spcPts val="0"/>
              </a:spcBef>
              <a:spcAft>
                <a:spcPts val="0"/>
              </a:spcAft>
              <a:buClrTx/>
              <a:buSzTx/>
              <a:buFontTx/>
              <a:buNone/>
              <a:tabLst/>
              <a:defRPr/>
            </a:pPr>
            <a:r>
              <a:rPr kumimoji="0" lang="fr-FR" sz="1200" b="0" i="0" u="none" strike="noStrike" kern="0" cap="none" spc="0" normalizeH="0" baseline="0" noProof="0" dirty="0" err="1" smtClean="0">
                <a:ln>
                  <a:noFill/>
                </a:ln>
                <a:solidFill>
                  <a:srgbClr val="FFFFFF"/>
                </a:solidFill>
                <a:effectLst/>
                <a:uLnTx/>
                <a:uFillTx/>
                <a:latin typeface="Arial"/>
                <a:ea typeface="+mn-ea"/>
                <a:cs typeface="+mn-cs"/>
              </a:rPr>
              <a:t>Cli</a:t>
            </a:r>
            <a:r>
              <a:rPr kumimoji="0" lang="fr-FR" sz="1200" b="0" i="0" u="none" strike="noStrike" kern="0" cap="none" spc="0" normalizeH="0" baseline="0" noProof="0" dirty="0" smtClean="0">
                <a:ln>
                  <a:noFill/>
                </a:ln>
                <a:solidFill>
                  <a:srgbClr val="FFFFFF"/>
                </a:solidFill>
                <a:effectLst/>
                <a:uLnTx/>
                <a:uFillTx/>
                <a:latin typeface="Arial"/>
                <a:ea typeface="+mn-ea"/>
                <a:cs typeface="+mn-cs"/>
              </a:rPr>
              <a:t>. 9</a:t>
            </a:r>
          </a:p>
        </p:txBody>
      </p:sp>
      <p:sp>
        <p:nvSpPr>
          <p:cNvPr id="134" name="Can 133"/>
          <p:cNvSpPr/>
          <p:nvPr/>
        </p:nvSpPr>
        <p:spPr>
          <a:xfrm>
            <a:off x="3379843" y="5202400"/>
            <a:ext cx="563401" cy="693644"/>
          </a:xfrm>
          <a:prstGeom prst="can">
            <a:avLst/>
          </a:prstGeom>
          <a:solidFill>
            <a:srgbClr val="0072C6"/>
          </a:solidFill>
          <a:ln w="25400" cap="flat" cmpd="sng" algn="ctr">
            <a:solidFill>
              <a:srgbClr val="0072C6">
                <a:lumMod val="75000"/>
              </a:srgbClr>
            </a:solidFill>
            <a:prstDash val="solid"/>
          </a:ln>
          <a:effectLst/>
        </p:spPr>
        <p:txBody>
          <a:bodyPr lIns="0" tIns="0" rIns="0" bIns="0" rtlCol="0" anchor="ctr"/>
          <a:lstStyle/>
          <a:p>
            <a:pPr marL="0" marR="0" lvl="0" indent="0" algn="ctr" defTabSz="623863" eaLnBrk="1" fontAlgn="auto" latinLnBrk="0" hangingPunct="1">
              <a:lnSpc>
                <a:spcPct val="100000"/>
              </a:lnSpc>
              <a:spcBef>
                <a:spcPts val="0"/>
              </a:spcBef>
              <a:spcAft>
                <a:spcPts val="0"/>
              </a:spcAft>
              <a:buClrTx/>
              <a:buSzTx/>
              <a:buFontTx/>
              <a:buNone/>
              <a:tabLst/>
              <a:defRPr/>
            </a:pPr>
            <a:r>
              <a:rPr kumimoji="0" lang="fr-FR" sz="1200" b="0" i="0" u="none" strike="noStrike" kern="0" cap="none" spc="0" normalizeH="0" baseline="0" noProof="0" dirty="0" err="1" smtClean="0">
                <a:ln>
                  <a:noFill/>
                </a:ln>
                <a:solidFill>
                  <a:srgbClr val="FFFFFF"/>
                </a:solidFill>
                <a:effectLst/>
                <a:uLnTx/>
                <a:uFillTx/>
                <a:latin typeface="Arial"/>
                <a:ea typeface="+mn-ea"/>
                <a:cs typeface="+mn-cs"/>
              </a:rPr>
              <a:t>Cli</a:t>
            </a:r>
            <a:r>
              <a:rPr kumimoji="0" lang="fr-FR" sz="1200" b="0" i="0" u="none" strike="noStrike" kern="0" cap="none" spc="0" normalizeH="0" baseline="0" noProof="0" dirty="0" smtClean="0">
                <a:ln>
                  <a:noFill/>
                </a:ln>
                <a:solidFill>
                  <a:srgbClr val="FFFFFF"/>
                </a:solidFill>
                <a:effectLst/>
                <a:uLnTx/>
                <a:uFillTx/>
                <a:latin typeface="Arial"/>
                <a:ea typeface="+mn-ea"/>
                <a:cs typeface="+mn-cs"/>
              </a:rPr>
              <a:t>. 3</a:t>
            </a:r>
          </a:p>
        </p:txBody>
      </p:sp>
      <p:sp>
        <p:nvSpPr>
          <p:cNvPr id="135" name="Can 134"/>
          <p:cNvSpPr/>
          <p:nvPr/>
        </p:nvSpPr>
        <p:spPr>
          <a:xfrm>
            <a:off x="4031266" y="5202400"/>
            <a:ext cx="546212" cy="693644"/>
          </a:xfrm>
          <a:prstGeom prst="can">
            <a:avLst/>
          </a:prstGeom>
          <a:solidFill>
            <a:srgbClr val="0072C6"/>
          </a:solidFill>
          <a:ln w="25400" cap="flat" cmpd="sng" algn="ctr">
            <a:solidFill>
              <a:srgbClr val="0072C6">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23863" eaLnBrk="1" fontAlgn="auto" latinLnBrk="0" hangingPunct="1">
              <a:lnSpc>
                <a:spcPct val="100000"/>
              </a:lnSpc>
              <a:spcBef>
                <a:spcPts val="0"/>
              </a:spcBef>
              <a:spcAft>
                <a:spcPts val="0"/>
              </a:spcAft>
              <a:buClrTx/>
              <a:buSzTx/>
              <a:buFontTx/>
              <a:buNone/>
              <a:tabLst/>
              <a:defRPr/>
            </a:pPr>
            <a:r>
              <a:rPr kumimoji="0" lang="fr-FR" sz="1200" b="0" i="0" u="none" strike="noStrike" kern="0" cap="none" spc="0" normalizeH="0" baseline="0" noProof="0" dirty="0" err="1" smtClean="0">
                <a:ln>
                  <a:noFill/>
                </a:ln>
                <a:solidFill>
                  <a:srgbClr val="FFFFFF"/>
                </a:solidFill>
                <a:effectLst/>
                <a:uLnTx/>
                <a:uFillTx/>
                <a:latin typeface="Arial"/>
                <a:ea typeface="+mn-ea"/>
                <a:cs typeface="+mn-cs"/>
              </a:rPr>
              <a:t>Cli</a:t>
            </a:r>
            <a:r>
              <a:rPr kumimoji="0" lang="fr-FR" sz="1200" b="0" i="0" u="none" strike="noStrike" kern="0" cap="none" spc="0" normalizeH="0" baseline="0" noProof="0" dirty="0" smtClean="0">
                <a:ln>
                  <a:noFill/>
                </a:ln>
                <a:solidFill>
                  <a:srgbClr val="FFFFFF"/>
                </a:solidFill>
                <a:effectLst/>
                <a:uLnTx/>
                <a:uFillTx/>
                <a:latin typeface="Arial"/>
                <a:ea typeface="+mn-ea"/>
                <a:cs typeface="+mn-cs"/>
              </a:rPr>
              <a:t>. 4</a:t>
            </a:r>
          </a:p>
        </p:txBody>
      </p:sp>
      <p:sp>
        <p:nvSpPr>
          <p:cNvPr id="136" name="Can 135"/>
          <p:cNvSpPr/>
          <p:nvPr/>
        </p:nvSpPr>
        <p:spPr>
          <a:xfrm>
            <a:off x="2199758" y="5105716"/>
            <a:ext cx="563401" cy="693644"/>
          </a:xfrm>
          <a:prstGeom prst="can">
            <a:avLst/>
          </a:prstGeom>
          <a:solidFill>
            <a:srgbClr val="0072C6"/>
          </a:solidFill>
          <a:ln w="25400" cap="flat" cmpd="sng" algn="ctr">
            <a:solidFill>
              <a:srgbClr val="0072C6">
                <a:lumMod val="75000"/>
              </a:srgbClr>
            </a:solidFill>
            <a:prstDash val="solid"/>
          </a:ln>
          <a:effectLst/>
        </p:spPr>
        <p:txBody>
          <a:bodyPr lIns="0" tIns="0" rIns="0" bIns="0" rtlCol="0" anchor="ctr"/>
          <a:lstStyle/>
          <a:p>
            <a:pPr marL="0" marR="0" lvl="0" indent="0" algn="ctr" defTabSz="623863" eaLnBrk="1" fontAlgn="auto" latinLnBrk="0" hangingPunct="1">
              <a:lnSpc>
                <a:spcPct val="100000"/>
              </a:lnSpc>
              <a:spcBef>
                <a:spcPts val="0"/>
              </a:spcBef>
              <a:spcAft>
                <a:spcPts val="0"/>
              </a:spcAft>
              <a:buClrTx/>
              <a:buSzTx/>
              <a:buFontTx/>
              <a:buNone/>
              <a:tabLst/>
              <a:defRPr/>
            </a:pPr>
            <a:r>
              <a:rPr kumimoji="0" lang="fr-FR" sz="1200" b="0" i="0" u="none" strike="noStrike" kern="0" cap="none" spc="0" normalizeH="0" baseline="0" noProof="0" dirty="0" err="1" smtClean="0">
                <a:ln>
                  <a:noFill/>
                </a:ln>
                <a:solidFill>
                  <a:srgbClr val="FFFFFF"/>
                </a:solidFill>
                <a:effectLst/>
                <a:uLnTx/>
                <a:uFillTx/>
                <a:latin typeface="Arial"/>
                <a:ea typeface="+mn-ea"/>
                <a:cs typeface="+mn-cs"/>
              </a:rPr>
              <a:t>Cli</a:t>
            </a:r>
            <a:r>
              <a:rPr kumimoji="0" lang="fr-FR" sz="1200" b="0" i="0" u="none" strike="noStrike" kern="0" cap="none" spc="0" normalizeH="0" baseline="0" noProof="0" dirty="0" smtClean="0">
                <a:ln>
                  <a:noFill/>
                </a:ln>
                <a:solidFill>
                  <a:srgbClr val="FFFFFF"/>
                </a:solidFill>
                <a:effectLst/>
                <a:uLnTx/>
                <a:uFillTx/>
                <a:latin typeface="Arial"/>
                <a:ea typeface="+mn-ea"/>
                <a:cs typeface="+mn-cs"/>
              </a:rPr>
              <a:t>. 9</a:t>
            </a:r>
          </a:p>
        </p:txBody>
      </p:sp>
      <p:sp>
        <p:nvSpPr>
          <p:cNvPr id="137" name="Can 136"/>
          <p:cNvSpPr/>
          <p:nvPr/>
        </p:nvSpPr>
        <p:spPr>
          <a:xfrm>
            <a:off x="2076996" y="5202400"/>
            <a:ext cx="563401" cy="693644"/>
          </a:xfrm>
          <a:prstGeom prst="can">
            <a:avLst/>
          </a:prstGeom>
          <a:solidFill>
            <a:srgbClr val="0072C6"/>
          </a:solidFill>
          <a:ln w="25400" cap="flat" cmpd="sng" algn="ctr">
            <a:solidFill>
              <a:srgbClr val="0072C6">
                <a:lumMod val="75000"/>
              </a:srgbClr>
            </a:solidFill>
            <a:prstDash val="solid"/>
          </a:ln>
          <a:effectLst/>
        </p:spPr>
        <p:txBody>
          <a:bodyPr lIns="0" tIns="0" rIns="0" bIns="0" rtlCol="0" anchor="ctr"/>
          <a:lstStyle/>
          <a:p>
            <a:pPr marL="0" marR="0" lvl="0" indent="0" algn="ctr" defTabSz="623863" eaLnBrk="1" fontAlgn="auto" latinLnBrk="0" hangingPunct="1">
              <a:lnSpc>
                <a:spcPct val="100000"/>
              </a:lnSpc>
              <a:spcBef>
                <a:spcPts val="0"/>
              </a:spcBef>
              <a:spcAft>
                <a:spcPts val="0"/>
              </a:spcAft>
              <a:buClrTx/>
              <a:buSzTx/>
              <a:buFontTx/>
              <a:buNone/>
              <a:tabLst/>
              <a:defRPr/>
            </a:pPr>
            <a:r>
              <a:rPr kumimoji="0" lang="fr-FR" sz="1200" b="0" i="0" u="none" strike="noStrike" kern="0" cap="none" spc="0" normalizeH="0" baseline="0" noProof="0" dirty="0" err="1" smtClean="0">
                <a:ln>
                  <a:noFill/>
                </a:ln>
                <a:solidFill>
                  <a:srgbClr val="FFFFFF"/>
                </a:solidFill>
                <a:effectLst/>
                <a:uLnTx/>
                <a:uFillTx/>
                <a:latin typeface="Arial"/>
                <a:ea typeface="+mn-ea"/>
                <a:cs typeface="+mn-cs"/>
              </a:rPr>
              <a:t>Cli</a:t>
            </a:r>
            <a:r>
              <a:rPr kumimoji="0" lang="fr-FR" sz="1200" b="0" i="0" u="none" strike="noStrike" kern="0" cap="none" spc="0" normalizeH="0" baseline="0" noProof="0" dirty="0" smtClean="0">
                <a:ln>
                  <a:noFill/>
                </a:ln>
                <a:solidFill>
                  <a:srgbClr val="FFFFFF"/>
                </a:solidFill>
                <a:effectLst/>
                <a:uLnTx/>
                <a:uFillTx/>
                <a:latin typeface="Arial"/>
                <a:ea typeface="+mn-ea"/>
                <a:cs typeface="+mn-cs"/>
              </a:rPr>
              <a:t>. 1</a:t>
            </a:r>
          </a:p>
        </p:txBody>
      </p:sp>
      <p:sp>
        <p:nvSpPr>
          <p:cNvPr id="138" name="TextBox 137"/>
          <p:cNvSpPr txBox="1"/>
          <p:nvPr/>
        </p:nvSpPr>
        <p:spPr>
          <a:xfrm>
            <a:off x="2728419" y="6016608"/>
            <a:ext cx="4592503" cy="469359"/>
          </a:xfrm>
          <a:prstGeom prst="rect">
            <a:avLst/>
          </a:prstGeom>
          <a:noFill/>
        </p:spPr>
        <p:txBody>
          <a:bodyPr wrap="square" rtlCol="0">
            <a:spAutoFit/>
          </a:bodyPr>
          <a:lstStyle/>
          <a:p>
            <a:pPr algn="ctr" defTabSz="623863"/>
            <a:r>
              <a:rPr lang="fr-FR" sz="2450" b="1" dirty="0" smtClean="0">
                <a:solidFill>
                  <a:srgbClr val="0072C6"/>
                </a:solidFill>
                <a:latin typeface="Arial"/>
              </a:rPr>
              <a:t>Bases de données client</a:t>
            </a:r>
            <a:endParaRPr lang="fr-FR" sz="2450" b="1" dirty="0">
              <a:solidFill>
                <a:srgbClr val="0072C6"/>
              </a:solidFill>
              <a:latin typeface="Arial"/>
            </a:endParaRPr>
          </a:p>
        </p:txBody>
      </p:sp>
      <p:sp>
        <p:nvSpPr>
          <p:cNvPr id="139" name="Can 138"/>
          <p:cNvSpPr/>
          <p:nvPr/>
        </p:nvSpPr>
        <p:spPr>
          <a:xfrm>
            <a:off x="2728419" y="5202400"/>
            <a:ext cx="563401" cy="693644"/>
          </a:xfrm>
          <a:prstGeom prst="can">
            <a:avLst/>
          </a:prstGeom>
          <a:solidFill>
            <a:srgbClr val="0072C6"/>
          </a:solidFill>
          <a:ln w="25400" cap="flat" cmpd="sng" algn="ctr">
            <a:solidFill>
              <a:srgbClr val="0072C6">
                <a:lumMod val="75000"/>
              </a:srgbClr>
            </a:solidFill>
            <a:prstDash val="solid"/>
          </a:ln>
          <a:effectLst/>
        </p:spPr>
        <p:txBody>
          <a:bodyPr lIns="0" tIns="0" rIns="0" bIns="0" rtlCol="0" anchor="ctr"/>
          <a:lstStyle/>
          <a:p>
            <a:pPr marL="0" marR="0" lvl="0" indent="0" algn="ctr" defTabSz="623863" eaLnBrk="1" fontAlgn="auto" latinLnBrk="0" hangingPunct="1">
              <a:lnSpc>
                <a:spcPct val="100000"/>
              </a:lnSpc>
              <a:spcBef>
                <a:spcPts val="0"/>
              </a:spcBef>
              <a:spcAft>
                <a:spcPts val="0"/>
              </a:spcAft>
              <a:buClrTx/>
              <a:buSzTx/>
              <a:buFontTx/>
              <a:buNone/>
              <a:tabLst/>
              <a:defRPr/>
            </a:pPr>
            <a:r>
              <a:rPr kumimoji="0" lang="fr-FR" sz="1200" b="0" i="0" u="none" strike="noStrike" kern="0" cap="none" spc="0" normalizeH="0" baseline="0" noProof="0" dirty="0" err="1" smtClean="0">
                <a:ln>
                  <a:noFill/>
                </a:ln>
                <a:solidFill>
                  <a:srgbClr val="FFFFFF"/>
                </a:solidFill>
                <a:effectLst/>
                <a:uLnTx/>
                <a:uFillTx/>
                <a:latin typeface="Arial"/>
                <a:ea typeface="+mn-ea"/>
                <a:cs typeface="+mn-cs"/>
              </a:rPr>
              <a:t>Cli</a:t>
            </a:r>
            <a:r>
              <a:rPr kumimoji="0" lang="fr-FR" sz="1200" b="0" i="0" u="none" strike="noStrike" kern="0" cap="none" spc="0" normalizeH="0" baseline="0" noProof="0" dirty="0" smtClean="0">
                <a:ln>
                  <a:noFill/>
                </a:ln>
                <a:solidFill>
                  <a:srgbClr val="FFFFFF"/>
                </a:solidFill>
                <a:effectLst/>
                <a:uLnTx/>
                <a:uFillTx/>
                <a:latin typeface="Arial"/>
                <a:ea typeface="+mn-ea"/>
                <a:cs typeface="+mn-cs"/>
              </a:rPr>
              <a:t>. 2</a:t>
            </a:r>
          </a:p>
        </p:txBody>
      </p:sp>
      <p:cxnSp>
        <p:nvCxnSpPr>
          <p:cNvPr id="140" name="Straight Connector 139"/>
          <p:cNvCxnSpPr/>
          <p:nvPr/>
        </p:nvCxnSpPr>
        <p:spPr>
          <a:xfrm>
            <a:off x="7455202" y="5523259"/>
            <a:ext cx="679205" cy="0"/>
          </a:xfrm>
          <a:prstGeom prst="line">
            <a:avLst/>
          </a:prstGeom>
          <a:noFill/>
          <a:ln w="38100" cap="flat" cmpd="sng" algn="ctr">
            <a:solidFill>
              <a:srgbClr val="0072C6">
                <a:lumMod val="75000"/>
              </a:srgbClr>
            </a:solidFill>
            <a:prstDash val="sysDot"/>
          </a:ln>
          <a:effectLst/>
        </p:spPr>
      </p:cxnSp>
      <p:sp>
        <p:nvSpPr>
          <p:cNvPr id="141" name="Can 140"/>
          <p:cNvSpPr/>
          <p:nvPr/>
        </p:nvSpPr>
        <p:spPr>
          <a:xfrm>
            <a:off x="8221526" y="5128629"/>
            <a:ext cx="546212" cy="693644"/>
          </a:xfrm>
          <a:prstGeom prst="can">
            <a:avLst/>
          </a:prstGeom>
          <a:solidFill>
            <a:srgbClr val="0072C6"/>
          </a:solidFill>
          <a:ln w="25400" cap="flat" cmpd="sng" algn="ctr">
            <a:solidFill>
              <a:srgbClr val="0072C6">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23863" eaLnBrk="1" fontAlgn="auto" latinLnBrk="0" hangingPunct="1">
              <a:lnSpc>
                <a:spcPct val="100000"/>
              </a:lnSpc>
              <a:spcBef>
                <a:spcPts val="0"/>
              </a:spcBef>
              <a:spcAft>
                <a:spcPts val="0"/>
              </a:spcAft>
              <a:buClrTx/>
              <a:buSzTx/>
              <a:buFontTx/>
              <a:buNone/>
              <a:tabLst/>
              <a:defRPr/>
            </a:pPr>
            <a:r>
              <a:rPr kumimoji="0" lang="fr-FR" sz="1200" b="0" i="0" u="none" strike="noStrike" kern="0" cap="none" spc="0" normalizeH="0" baseline="0" noProof="0" dirty="0" err="1" smtClean="0">
                <a:ln>
                  <a:noFill/>
                </a:ln>
                <a:solidFill>
                  <a:srgbClr val="FFFFFF"/>
                </a:solidFill>
                <a:effectLst/>
                <a:uLnTx/>
                <a:uFillTx/>
                <a:latin typeface="Arial"/>
                <a:ea typeface="+mn-ea"/>
                <a:cs typeface="+mn-cs"/>
              </a:rPr>
              <a:t>Cli</a:t>
            </a:r>
            <a:r>
              <a:rPr kumimoji="0" lang="fr-FR" sz="1200" b="0" i="0" u="none" strike="noStrike" kern="0" cap="none" spc="0" normalizeH="0" baseline="0" noProof="0" dirty="0" smtClean="0">
                <a:ln>
                  <a:noFill/>
                </a:ln>
                <a:solidFill>
                  <a:srgbClr val="FFFFFF"/>
                </a:solidFill>
                <a:effectLst/>
                <a:uLnTx/>
                <a:uFillTx/>
                <a:latin typeface="Arial"/>
                <a:ea typeface="+mn-ea"/>
                <a:cs typeface="+mn-cs"/>
              </a:rPr>
              <a:t>. N</a:t>
            </a:r>
          </a:p>
        </p:txBody>
      </p:sp>
      <p:sp>
        <p:nvSpPr>
          <p:cNvPr id="142" name="Can 141"/>
          <p:cNvSpPr/>
          <p:nvPr/>
        </p:nvSpPr>
        <p:spPr>
          <a:xfrm>
            <a:off x="5509691" y="5029348"/>
            <a:ext cx="563401" cy="693644"/>
          </a:xfrm>
          <a:prstGeom prst="can">
            <a:avLst/>
          </a:prstGeom>
          <a:solidFill>
            <a:srgbClr val="0072C6"/>
          </a:solidFill>
          <a:ln w="25400" cap="flat" cmpd="sng" algn="ctr">
            <a:solidFill>
              <a:srgbClr val="0072C6">
                <a:lumMod val="75000"/>
              </a:srgbClr>
            </a:solidFill>
            <a:prstDash val="solid"/>
          </a:ln>
          <a:effectLst/>
        </p:spPr>
        <p:txBody>
          <a:bodyPr lIns="0" tIns="0" rIns="0" bIns="0" rtlCol="0" anchor="ctr"/>
          <a:lstStyle/>
          <a:p>
            <a:pPr marL="0" marR="0" lvl="0" indent="0" algn="ctr" defTabSz="623863" eaLnBrk="1" fontAlgn="auto" latinLnBrk="0" hangingPunct="1">
              <a:lnSpc>
                <a:spcPct val="100000"/>
              </a:lnSpc>
              <a:spcBef>
                <a:spcPts val="0"/>
              </a:spcBef>
              <a:spcAft>
                <a:spcPts val="0"/>
              </a:spcAft>
              <a:buClrTx/>
              <a:buSzTx/>
              <a:buFontTx/>
              <a:buNone/>
              <a:tabLst/>
              <a:defRPr/>
            </a:pPr>
            <a:r>
              <a:rPr kumimoji="0" lang="fr-FR" sz="1200" b="0" i="0" u="none" strike="noStrike" kern="0" cap="none" spc="0" normalizeH="0" baseline="0" noProof="0" dirty="0" err="1" smtClean="0">
                <a:ln>
                  <a:noFill/>
                </a:ln>
                <a:solidFill>
                  <a:srgbClr val="FFFFFF"/>
                </a:solidFill>
                <a:effectLst/>
                <a:uLnTx/>
                <a:uFillTx/>
                <a:latin typeface="Arial"/>
                <a:ea typeface="+mn-ea"/>
                <a:cs typeface="+mn-cs"/>
              </a:rPr>
              <a:t>Cli</a:t>
            </a:r>
            <a:r>
              <a:rPr kumimoji="0" lang="fr-FR" sz="1200" b="0" i="0" u="none" strike="noStrike" kern="0" cap="none" spc="0" normalizeH="0" baseline="0" noProof="0" dirty="0" smtClean="0">
                <a:ln>
                  <a:noFill/>
                </a:ln>
                <a:solidFill>
                  <a:srgbClr val="FFFFFF"/>
                </a:solidFill>
                <a:effectLst/>
                <a:uLnTx/>
                <a:uFillTx/>
                <a:latin typeface="Arial"/>
                <a:ea typeface="+mn-ea"/>
                <a:cs typeface="+mn-cs"/>
              </a:rPr>
              <a:t>. 6</a:t>
            </a:r>
          </a:p>
        </p:txBody>
      </p:sp>
      <p:sp>
        <p:nvSpPr>
          <p:cNvPr id="143" name="Can 142"/>
          <p:cNvSpPr/>
          <p:nvPr/>
        </p:nvSpPr>
        <p:spPr>
          <a:xfrm>
            <a:off x="6161114" y="5029348"/>
            <a:ext cx="546212" cy="693644"/>
          </a:xfrm>
          <a:prstGeom prst="can">
            <a:avLst/>
          </a:prstGeom>
          <a:solidFill>
            <a:srgbClr val="0072C6"/>
          </a:solidFill>
          <a:ln w="25400" cap="flat" cmpd="sng" algn="ctr">
            <a:solidFill>
              <a:srgbClr val="0072C6">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23863" eaLnBrk="1" fontAlgn="auto" latinLnBrk="0" hangingPunct="1">
              <a:lnSpc>
                <a:spcPct val="100000"/>
              </a:lnSpc>
              <a:spcBef>
                <a:spcPts val="0"/>
              </a:spcBef>
              <a:spcAft>
                <a:spcPts val="0"/>
              </a:spcAft>
              <a:buClrTx/>
              <a:buSzTx/>
              <a:buFontTx/>
              <a:buNone/>
              <a:tabLst/>
              <a:defRPr/>
            </a:pPr>
            <a:r>
              <a:rPr kumimoji="0" lang="fr-FR" sz="1200" b="0" i="0" u="none" strike="noStrike" kern="0" cap="none" spc="0" normalizeH="0" baseline="0" noProof="0" dirty="0" err="1" smtClean="0">
                <a:ln>
                  <a:noFill/>
                </a:ln>
                <a:solidFill>
                  <a:srgbClr val="FFFFFF"/>
                </a:solidFill>
                <a:effectLst/>
                <a:uLnTx/>
                <a:uFillTx/>
                <a:latin typeface="Arial"/>
                <a:ea typeface="+mn-ea"/>
                <a:cs typeface="+mn-cs"/>
              </a:rPr>
              <a:t>Cli</a:t>
            </a:r>
            <a:r>
              <a:rPr kumimoji="0" lang="fr-FR" sz="1200" b="0" i="0" u="none" strike="noStrike" kern="0" cap="none" spc="0" normalizeH="0" baseline="0" noProof="0" dirty="0" smtClean="0">
                <a:ln>
                  <a:noFill/>
                </a:ln>
                <a:solidFill>
                  <a:srgbClr val="FFFFFF"/>
                </a:solidFill>
                <a:effectLst/>
                <a:uLnTx/>
                <a:uFillTx/>
                <a:latin typeface="Arial"/>
                <a:ea typeface="+mn-ea"/>
                <a:cs typeface="+mn-cs"/>
              </a:rPr>
              <a:t>. 7</a:t>
            </a:r>
          </a:p>
        </p:txBody>
      </p:sp>
      <p:sp>
        <p:nvSpPr>
          <p:cNvPr id="144" name="Can 143"/>
          <p:cNvSpPr/>
          <p:nvPr/>
        </p:nvSpPr>
        <p:spPr>
          <a:xfrm>
            <a:off x="6795350" y="5029348"/>
            <a:ext cx="546212" cy="693644"/>
          </a:xfrm>
          <a:prstGeom prst="can">
            <a:avLst/>
          </a:prstGeom>
          <a:solidFill>
            <a:srgbClr val="0072C6"/>
          </a:solidFill>
          <a:ln w="25400" cap="flat" cmpd="sng" algn="ctr">
            <a:solidFill>
              <a:srgbClr val="0072C6">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23863" eaLnBrk="1" fontAlgn="auto" latinLnBrk="0" hangingPunct="1">
              <a:lnSpc>
                <a:spcPct val="100000"/>
              </a:lnSpc>
              <a:spcBef>
                <a:spcPts val="0"/>
              </a:spcBef>
              <a:spcAft>
                <a:spcPts val="0"/>
              </a:spcAft>
              <a:buClrTx/>
              <a:buSzTx/>
              <a:buFontTx/>
              <a:buNone/>
              <a:tabLst/>
              <a:defRPr/>
            </a:pPr>
            <a:endParaRPr kumimoji="0" lang="fr-FR" sz="1200"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145" name="Can 144"/>
          <p:cNvSpPr/>
          <p:nvPr/>
        </p:nvSpPr>
        <p:spPr>
          <a:xfrm>
            <a:off x="4875456" y="5029348"/>
            <a:ext cx="546212" cy="693644"/>
          </a:xfrm>
          <a:prstGeom prst="can">
            <a:avLst/>
          </a:prstGeom>
          <a:solidFill>
            <a:srgbClr val="0072C6"/>
          </a:solidFill>
          <a:ln w="25400" cap="flat" cmpd="sng" algn="ctr">
            <a:solidFill>
              <a:srgbClr val="0072C6">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23863" eaLnBrk="1" fontAlgn="auto" latinLnBrk="0" hangingPunct="1">
              <a:lnSpc>
                <a:spcPct val="100000"/>
              </a:lnSpc>
              <a:spcBef>
                <a:spcPts val="0"/>
              </a:spcBef>
              <a:spcAft>
                <a:spcPts val="0"/>
              </a:spcAft>
              <a:buClrTx/>
              <a:buSzTx/>
              <a:buFontTx/>
              <a:buNone/>
              <a:tabLst/>
              <a:defRPr/>
            </a:pPr>
            <a:r>
              <a:rPr kumimoji="0" lang="fr-FR" sz="1200" b="0" i="0" u="none" strike="noStrike" kern="0" cap="none" spc="0" normalizeH="0" baseline="0" noProof="0" dirty="0" err="1" smtClean="0">
                <a:ln>
                  <a:noFill/>
                </a:ln>
                <a:solidFill>
                  <a:srgbClr val="FFFFFF"/>
                </a:solidFill>
                <a:effectLst/>
                <a:uLnTx/>
                <a:uFillTx/>
                <a:latin typeface="Arial"/>
                <a:ea typeface="+mn-ea"/>
                <a:cs typeface="+mn-cs"/>
              </a:rPr>
              <a:t>Cli</a:t>
            </a:r>
            <a:r>
              <a:rPr kumimoji="0" lang="fr-FR" sz="1200" b="0" i="0" u="none" strike="noStrike" kern="0" cap="none" spc="0" normalizeH="0" baseline="0" noProof="0" dirty="0" smtClean="0">
                <a:ln>
                  <a:noFill/>
                </a:ln>
                <a:solidFill>
                  <a:srgbClr val="FFFFFF"/>
                </a:solidFill>
                <a:effectLst/>
                <a:uLnTx/>
                <a:uFillTx/>
                <a:latin typeface="Arial"/>
                <a:ea typeface="+mn-ea"/>
                <a:cs typeface="+mn-cs"/>
              </a:rPr>
              <a:t>. 5</a:t>
            </a:r>
          </a:p>
        </p:txBody>
      </p:sp>
      <p:sp>
        <p:nvSpPr>
          <p:cNvPr id="146" name="Can 145"/>
          <p:cNvSpPr/>
          <p:nvPr/>
        </p:nvSpPr>
        <p:spPr>
          <a:xfrm>
            <a:off x="5422498" y="5105716"/>
            <a:ext cx="563401" cy="693644"/>
          </a:xfrm>
          <a:prstGeom prst="can">
            <a:avLst/>
          </a:prstGeom>
          <a:solidFill>
            <a:srgbClr val="0072C6"/>
          </a:solidFill>
          <a:ln w="25400" cap="flat" cmpd="sng" algn="ctr">
            <a:solidFill>
              <a:srgbClr val="0072C6">
                <a:lumMod val="75000"/>
              </a:srgbClr>
            </a:solidFill>
            <a:prstDash val="solid"/>
          </a:ln>
          <a:effectLst/>
        </p:spPr>
        <p:txBody>
          <a:bodyPr lIns="0" tIns="0" rIns="0" bIns="0" rtlCol="0" anchor="ctr"/>
          <a:lstStyle/>
          <a:p>
            <a:pPr marL="0" marR="0" lvl="0" indent="0" algn="ctr" defTabSz="623863" eaLnBrk="1" fontAlgn="auto" latinLnBrk="0" hangingPunct="1">
              <a:lnSpc>
                <a:spcPct val="100000"/>
              </a:lnSpc>
              <a:spcBef>
                <a:spcPts val="0"/>
              </a:spcBef>
              <a:spcAft>
                <a:spcPts val="0"/>
              </a:spcAft>
              <a:buClrTx/>
              <a:buSzTx/>
              <a:buFontTx/>
              <a:buNone/>
              <a:tabLst/>
              <a:defRPr/>
            </a:pPr>
            <a:endParaRPr kumimoji="0" lang="fr-FR" sz="1200"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147" name="Can 146"/>
          <p:cNvSpPr/>
          <p:nvPr/>
        </p:nvSpPr>
        <p:spPr>
          <a:xfrm>
            <a:off x="6073922" y="5105716"/>
            <a:ext cx="546212" cy="693644"/>
          </a:xfrm>
          <a:prstGeom prst="can">
            <a:avLst/>
          </a:prstGeom>
          <a:solidFill>
            <a:srgbClr val="0072C6"/>
          </a:solidFill>
          <a:ln w="25400" cap="flat" cmpd="sng" algn="ctr">
            <a:solidFill>
              <a:srgbClr val="0072C6">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23863" eaLnBrk="1" fontAlgn="auto" latinLnBrk="0" hangingPunct="1">
              <a:lnSpc>
                <a:spcPct val="100000"/>
              </a:lnSpc>
              <a:spcBef>
                <a:spcPts val="0"/>
              </a:spcBef>
              <a:spcAft>
                <a:spcPts val="0"/>
              </a:spcAft>
              <a:buClrTx/>
              <a:buSzTx/>
              <a:buFontTx/>
              <a:buNone/>
              <a:tabLst/>
              <a:defRPr/>
            </a:pPr>
            <a:r>
              <a:rPr kumimoji="0" lang="fr-FR" sz="1200" b="0" i="0" u="none" strike="noStrike" kern="0" cap="none" spc="0" normalizeH="0" baseline="0" noProof="0" dirty="0" err="1" smtClean="0">
                <a:ln>
                  <a:noFill/>
                </a:ln>
                <a:solidFill>
                  <a:srgbClr val="FFFFFF"/>
                </a:solidFill>
                <a:effectLst/>
                <a:uLnTx/>
                <a:uFillTx/>
                <a:latin typeface="Arial"/>
                <a:ea typeface="+mn-ea"/>
                <a:cs typeface="+mn-cs"/>
              </a:rPr>
              <a:t>Cus</a:t>
            </a:r>
            <a:endParaRPr kumimoji="0" lang="fr-FR" sz="1200"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148" name="Can 147"/>
          <p:cNvSpPr/>
          <p:nvPr/>
        </p:nvSpPr>
        <p:spPr>
          <a:xfrm>
            <a:off x="6708158" y="5105716"/>
            <a:ext cx="546212" cy="693644"/>
          </a:xfrm>
          <a:prstGeom prst="can">
            <a:avLst/>
          </a:prstGeom>
          <a:solidFill>
            <a:srgbClr val="0072C6"/>
          </a:solidFill>
          <a:ln w="25400" cap="flat" cmpd="sng" algn="ctr">
            <a:solidFill>
              <a:srgbClr val="0072C6">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23863" eaLnBrk="1" fontAlgn="auto" latinLnBrk="0" hangingPunct="1">
              <a:lnSpc>
                <a:spcPct val="100000"/>
              </a:lnSpc>
              <a:spcBef>
                <a:spcPts val="0"/>
              </a:spcBef>
              <a:spcAft>
                <a:spcPts val="0"/>
              </a:spcAft>
              <a:buClrTx/>
              <a:buSzTx/>
              <a:buFontTx/>
              <a:buNone/>
              <a:tabLst/>
              <a:defRPr/>
            </a:pPr>
            <a:r>
              <a:rPr kumimoji="0" lang="fr-FR" sz="1200" b="0" i="0" u="none" strike="noStrike" kern="0" cap="none" spc="0" normalizeH="0" baseline="0" noProof="0" dirty="0" err="1" smtClean="0">
                <a:ln>
                  <a:noFill/>
                </a:ln>
                <a:solidFill>
                  <a:srgbClr val="FFFFFF"/>
                </a:solidFill>
                <a:effectLst/>
                <a:uLnTx/>
                <a:uFillTx/>
                <a:latin typeface="Arial"/>
                <a:ea typeface="+mn-ea"/>
                <a:cs typeface="+mn-cs"/>
              </a:rPr>
              <a:t>Cus</a:t>
            </a:r>
            <a:endParaRPr kumimoji="0" lang="fr-FR" sz="1200"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149" name="Can 148"/>
          <p:cNvSpPr/>
          <p:nvPr/>
        </p:nvSpPr>
        <p:spPr>
          <a:xfrm>
            <a:off x="4788264" y="5105716"/>
            <a:ext cx="546212" cy="693644"/>
          </a:xfrm>
          <a:prstGeom prst="can">
            <a:avLst/>
          </a:prstGeom>
          <a:solidFill>
            <a:srgbClr val="0072C6"/>
          </a:solidFill>
          <a:ln w="25400" cap="flat" cmpd="sng" algn="ctr">
            <a:solidFill>
              <a:srgbClr val="0072C6">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23863" eaLnBrk="1" fontAlgn="auto" latinLnBrk="0" hangingPunct="1">
              <a:lnSpc>
                <a:spcPct val="100000"/>
              </a:lnSpc>
              <a:spcBef>
                <a:spcPts val="0"/>
              </a:spcBef>
              <a:spcAft>
                <a:spcPts val="0"/>
              </a:spcAft>
              <a:buClrTx/>
              <a:buSzTx/>
              <a:buFontTx/>
              <a:buNone/>
              <a:tabLst/>
              <a:defRPr/>
            </a:pPr>
            <a:endParaRPr kumimoji="0" lang="fr-FR" sz="1200"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150" name="Can 149"/>
          <p:cNvSpPr/>
          <p:nvPr/>
        </p:nvSpPr>
        <p:spPr>
          <a:xfrm>
            <a:off x="5299736" y="5202400"/>
            <a:ext cx="563401" cy="693644"/>
          </a:xfrm>
          <a:prstGeom prst="can">
            <a:avLst/>
          </a:prstGeom>
          <a:solidFill>
            <a:srgbClr val="0072C6"/>
          </a:solidFill>
          <a:ln w="25400" cap="flat" cmpd="sng" algn="ctr">
            <a:solidFill>
              <a:srgbClr val="0072C6">
                <a:lumMod val="75000"/>
              </a:srgbClr>
            </a:solidFill>
            <a:prstDash val="solid"/>
          </a:ln>
          <a:effectLst/>
        </p:spPr>
        <p:txBody>
          <a:bodyPr lIns="0" tIns="0" rIns="0" bIns="0" rtlCol="0" anchor="ctr"/>
          <a:lstStyle/>
          <a:p>
            <a:pPr marL="0" marR="0" lvl="0" indent="0" algn="ctr" defTabSz="623863" eaLnBrk="1" fontAlgn="auto" latinLnBrk="0" hangingPunct="1">
              <a:lnSpc>
                <a:spcPct val="100000"/>
              </a:lnSpc>
              <a:spcBef>
                <a:spcPts val="0"/>
              </a:spcBef>
              <a:spcAft>
                <a:spcPts val="0"/>
              </a:spcAft>
              <a:buClrTx/>
              <a:buSzTx/>
              <a:buFontTx/>
              <a:buNone/>
              <a:tabLst/>
              <a:defRPr/>
            </a:pPr>
            <a:r>
              <a:rPr kumimoji="0" lang="fr-FR" sz="1200" b="0" i="0" u="none" strike="noStrike" kern="0" cap="none" spc="0" normalizeH="0" baseline="0" noProof="0" dirty="0" err="1" smtClean="0">
                <a:ln>
                  <a:noFill/>
                </a:ln>
                <a:solidFill>
                  <a:srgbClr val="FFFFFF"/>
                </a:solidFill>
                <a:effectLst/>
                <a:uLnTx/>
                <a:uFillTx/>
                <a:latin typeface="Arial"/>
                <a:ea typeface="+mn-ea"/>
                <a:cs typeface="+mn-cs"/>
              </a:rPr>
              <a:t>Cli</a:t>
            </a:r>
            <a:r>
              <a:rPr kumimoji="0" lang="fr-FR" sz="1200" b="0" i="0" u="none" strike="noStrike" kern="0" cap="none" spc="0" normalizeH="0" baseline="0" noProof="0" dirty="0" smtClean="0">
                <a:ln>
                  <a:noFill/>
                </a:ln>
                <a:solidFill>
                  <a:srgbClr val="FFFFFF"/>
                </a:solidFill>
                <a:effectLst/>
                <a:uLnTx/>
                <a:uFillTx/>
                <a:latin typeface="Arial"/>
                <a:ea typeface="+mn-ea"/>
                <a:cs typeface="+mn-cs"/>
              </a:rPr>
              <a:t>. 6</a:t>
            </a:r>
          </a:p>
        </p:txBody>
      </p:sp>
      <p:sp>
        <p:nvSpPr>
          <p:cNvPr id="151" name="Can 150"/>
          <p:cNvSpPr/>
          <p:nvPr/>
        </p:nvSpPr>
        <p:spPr>
          <a:xfrm>
            <a:off x="5951159" y="5202400"/>
            <a:ext cx="546212" cy="693644"/>
          </a:xfrm>
          <a:prstGeom prst="can">
            <a:avLst/>
          </a:prstGeom>
          <a:solidFill>
            <a:srgbClr val="0072C6"/>
          </a:solidFill>
          <a:ln w="25400" cap="flat" cmpd="sng" algn="ctr">
            <a:solidFill>
              <a:srgbClr val="0072C6">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23863" eaLnBrk="1" fontAlgn="auto" latinLnBrk="0" hangingPunct="1">
              <a:lnSpc>
                <a:spcPct val="100000"/>
              </a:lnSpc>
              <a:spcBef>
                <a:spcPts val="0"/>
              </a:spcBef>
              <a:spcAft>
                <a:spcPts val="0"/>
              </a:spcAft>
              <a:buClrTx/>
              <a:buSzTx/>
              <a:buFontTx/>
              <a:buNone/>
              <a:tabLst/>
              <a:defRPr/>
            </a:pPr>
            <a:r>
              <a:rPr kumimoji="0" lang="fr-FR" sz="1200" b="0" i="0" u="none" strike="noStrike" kern="0" cap="none" spc="0" normalizeH="0" baseline="0" noProof="0" dirty="0" err="1" smtClean="0">
                <a:ln>
                  <a:noFill/>
                </a:ln>
                <a:solidFill>
                  <a:srgbClr val="FFFFFF"/>
                </a:solidFill>
                <a:effectLst/>
                <a:uLnTx/>
                <a:uFillTx/>
                <a:latin typeface="Arial"/>
                <a:ea typeface="+mn-ea"/>
                <a:cs typeface="+mn-cs"/>
              </a:rPr>
              <a:t>Cli</a:t>
            </a:r>
            <a:r>
              <a:rPr kumimoji="0" lang="fr-FR" sz="1200" b="0" i="0" u="none" strike="noStrike" kern="0" cap="none" spc="0" normalizeH="0" baseline="0" noProof="0" dirty="0" smtClean="0">
                <a:ln>
                  <a:noFill/>
                </a:ln>
                <a:solidFill>
                  <a:srgbClr val="FFFFFF"/>
                </a:solidFill>
                <a:effectLst/>
                <a:uLnTx/>
                <a:uFillTx/>
                <a:latin typeface="Arial"/>
                <a:ea typeface="+mn-ea"/>
                <a:cs typeface="+mn-cs"/>
              </a:rPr>
              <a:t>. 7</a:t>
            </a:r>
          </a:p>
        </p:txBody>
      </p:sp>
      <p:sp>
        <p:nvSpPr>
          <p:cNvPr id="152" name="Can 151"/>
          <p:cNvSpPr/>
          <p:nvPr/>
        </p:nvSpPr>
        <p:spPr>
          <a:xfrm>
            <a:off x="6585395" y="5202400"/>
            <a:ext cx="546212" cy="693644"/>
          </a:xfrm>
          <a:prstGeom prst="can">
            <a:avLst/>
          </a:prstGeom>
          <a:solidFill>
            <a:srgbClr val="0072C6"/>
          </a:solidFill>
          <a:ln w="25400" cap="flat" cmpd="sng" algn="ctr">
            <a:solidFill>
              <a:srgbClr val="0072C6">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23863" eaLnBrk="1" fontAlgn="auto" latinLnBrk="0" hangingPunct="1">
              <a:lnSpc>
                <a:spcPct val="100000"/>
              </a:lnSpc>
              <a:spcBef>
                <a:spcPts val="0"/>
              </a:spcBef>
              <a:spcAft>
                <a:spcPts val="0"/>
              </a:spcAft>
              <a:buClrTx/>
              <a:buSzTx/>
              <a:buFontTx/>
              <a:buNone/>
              <a:tabLst/>
              <a:defRPr/>
            </a:pPr>
            <a:r>
              <a:rPr kumimoji="0" lang="fr-FR" sz="1200" b="0" i="0" u="none" strike="noStrike" kern="0" cap="none" spc="0" normalizeH="0" baseline="0" noProof="0" dirty="0" err="1" smtClean="0">
                <a:ln>
                  <a:noFill/>
                </a:ln>
                <a:solidFill>
                  <a:srgbClr val="FFFFFF"/>
                </a:solidFill>
                <a:effectLst/>
                <a:uLnTx/>
                <a:uFillTx/>
                <a:latin typeface="Arial"/>
                <a:ea typeface="+mn-ea"/>
                <a:cs typeface="+mn-cs"/>
              </a:rPr>
              <a:t>Cli</a:t>
            </a:r>
            <a:r>
              <a:rPr kumimoji="0" lang="fr-FR" sz="1200" b="0" i="0" u="none" strike="noStrike" kern="0" cap="none" spc="0" normalizeH="0" baseline="0" noProof="0" dirty="0" smtClean="0">
                <a:ln>
                  <a:noFill/>
                </a:ln>
                <a:solidFill>
                  <a:srgbClr val="FFFFFF"/>
                </a:solidFill>
                <a:effectLst/>
                <a:uLnTx/>
                <a:uFillTx/>
                <a:latin typeface="Arial"/>
                <a:ea typeface="+mn-ea"/>
                <a:cs typeface="+mn-cs"/>
              </a:rPr>
              <a:t>. 8</a:t>
            </a:r>
          </a:p>
        </p:txBody>
      </p:sp>
      <p:sp>
        <p:nvSpPr>
          <p:cNvPr id="153" name="Can 152"/>
          <p:cNvSpPr/>
          <p:nvPr/>
        </p:nvSpPr>
        <p:spPr>
          <a:xfrm>
            <a:off x="4665501" y="5202400"/>
            <a:ext cx="546212" cy="693644"/>
          </a:xfrm>
          <a:prstGeom prst="can">
            <a:avLst/>
          </a:prstGeom>
          <a:solidFill>
            <a:srgbClr val="0072C6"/>
          </a:solidFill>
          <a:ln w="25400" cap="flat" cmpd="sng" algn="ctr">
            <a:solidFill>
              <a:srgbClr val="0072C6">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23863" eaLnBrk="1" fontAlgn="auto" latinLnBrk="0" hangingPunct="1">
              <a:lnSpc>
                <a:spcPct val="100000"/>
              </a:lnSpc>
              <a:spcBef>
                <a:spcPts val="0"/>
              </a:spcBef>
              <a:spcAft>
                <a:spcPts val="0"/>
              </a:spcAft>
              <a:buClrTx/>
              <a:buSzTx/>
              <a:buFontTx/>
              <a:buNone/>
              <a:tabLst/>
              <a:defRPr/>
            </a:pPr>
            <a:r>
              <a:rPr kumimoji="0" lang="fr-FR" sz="1200" b="0" i="0" u="none" strike="noStrike" kern="0" cap="none" spc="0" normalizeH="0" baseline="0" noProof="0" dirty="0" err="1" smtClean="0">
                <a:ln>
                  <a:noFill/>
                </a:ln>
                <a:solidFill>
                  <a:srgbClr val="FFFFFF"/>
                </a:solidFill>
                <a:effectLst/>
                <a:uLnTx/>
                <a:uFillTx/>
                <a:latin typeface="Arial"/>
                <a:ea typeface="+mn-ea"/>
                <a:cs typeface="+mn-cs"/>
              </a:rPr>
              <a:t>Cli</a:t>
            </a:r>
            <a:r>
              <a:rPr kumimoji="0" lang="fr-FR" sz="1200" b="0" i="0" u="none" strike="noStrike" kern="0" cap="none" spc="0" normalizeH="0" baseline="0" noProof="0" dirty="0" smtClean="0">
                <a:ln>
                  <a:noFill/>
                </a:ln>
                <a:solidFill>
                  <a:srgbClr val="FFFFFF"/>
                </a:solidFill>
                <a:effectLst/>
                <a:uLnTx/>
                <a:uFillTx/>
                <a:latin typeface="Arial"/>
                <a:ea typeface="+mn-ea"/>
                <a:cs typeface="+mn-cs"/>
              </a:rPr>
              <a:t>. 5</a:t>
            </a:r>
          </a:p>
        </p:txBody>
      </p:sp>
      <p:cxnSp>
        <p:nvCxnSpPr>
          <p:cNvPr id="154" name="Straight Arrow Connector 153"/>
          <p:cNvCxnSpPr/>
          <p:nvPr/>
        </p:nvCxnSpPr>
        <p:spPr>
          <a:xfrm>
            <a:off x="6441483" y="1557386"/>
            <a:ext cx="0" cy="712221"/>
          </a:xfrm>
          <a:prstGeom prst="straightConnector1">
            <a:avLst/>
          </a:prstGeom>
          <a:noFill/>
          <a:ln w="28575" cap="flat" cmpd="sng" algn="ctr">
            <a:solidFill>
              <a:srgbClr val="0072C6">
                <a:lumMod val="75000"/>
              </a:srgbClr>
            </a:solidFill>
            <a:prstDash val="solid"/>
            <a:tailEnd type="triangle" w="lg" len="lg"/>
          </a:ln>
          <a:effectLst/>
        </p:spPr>
      </p:cxnSp>
      <p:cxnSp>
        <p:nvCxnSpPr>
          <p:cNvPr id="155" name="Straight Arrow Connector 154"/>
          <p:cNvCxnSpPr/>
          <p:nvPr/>
        </p:nvCxnSpPr>
        <p:spPr>
          <a:xfrm>
            <a:off x="6799317" y="1557386"/>
            <a:ext cx="0" cy="712221"/>
          </a:xfrm>
          <a:prstGeom prst="straightConnector1">
            <a:avLst/>
          </a:prstGeom>
          <a:noFill/>
          <a:ln w="28575" cap="flat" cmpd="sng" algn="ctr">
            <a:solidFill>
              <a:srgbClr val="0072C6">
                <a:lumMod val="75000"/>
              </a:srgbClr>
            </a:solidFill>
            <a:prstDash val="solid"/>
            <a:tailEnd type="triangle" w="lg" len="lg"/>
          </a:ln>
          <a:effectLst/>
        </p:spPr>
      </p:cxnSp>
    </p:spTree>
    <p:extLst>
      <p:ext uri="{BB962C8B-B14F-4D97-AF65-F5344CB8AC3E}">
        <p14:creationId xmlns:p14="http://schemas.microsoft.com/office/powerpoint/2010/main" val="753696515"/>
      </p:ext>
    </p:extLst>
  </p:cSld>
  <p:clrMapOvr>
    <a:masterClrMapping/>
  </p:clrMapOvr>
  <p:transition>
    <p:fade/>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fr-FR" dirty="0" smtClean="0"/>
              <a:t>Une nouvelle solution : </a:t>
            </a:r>
            <a:r>
              <a:rPr lang="fr-FR" dirty="0" err="1" smtClean="0"/>
              <a:t>Elastic</a:t>
            </a:r>
            <a:r>
              <a:rPr lang="fr-FR" dirty="0" smtClean="0"/>
              <a:t> </a:t>
            </a:r>
            <a:r>
              <a:rPr lang="fr-FR" dirty="0" err="1" smtClean="0"/>
              <a:t>database</a:t>
            </a:r>
            <a:r>
              <a:rPr lang="fr-FR" dirty="0" smtClean="0"/>
              <a:t> Pools</a:t>
            </a:r>
            <a:endParaRPr lang="fr-FR" dirty="0"/>
          </a:p>
        </p:txBody>
      </p:sp>
      <p:sp>
        <p:nvSpPr>
          <p:cNvPr id="2" name="Rounded Rectangle 1"/>
          <p:cNvSpPr/>
          <p:nvPr/>
        </p:nvSpPr>
        <p:spPr bwMode="auto">
          <a:xfrm>
            <a:off x="9900255" y="1363045"/>
            <a:ext cx="2001663" cy="571270"/>
          </a:xfrm>
          <a:prstGeom prst="round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3704" rIns="0" bIns="43704" numCol="1" rtlCol="0" anchor="ctr" anchorCtr="0" compatLnSpc="1">
            <a:prstTxWarp prst="textNoShape">
              <a:avLst/>
            </a:prstTxWarp>
          </a:bodyPr>
          <a:lstStyle/>
          <a:p>
            <a:pPr algn="ctr" defTabSz="873886" fontAlgn="base">
              <a:spcBef>
                <a:spcPct val="0"/>
              </a:spcBef>
              <a:spcAft>
                <a:spcPct val="0"/>
              </a:spcAft>
            </a:pPr>
            <a:r>
              <a:rPr lang="fr-FR" sz="2249" b="1" dirty="0" err="1">
                <a:gradFill>
                  <a:gsLst>
                    <a:gs pos="0">
                      <a:srgbClr val="FFFFFF"/>
                    </a:gs>
                    <a:gs pos="100000">
                      <a:srgbClr val="FFFFFF"/>
                    </a:gs>
                  </a:gsLst>
                  <a:lin ang="5400000" scaled="0"/>
                </a:gradFill>
              </a:rPr>
              <a:t>Preview</a:t>
            </a:r>
            <a:endParaRPr lang="fr-FR" sz="2343" b="1" dirty="0">
              <a:gradFill>
                <a:gsLst>
                  <a:gs pos="0">
                    <a:srgbClr val="FFFFFF"/>
                  </a:gs>
                  <a:gs pos="100000">
                    <a:srgbClr val="FFFFFF"/>
                  </a:gs>
                </a:gsLst>
                <a:lin ang="5400000" scaled="0"/>
              </a:gradFill>
            </a:endParaRPr>
          </a:p>
        </p:txBody>
      </p:sp>
      <p:grpSp>
        <p:nvGrpSpPr>
          <p:cNvPr id="705" name="Group 704"/>
          <p:cNvGrpSpPr/>
          <p:nvPr/>
        </p:nvGrpSpPr>
        <p:grpSpPr>
          <a:xfrm>
            <a:off x="4603959" y="5640993"/>
            <a:ext cx="7255572" cy="275179"/>
            <a:chOff x="4131411" y="5751738"/>
            <a:chExt cx="7742391" cy="260124"/>
          </a:xfrm>
        </p:grpSpPr>
        <p:sp>
          <p:nvSpPr>
            <p:cNvPr id="706" name="Rectangle 705"/>
            <p:cNvSpPr/>
            <p:nvPr/>
          </p:nvSpPr>
          <p:spPr bwMode="auto">
            <a:xfrm>
              <a:off x="6102696" y="5751738"/>
              <a:ext cx="1724019" cy="260124"/>
            </a:xfrm>
            <a:prstGeom prst="rect">
              <a:avLst/>
            </a:prstGeom>
            <a:solidFill>
              <a:srgbClr val="0078D7">
                <a:lumMod val="20000"/>
                <a:lumOff val="80000"/>
              </a:srgbClr>
            </a:solidFill>
            <a:ln w="9525" cap="flat" cmpd="sng" algn="ctr">
              <a:noFill/>
              <a:prstDash val="solid"/>
              <a:headEnd type="none" w="med" len="med"/>
              <a:tailEnd type="none" w="med" len="med"/>
            </a:ln>
            <a:effectLst/>
          </p:spPr>
          <p:txBody>
            <a:bodyPr lIns="85690" tIns="85690" rIns="32138" bIns="32138" rtlCol="0" anchor="b" anchorCtr="0"/>
            <a:lstStyle/>
            <a:p>
              <a:pPr algn="ctr" defTabSz="873824">
                <a:defRPr/>
              </a:pPr>
              <a:endParaRPr lang="fr-FR" sz="750" kern="0" dirty="0">
                <a:solidFill>
                  <a:schemeClr val="accent6"/>
                </a:solidFill>
                <a:ea typeface="Segoe UI" pitchFamily="34" charset="0"/>
                <a:cs typeface="Segoe UI" pitchFamily="34" charset="0"/>
              </a:endParaRPr>
            </a:p>
          </p:txBody>
        </p:sp>
        <p:sp>
          <p:nvSpPr>
            <p:cNvPr id="707" name="Rectangle 706"/>
            <p:cNvSpPr/>
            <p:nvPr/>
          </p:nvSpPr>
          <p:spPr bwMode="auto">
            <a:xfrm>
              <a:off x="8111579" y="5751738"/>
              <a:ext cx="1724019" cy="260124"/>
            </a:xfrm>
            <a:prstGeom prst="rect">
              <a:avLst/>
            </a:prstGeom>
            <a:solidFill>
              <a:srgbClr val="0078D7">
                <a:lumMod val="20000"/>
                <a:lumOff val="80000"/>
              </a:srgbClr>
            </a:solidFill>
            <a:ln w="9525" cap="flat" cmpd="sng" algn="ctr">
              <a:noFill/>
              <a:prstDash val="solid"/>
              <a:headEnd type="none" w="med" len="med"/>
              <a:tailEnd type="none" w="med" len="med"/>
            </a:ln>
            <a:effectLst/>
          </p:spPr>
          <p:txBody>
            <a:bodyPr lIns="85690" tIns="85690" rIns="32138" bIns="32138" rtlCol="0" anchor="b" anchorCtr="0"/>
            <a:lstStyle/>
            <a:p>
              <a:pPr algn="ctr" defTabSz="873824">
                <a:defRPr/>
              </a:pPr>
              <a:endParaRPr lang="fr-FR" sz="750" kern="0" dirty="0">
                <a:solidFill>
                  <a:schemeClr val="accent6"/>
                </a:solidFill>
                <a:ea typeface="Segoe UI" pitchFamily="34" charset="0"/>
                <a:cs typeface="Segoe UI" pitchFamily="34" charset="0"/>
              </a:endParaRPr>
            </a:p>
          </p:txBody>
        </p:sp>
        <p:sp>
          <p:nvSpPr>
            <p:cNvPr id="708" name="Rectangle 707"/>
            <p:cNvSpPr/>
            <p:nvPr/>
          </p:nvSpPr>
          <p:spPr bwMode="auto">
            <a:xfrm>
              <a:off x="10149783" y="5751738"/>
              <a:ext cx="1724019" cy="260124"/>
            </a:xfrm>
            <a:prstGeom prst="rect">
              <a:avLst/>
            </a:prstGeom>
            <a:solidFill>
              <a:srgbClr val="0078D7">
                <a:lumMod val="20000"/>
                <a:lumOff val="80000"/>
              </a:srgbClr>
            </a:solidFill>
            <a:ln w="9525" cap="flat" cmpd="sng" algn="ctr">
              <a:noFill/>
              <a:prstDash val="solid"/>
              <a:headEnd type="none" w="med" len="med"/>
              <a:tailEnd type="none" w="med" len="med"/>
            </a:ln>
            <a:effectLst/>
          </p:spPr>
          <p:txBody>
            <a:bodyPr lIns="85690" tIns="85690" rIns="32138" bIns="32138" rtlCol="0" anchor="b" anchorCtr="0"/>
            <a:lstStyle/>
            <a:p>
              <a:pPr algn="ctr" defTabSz="873824">
                <a:defRPr/>
              </a:pPr>
              <a:endParaRPr lang="fr-FR" sz="750" kern="0" dirty="0">
                <a:solidFill>
                  <a:schemeClr val="accent6"/>
                </a:solidFill>
                <a:ea typeface="Segoe UI" pitchFamily="34" charset="0"/>
                <a:cs typeface="Segoe UI" pitchFamily="34" charset="0"/>
              </a:endParaRPr>
            </a:p>
          </p:txBody>
        </p:sp>
        <p:sp>
          <p:nvSpPr>
            <p:cNvPr id="709" name="Rectangle 708"/>
            <p:cNvSpPr/>
            <p:nvPr/>
          </p:nvSpPr>
          <p:spPr bwMode="auto">
            <a:xfrm>
              <a:off x="4131411" y="5751738"/>
              <a:ext cx="1724019" cy="260124"/>
            </a:xfrm>
            <a:prstGeom prst="rect">
              <a:avLst/>
            </a:prstGeom>
            <a:solidFill>
              <a:srgbClr val="0078D7">
                <a:lumMod val="20000"/>
                <a:lumOff val="80000"/>
              </a:srgbClr>
            </a:solidFill>
            <a:ln w="9525" cap="flat" cmpd="sng" algn="ctr">
              <a:noFill/>
              <a:prstDash val="solid"/>
              <a:headEnd type="none" w="med" len="med"/>
              <a:tailEnd type="none" w="med" len="med"/>
            </a:ln>
            <a:effectLst/>
          </p:spPr>
          <p:txBody>
            <a:bodyPr lIns="85690" tIns="85690" rIns="32138" bIns="32138" rtlCol="0" anchor="b" anchorCtr="0"/>
            <a:lstStyle/>
            <a:p>
              <a:pPr algn="ctr" defTabSz="873824">
                <a:defRPr/>
              </a:pPr>
              <a:endParaRPr lang="fr-FR" sz="750" kern="0" dirty="0">
                <a:solidFill>
                  <a:schemeClr val="accent6"/>
                </a:solidFill>
                <a:ea typeface="Segoe UI" pitchFamily="34" charset="0"/>
                <a:cs typeface="Segoe UI" pitchFamily="34" charset="0"/>
              </a:endParaRPr>
            </a:p>
          </p:txBody>
        </p:sp>
      </p:grpSp>
      <p:sp>
        <p:nvSpPr>
          <p:cNvPr id="710" name="Rectangle 709"/>
          <p:cNvSpPr/>
          <p:nvPr/>
        </p:nvSpPr>
        <p:spPr bwMode="auto">
          <a:xfrm>
            <a:off x="4603958" y="5407148"/>
            <a:ext cx="1611487" cy="487536"/>
          </a:xfrm>
          <a:prstGeom prst="rect">
            <a:avLst/>
          </a:prstGeom>
          <a:noFill/>
          <a:ln w="38100" cap="flat" cmpd="sng" algn="ctr">
            <a:noFill/>
            <a:prstDash val="solid"/>
            <a:headEnd type="none" w="med" len="med"/>
            <a:tailEnd type="none" w="med" len="med"/>
          </a:ln>
          <a:effectLst/>
        </p:spPr>
        <p:txBody>
          <a:bodyPr rot="0" spcFirstLastPara="0" vertOverflow="overflow" horzOverflow="overflow" vert="horz" wrap="square" lIns="171381" tIns="137105" rIns="171381" bIns="137105" numCol="1" spcCol="0" rtlCol="0" fromWordArt="0" anchor="t" anchorCtr="0" forceAA="0" compatLnSpc="1">
            <a:prstTxWarp prst="textNoShape">
              <a:avLst/>
            </a:prstTxWarp>
            <a:noAutofit/>
          </a:bodyPr>
          <a:lstStyle/>
          <a:p>
            <a:pPr algn="ctr" defTabSz="873886" fontAlgn="base">
              <a:lnSpc>
                <a:spcPct val="90000"/>
              </a:lnSpc>
              <a:spcBef>
                <a:spcPct val="0"/>
              </a:spcBef>
              <a:spcAft>
                <a:spcPct val="0"/>
              </a:spcAft>
              <a:defRPr/>
            </a:pPr>
            <a:endParaRPr lang="fr-FR" sz="2249" kern="0" dirty="0">
              <a:solidFill>
                <a:schemeClr val="accent6"/>
              </a:solidFill>
              <a:ea typeface="Segoe UI" pitchFamily="34" charset="0"/>
              <a:cs typeface="Segoe UI" pitchFamily="34" charset="0"/>
            </a:endParaRPr>
          </a:p>
        </p:txBody>
      </p:sp>
      <p:sp>
        <p:nvSpPr>
          <p:cNvPr id="711" name="Rectangle 710"/>
          <p:cNvSpPr/>
          <p:nvPr/>
        </p:nvSpPr>
        <p:spPr bwMode="auto">
          <a:xfrm>
            <a:off x="10223886" y="2417142"/>
            <a:ext cx="1611487" cy="3477543"/>
          </a:xfrm>
          <a:prstGeom prst="rect">
            <a:avLst/>
          </a:prstGeom>
          <a:noFill/>
          <a:ln w="38100" cap="flat" cmpd="sng" algn="ctr">
            <a:noFill/>
            <a:prstDash val="solid"/>
            <a:headEnd type="none" w="med" len="med"/>
            <a:tailEnd type="none" w="med" len="med"/>
          </a:ln>
          <a:effectLst/>
        </p:spPr>
        <p:txBody>
          <a:bodyPr rot="0" spcFirstLastPara="0" vertOverflow="overflow" horzOverflow="overflow" vert="horz" wrap="square" lIns="171381" tIns="137105" rIns="171381" bIns="137105" numCol="1" spcCol="0" rtlCol="0" fromWordArt="0" anchor="t" anchorCtr="0" forceAA="0" compatLnSpc="1">
            <a:prstTxWarp prst="textNoShape">
              <a:avLst/>
            </a:prstTxWarp>
            <a:noAutofit/>
          </a:bodyPr>
          <a:lstStyle/>
          <a:p>
            <a:pPr algn="ctr" defTabSz="873886" fontAlgn="base">
              <a:lnSpc>
                <a:spcPct val="90000"/>
              </a:lnSpc>
              <a:spcBef>
                <a:spcPct val="0"/>
              </a:spcBef>
              <a:spcAft>
                <a:spcPct val="0"/>
              </a:spcAft>
              <a:defRPr/>
            </a:pPr>
            <a:endParaRPr lang="fr-FR" sz="2249" kern="0" dirty="0">
              <a:solidFill>
                <a:schemeClr val="accent6"/>
              </a:solidFill>
              <a:ea typeface="Segoe UI" pitchFamily="34" charset="0"/>
              <a:cs typeface="Segoe UI" pitchFamily="34" charset="0"/>
            </a:endParaRPr>
          </a:p>
        </p:txBody>
      </p:sp>
      <p:sp>
        <p:nvSpPr>
          <p:cNvPr id="712" name="TextBox 711"/>
          <p:cNvSpPr txBox="1"/>
          <p:nvPr/>
        </p:nvSpPr>
        <p:spPr>
          <a:xfrm>
            <a:off x="4931885" y="5844762"/>
            <a:ext cx="812584" cy="588383"/>
          </a:xfrm>
          <a:prstGeom prst="rect">
            <a:avLst/>
          </a:prstGeom>
          <a:noFill/>
        </p:spPr>
        <p:txBody>
          <a:bodyPr wrap="none" lIns="171381" tIns="137105" rIns="171381" bIns="137105" rtlCol="0">
            <a:spAutoFit/>
          </a:bodyPr>
          <a:lstStyle/>
          <a:p>
            <a:pPr algn="ctr" defTabSz="856949">
              <a:lnSpc>
                <a:spcPct val="90000"/>
              </a:lnSpc>
              <a:spcAft>
                <a:spcPts val="562"/>
              </a:spcAft>
              <a:defRPr/>
            </a:pPr>
            <a:r>
              <a:rPr lang="fr-FR" sz="2249" kern="0" dirty="0">
                <a:solidFill>
                  <a:schemeClr val="accent4"/>
                </a:solidFill>
              </a:rPr>
              <a:t>200</a:t>
            </a:r>
          </a:p>
        </p:txBody>
      </p:sp>
      <p:sp>
        <p:nvSpPr>
          <p:cNvPr id="713" name="TextBox 712"/>
          <p:cNvSpPr txBox="1"/>
          <p:nvPr/>
        </p:nvSpPr>
        <p:spPr>
          <a:xfrm>
            <a:off x="10517223" y="5844762"/>
            <a:ext cx="968074" cy="588383"/>
          </a:xfrm>
          <a:prstGeom prst="rect">
            <a:avLst/>
          </a:prstGeom>
          <a:noFill/>
        </p:spPr>
        <p:txBody>
          <a:bodyPr wrap="none" lIns="171381" tIns="137105" rIns="171381" bIns="137105" rtlCol="0">
            <a:spAutoFit/>
          </a:bodyPr>
          <a:lstStyle/>
          <a:p>
            <a:pPr algn="ctr" defTabSz="856949">
              <a:lnSpc>
                <a:spcPct val="90000"/>
              </a:lnSpc>
              <a:spcAft>
                <a:spcPts val="562"/>
              </a:spcAft>
              <a:defRPr/>
            </a:pPr>
            <a:r>
              <a:rPr lang="fr-FR" sz="2249" kern="0" dirty="0">
                <a:solidFill>
                  <a:schemeClr val="accent4"/>
                </a:solidFill>
              </a:rPr>
              <a:t>1200</a:t>
            </a:r>
          </a:p>
        </p:txBody>
      </p:sp>
      <p:sp>
        <p:nvSpPr>
          <p:cNvPr id="714" name="TextBox 713"/>
          <p:cNvSpPr txBox="1"/>
          <p:nvPr/>
        </p:nvSpPr>
        <p:spPr>
          <a:xfrm>
            <a:off x="3258740" y="5844763"/>
            <a:ext cx="1201476" cy="588401"/>
          </a:xfrm>
          <a:prstGeom prst="rect">
            <a:avLst/>
          </a:prstGeom>
          <a:noFill/>
        </p:spPr>
        <p:txBody>
          <a:bodyPr wrap="square" lIns="171381" tIns="137105" rIns="171381" bIns="137105" rtlCol="0">
            <a:spAutoFit/>
          </a:bodyPr>
          <a:lstStyle/>
          <a:p>
            <a:pPr defTabSz="856949">
              <a:lnSpc>
                <a:spcPct val="90000"/>
              </a:lnSpc>
              <a:spcAft>
                <a:spcPts val="562"/>
              </a:spcAft>
              <a:defRPr/>
            </a:pPr>
            <a:r>
              <a:rPr lang="fr-FR" sz="2249" kern="0" dirty="0" err="1">
                <a:solidFill>
                  <a:schemeClr val="accent4"/>
                </a:solidFill>
              </a:rPr>
              <a:t>DTUs</a:t>
            </a:r>
            <a:endParaRPr lang="fr-FR" sz="2249" kern="0" dirty="0">
              <a:solidFill>
                <a:schemeClr val="accent4"/>
              </a:solidFill>
            </a:endParaRPr>
          </a:p>
        </p:txBody>
      </p:sp>
      <p:sp>
        <p:nvSpPr>
          <p:cNvPr id="715" name="Rectangle 714"/>
          <p:cNvSpPr/>
          <p:nvPr/>
        </p:nvSpPr>
        <p:spPr bwMode="auto">
          <a:xfrm>
            <a:off x="6448784" y="4865261"/>
            <a:ext cx="1611487" cy="1029423"/>
          </a:xfrm>
          <a:prstGeom prst="rect">
            <a:avLst/>
          </a:prstGeom>
          <a:noFill/>
          <a:ln w="38100" cap="flat" cmpd="sng" algn="ctr">
            <a:noFill/>
            <a:prstDash val="solid"/>
            <a:headEnd type="none" w="med" len="med"/>
            <a:tailEnd type="none" w="med" len="med"/>
          </a:ln>
          <a:effectLst/>
        </p:spPr>
        <p:txBody>
          <a:bodyPr rot="0" spcFirstLastPara="0" vertOverflow="overflow" horzOverflow="overflow" vert="horz" wrap="square" lIns="171381" tIns="137105" rIns="171381" bIns="137105" numCol="1" spcCol="0" rtlCol="0" fromWordArt="0" anchor="t" anchorCtr="0" forceAA="0" compatLnSpc="1">
            <a:prstTxWarp prst="textNoShape">
              <a:avLst/>
            </a:prstTxWarp>
            <a:noAutofit/>
          </a:bodyPr>
          <a:lstStyle/>
          <a:p>
            <a:pPr algn="ctr" defTabSz="873886" fontAlgn="base">
              <a:lnSpc>
                <a:spcPct val="90000"/>
              </a:lnSpc>
              <a:spcBef>
                <a:spcPct val="0"/>
              </a:spcBef>
              <a:spcAft>
                <a:spcPct val="0"/>
              </a:spcAft>
              <a:defRPr/>
            </a:pPr>
            <a:endParaRPr lang="fr-FR" sz="2249" kern="0" dirty="0">
              <a:solidFill>
                <a:schemeClr val="accent6"/>
              </a:solidFill>
              <a:ea typeface="Segoe UI" pitchFamily="34" charset="0"/>
              <a:cs typeface="Segoe UI" pitchFamily="34" charset="0"/>
            </a:endParaRPr>
          </a:p>
        </p:txBody>
      </p:sp>
      <p:sp>
        <p:nvSpPr>
          <p:cNvPr id="716" name="Rectangle 715"/>
          <p:cNvSpPr/>
          <p:nvPr/>
        </p:nvSpPr>
        <p:spPr bwMode="auto">
          <a:xfrm>
            <a:off x="8337072" y="3812168"/>
            <a:ext cx="1611487" cy="2082517"/>
          </a:xfrm>
          <a:prstGeom prst="rect">
            <a:avLst/>
          </a:prstGeom>
          <a:noFill/>
          <a:ln w="38100" cap="flat" cmpd="sng" algn="ctr">
            <a:noFill/>
            <a:prstDash val="solid"/>
            <a:headEnd type="none" w="med" len="med"/>
            <a:tailEnd type="none" w="med" len="med"/>
          </a:ln>
          <a:effectLst/>
        </p:spPr>
        <p:txBody>
          <a:bodyPr rot="0" spcFirstLastPara="0" vertOverflow="overflow" horzOverflow="overflow" vert="horz" wrap="square" lIns="171381" tIns="137105" rIns="171381" bIns="137105" numCol="1" spcCol="0" rtlCol="0" fromWordArt="0" anchor="t" anchorCtr="0" forceAA="0" compatLnSpc="1">
            <a:prstTxWarp prst="textNoShape">
              <a:avLst/>
            </a:prstTxWarp>
            <a:noAutofit/>
          </a:bodyPr>
          <a:lstStyle/>
          <a:p>
            <a:pPr algn="ctr" defTabSz="873886" fontAlgn="base">
              <a:lnSpc>
                <a:spcPct val="90000"/>
              </a:lnSpc>
              <a:spcBef>
                <a:spcPct val="0"/>
              </a:spcBef>
              <a:spcAft>
                <a:spcPct val="0"/>
              </a:spcAft>
              <a:defRPr/>
            </a:pPr>
            <a:endParaRPr lang="fr-FR" sz="2249" kern="0" dirty="0">
              <a:solidFill>
                <a:schemeClr val="accent6"/>
              </a:solidFill>
              <a:ea typeface="Segoe UI" pitchFamily="34" charset="0"/>
              <a:cs typeface="Segoe UI" pitchFamily="34" charset="0"/>
            </a:endParaRPr>
          </a:p>
        </p:txBody>
      </p:sp>
      <p:sp>
        <p:nvSpPr>
          <p:cNvPr id="717" name="TextBox 716"/>
          <p:cNvSpPr txBox="1"/>
          <p:nvPr/>
        </p:nvSpPr>
        <p:spPr>
          <a:xfrm>
            <a:off x="6872032" y="5844762"/>
            <a:ext cx="812584" cy="588383"/>
          </a:xfrm>
          <a:prstGeom prst="rect">
            <a:avLst/>
          </a:prstGeom>
          <a:noFill/>
          <a:ln>
            <a:noFill/>
          </a:ln>
        </p:spPr>
        <p:txBody>
          <a:bodyPr wrap="none" lIns="171381" tIns="137105" rIns="171381" bIns="137105" rtlCol="0">
            <a:spAutoFit/>
          </a:bodyPr>
          <a:lstStyle/>
          <a:p>
            <a:pPr algn="ctr" defTabSz="856949">
              <a:lnSpc>
                <a:spcPct val="90000"/>
              </a:lnSpc>
              <a:spcAft>
                <a:spcPts val="562"/>
              </a:spcAft>
              <a:defRPr/>
            </a:pPr>
            <a:r>
              <a:rPr lang="fr-FR" sz="2249" kern="0" dirty="0">
                <a:solidFill>
                  <a:schemeClr val="accent4"/>
                </a:solidFill>
              </a:rPr>
              <a:t>400</a:t>
            </a:r>
          </a:p>
        </p:txBody>
      </p:sp>
      <p:sp>
        <p:nvSpPr>
          <p:cNvPr id="718" name="TextBox 717"/>
          <p:cNvSpPr txBox="1"/>
          <p:nvPr/>
        </p:nvSpPr>
        <p:spPr>
          <a:xfrm>
            <a:off x="8694442" y="5844762"/>
            <a:ext cx="812584" cy="588383"/>
          </a:xfrm>
          <a:prstGeom prst="rect">
            <a:avLst/>
          </a:prstGeom>
          <a:noFill/>
        </p:spPr>
        <p:txBody>
          <a:bodyPr wrap="none" lIns="171381" tIns="137105" rIns="171381" bIns="137105" rtlCol="0">
            <a:spAutoFit/>
          </a:bodyPr>
          <a:lstStyle/>
          <a:p>
            <a:pPr algn="ctr" defTabSz="856949">
              <a:lnSpc>
                <a:spcPct val="90000"/>
              </a:lnSpc>
              <a:spcAft>
                <a:spcPts val="562"/>
              </a:spcAft>
              <a:defRPr/>
            </a:pPr>
            <a:r>
              <a:rPr lang="fr-FR" sz="2249" kern="0" dirty="0">
                <a:solidFill>
                  <a:schemeClr val="accent4"/>
                </a:solidFill>
              </a:rPr>
              <a:t>800</a:t>
            </a:r>
          </a:p>
        </p:txBody>
      </p:sp>
      <p:grpSp>
        <p:nvGrpSpPr>
          <p:cNvPr id="719" name="Group 718"/>
          <p:cNvGrpSpPr/>
          <p:nvPr/>
        </p:nvGrpSpPr>
        <p:grpSpPr>
          <a:xfrm>
            <a:off x="4774351" y="5513664"/>
            <a:ext cx="1224579" cy="259690"/>
            <a:chOff x="4313237" y="5582348"/>
            <a:chExt cx="1306743" cy="277114"/>
          </a:xfrm>
        </p:grpSpPr>
        <p:grpSp>
          <p:nvGrpSpPr>
            <p:cNvPr id="720" name="Group 719"/>
            <p:cNvGrpSpPr/>
            <p:nvPr/>
          </p:nvGrpSpPr>
          <p:grpSpPr>
            <a:xfrm>
              <a:off x="4387586" y="5582348"/>
              <a:ext cx="602070" cy="223776"/>
              <a:chOff x="621719" y="4712770"/>
              <a:chExt cx="1904166" cy="707737"/>
            </a:xfrm>
          </p:grpSpPr>
          <p:sp>
            <p:nvSpPr>
              <p:cNvPr id="741" name="Can 740"/>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742" name="Can 741"/>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743" name="Can 742"/>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721" name="Group 720"/>
            <p:cNvGrpSpPr/>
            <p:nvPr/>
          </p:nvGrpSpPr>
          <p:grpSpPr>
            <a:xfrm>
              <a:off x="4353433" y="5611941"/>
              <a:ext cx="602070" cy="223776"/>
              <a:chOff x="621719" y="4712770"/>
              <a:chExt cx="1904166" cy="707737"/>
            </a:xfrm>
          </p:grpSpPr>
          <p:sp>
            <p:nvSpPr>
              <p:cNvPr id="738" name="Can 737"/>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739" name="Can 738"/>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740" name="Can 739"/>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722" name="Group 721"/>
            <p:cNvGrpSpPr/>
            <p:nvPr/>
          </p:nvGrpSpPr>
          <p:grpSpPr>
            <a:xfrm>
              <a:off x="4313237" y="5635686"/>
              <a:ext cx="602070" cy="223776"/>
              <a:chOff x="621719" y="4712770"/>
              <a:chExt cx="1904166" cy="707737"/>
            </a:xfrm>
          </p:grpSpPr>
          <p:sp>
            <p:nvSpPr>
              <p:cNvPr id="735" name="Can 734"/>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736" name="Can 735"/>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737" name="Can 736"/>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723" name="Group 722"/>
            <p:cNvGrpSpPr/>
            <p:nvPr/>
          </p:nvGrpSpPr>
          <p:grpSpPr>
            <a:xfrm>
              <a:off x="5017910" y="5582348"/>
              <a:ext cx="602070" cy="223776"/>
              <a:chOff x="621719" y="4712770"/>
              <a:chExt cx="1904166" cy="707737"/>
            </a:xfrm>
          </p:grpSpPr>
          <p:sp>
            <p:nvSpPr>
              <p:cNvPr id="732" name="Can 731"/>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733" name="Can 732"/>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734" name="Can 733"/>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724" name="Group 723"/>
            <p:cNvGrpSpPr/>
            <p:nvPr/>
          </p:nvGrpSpPr>
          <p:grpSpPr>
            <a:xfrm>
              <a:off x="4983757" y="5611941"/>
              <a:ext cx="602070" cy="223776"/>
              <a:chOff x="621719" y="4712770"/>
              <a:chExt cx="1904166" cy="707737"/>
            </a:xfrm>
          </p:grpSpPr>
          <p:sp>
            <p:nvSpPr>
              <p:cNvPr id="729" name="Can 728"/>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730" name="Can 729"/>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731" name="Can 730"/>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725" name="Group 724"/>
            <p:cNvGrpSpPr/>
            <p:nvPr/>
          </p:nvGrpSpPr>
          <p:grpSpPr>
            <a:xfrm>
              <a:off x="4943561" y="5635686"/>
              <a:ext cx="602070" cy="223776"/>
              <a:chOff x="621719" y="4712770"/>
              <a:chExt cx="1904166" cy="707737"/>
            </a:xfrm>
          </p:grpSpPr>
          <p:sp>
            <p:nvSpPr>
              <p:cNvPr id="726" name="Can 725"/>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727" name="Can 726"/>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728" name="Can 727"/>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grpSp>
        <p:nvGrpSpPr>
          <p:cNvPr id="744" name="Group 743"/>
          <p:cNvGrpSpPr/>
          <p:nvPr/>
        </p:nvGrpSpPr>
        <p:grpSpPr>
          <a:xfrm>
            <a:off x="6630979" y="5508968"/>
            <a:ext cx="1224579" cy="259690"/>
            <a:chOff x="4313237" y="5582348"/>
            <a:chExt cx="1306743" cy="277114"/>
          </a:xfrm>
        </p:grpSpPr>
        <p:grpSp>
          <p:nvGrpSpPr>
            <p:cNvPr id="745" name="Group 744"/>
            <p:cNvGrpSpPr/>
            <p:nvPr/>
          </p:nvGrpSpPr>
          <p:grpSpPr>
            <a:xfrm>
              <a:off x="4387586" y="5582348"/>
              <a:ext cx="602070" cy="223776"/>
              <a:chOff x="621719" y="4712770"/>
              <a:chExt cx="1904166" cy="707737"/>
            </a:xfrm>
          </p:grpSpPr>
          <p:sp>
            <p:nvSpPr>
              <p:cNvPr id="766" name="Can 765"/>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767" name="Can 766"/>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768" name="Can 767"/>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746" name="Group 745"/>
            <p:cNvGrpSpPr/>
            <p:nvPr/>
          </p:nvGrpSpPr>
          <p:grpSpPr>
            <a:xfrm>
              <a:off x="4353433" y="5611941"/>
              <a:ext cx="602070" cy="223776"/>
              <a:chOff x="621719" y="4712770"/>
              <a:chExt cx="1904166" cy="707737"/>
            </a:xfrm>
          </p:grpSpPr>
          <p:sp>
            <p:nvSpPr>
              <p:cNvPr id="763" name="Can 762"/>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764" name="Can 763"/>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765" name="Can 764"/>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747" name="Group 746"/>
            <p:cNvGrpSpPr/>
            <p:nvPr/>
          </p:nvGrpSpPr>
          <p:grpSpPr>
            <a:xfrm>
              <a:off x="4313237" y="5635686"/>
              <a:ext cx="602070" cy="223776"/>
              <a:chOff x="621719" y="4712770"/>
              <a:chExt cx="1904166" cy="707737"/>
            </a:xfrm>
          </p:grpSpPr>
          <p:sp>
            <p:nvSpPr>
              <p:cNvPr id="760" name="Can 759"/>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761" name="Can 760"/>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762" name="Can 761"/>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748" name="Group 747"/>
            <p:cNvGrpSpPr/>
            <p:nvPr/>
          </p:nvGrpSpPr>
          <p:grpSpPr>
            <a:xfrm>
              <a:off x="5017910" y="5582348"/>
              <a:ext cx="602070" cy="223776"/>
              <a:chOff x="621719" y="4712770"/>
              <a:chExt cx="1904166" cy="707737"/>
            </a:xfrm>
          </p:grpSpPr>
          <p:sp>
            <p:nvSpPr>
              <p:cNvPr id="757" name="Can 756"/>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758" name="Can 757"/>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759" name="Can 758"/>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749" name="Group 748"/>
            <p:cNvGrpSpPr/>
            <p:nvPr/>
          </p:nvGrpSpPr>
          <p:grpSpPr>
            <a:xfrm>
              <a:off x="4983757" y="5611941"/>
              <a:ext cx="602070" cy="223776"/>
              <a:chOff x="621719" y="4712770"/>
              <a:chExt cx="1904166" cy="707737"/>
            </a:xfrm>
          </p:grpSpPr>
          <p:sp>
            <p:nvSpPr>
              <p:cNvPr id="754" name="Can 753"/>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755" name="Can 754"/>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756" name="Can 755"/>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750" name="Group 749"/>
            <p:cNvGrpSpPr/>
            <p:nvPr/>
          </p:nvGrpSpPr>
          <p:grpSpPr>
            <a:xfrm>
              <a:off x="4943561" y="5635686"/>
              <a:ext cx="602070" cy="223776"/>
              <a:chOff x="621719" y="4712770"/>
              <a:chExt cx="1904166" cy="707737"/>
            </a:xfrm>
          </p:grpSpPr>
          <p:sp>
            <p:nvSpPr>
              <p:cNvPr id="751" name="Can 750"/>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752" name="Can 751"/>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753" name="Can 752"/>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grpSp>
        <p:nvGrpSpPr>
          <p:cNvPr id="769" name="Group 768"/>
          <p:cNvGrpSpPr/>
          <p:nvPr/>
        </p:nvGrpSpPr>
        <p:grpSpPr>
          <a:xfrm>
            <a:off x="6630979" y="5299438"/>
            <a:ext cx="1224579" cy="259690"/>
            <a:chOff x="4313237" y="5582348"/>
            <a:chExt cx="1306743" cy="277114"/>
          </a:xfrm>
        </p:grpSpPr>
        <p:grpSp>
          <p:nvGrpSpPr>
            <p:cNvPr id="770" name="Group 769"/>
            <p:cNvGrpSpPr/>
            <p:nvPr/>
          </p:nvGrpSpPr>
          <p:grpSpPr>
            <a:xfrm>
              <a:off x="4387586" y="5582348"/>
              <a:ext cx="602070" cy="223776"/>
              <a:chOff x="621719" y="4712770"/>
              <a:chExt cx="1904166" cy="707737"/>
            </a:xfrm>
          </p:grpSpPr>
          <p:sp>
            <p:nvSpPr>
              <p:cNvPr id="791" name="Can 790"/>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792" name="Can 791"/>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793" name="Can 792"/>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771" name="Group 770"/>
            <p:cNvGrpSpPr/>
            <p:nvPr/>
          </p:nvGrpSpPr>
          <p:grpSpPr>
            <a:xfrm>
              <a:off x="4353433" y="5611941"/>
              <a:ext cx="602070" cy="223776"/>
              <a:chOff x="621719" y="4712770"/>
              <a:chExt cx="1904166" cy="707737"/>
            </a:xfrm>
          </p:grpSpPr>
          <p:sp>
            <p:nvSpPr>
              <p:cNvPr id="788" name="Can 787"/>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789" name="Can 788"/>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790" name="Can 789"/>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772" name="Group 771"/>
            <p:cNvGrpSpPr/>
            <p:nvPr/>
          </p:nvGrpSpPr>
          <p:grpSpPr>
            <a:xfrm>
              <a:off x="4313237" y="5635686"/>
              <a:ext cx="602070" cy="223776"/>
              <a:chOff x="621719" y="4712770"/>
              <a:chExt cx="1904166" cy="707737"/>
            </a:xfrm>
          </p:grpSpPr>
          <p:sp>
            <p:nvSpPr>
              <p:cNvPr id="785" name="Can 784"/>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786" name="Can 785"/>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787" name="Can 786"/>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773" name="Group 772"/>
            <p:cNvGrpSpPr/>
            <p:nvPr/>
          </p:nvGrpSpPr>
          <p:grpSpPr>
            <a:xfrm>
              <a:off x="5017910" y="5582348"/>
              <a:ext cx="602070" cy="223776"/>
              <a:chOff x="621719" y="4712770"/>
              <a:chExt cx="1904166" cy="707737"/>
            </a:xfrm>
          </p:grpSpPr>
          <p:sp>
            <p:nvSpPr>
              <p:cNvPr id="782" name="Can 781"/>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783" name="Can 782"/>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784" name="Can 783"/>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774" name="Group 773"/>
            <p:cNvGrpSpPr/>
            <p:nvPr/>
          </p:nvGrpSpPr>
          <p:grpSpPr>
            <a:xfrm>
              <a:off x="4983757" y="5611941"/>
              <a:ext cx="602070" cy="223776"/>
              <a:chOff x="621719" y="4712770"/>
              <a:chExt cx="1904166" cy="707737"/>
            </a:xfrm>
          </p:grpSpPr>
          <p:sp>
            <p:nvSpPr>
              <p:cNvPr id="779" name="Can 778"/>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780" name="Can 779"/>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781" name="Can 780"/>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775" name="Group 774"/>
            <p:cNvGrpSpPr/>
            <p:nvPr/>
          </p:nvGrpSpPr>
          <p:grpSpPr>
            <a:xfrm>
              <a:off x="4943561" y="5635686"/>
              <a:ext cx="602070" cy="223776"/>
              <a:chOff x="621719" y="4712770"/>
              <a:chExt cx="1904166" cy="707737"/>
            </a:xfrm>
          </p:grpSpPr>
          <p:sp>
            <p:nvSpPr>
              <p:cNvPr id="776" name="Can 775"/>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777" name="Can 776"/>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778" name="Can 777"/>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grpSp>
        <p:nvGrpSpPr>
          <p:cNvPr id="794" name="Group 793"/>
          <p:cNvGrpSpPr/>
          <p:nvPr/>
        </p:nvGrpSpPr>
        <p:grpSpPr>
          <a:xfrm>
            <a:off x="6630979" y="5079822"/>
            <a:ext cx="1224579" cy="259690"/>
            <a:chOff x="4313237" y="5582348"/>
            <a:chExt cx="1306743" cy="277114"/>
          </a:xfrm>
        </p:grpSpPr>
        <p:grpSp>
          <p:nvGrpSpPr>
            <p:cNvPr id="795" name="Group 794"/>
            <p:cNvGrpSpPr/>
            <p:nvPr/>
          </p:nvGrpSpPr>
          <p:grpSpPr>
            <a:xfrm>
              <a:off x="4387586" y="5582348"/>
              <a:ext cx="602070" cy="223776"/>
              <a:chOff x="621719" y="4712770"/>
              <a:chExt cx="1904166" cy="707737"/>
            </a:xfrm>
          </p:grpSpPr>
          <p:sp>
            <p:nvSpPr>
              <p:cNvPr id="816" name="Can 815"/>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817" name="Can 816"/>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818" name="Can 817"/>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796" name="Group 795"/>
            <p:cNvGrpSpPr/>
            <p:nvPr/>
          </p:nvGrpSpPr>
          <p:grpSpPr>
            <a:xfrm>
              <a:off x="4353433" y="5611941"/>
              <a:ext cx="602070" cy="223776"/>
              <a:chOff x="621719" y="4712770"/>
              <a:chExt cx="1904166" cy="707737"/>
            </a:xfrm>
          </p:grpSpPr>
          <p:sp>
            <p:nvSpPr>
              <p:cNvPr id="813" name="Can 812"/>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814" name="Can 813"/>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815" name="Can 814"/>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797" name="Group 796"/>
            <p:cNvGrpSpPr/>
            <p:nvPr/>
          </p:nvGrpSpPr>
          <p:grpSpPr>
            <a:xfrm>
              <a:off x="4313237" y="5635686"/>
              <a:ext cx="602070" cy="223776"/>
              <a:chOff x="621719" y="4712770"/>
              <a:chExt cx="1904166" cy="707737"/>
            </a:xfrm>
          </p:grpSpPr>
          <p:sp>
            <p:nvSpPr>
              <p:cNvPr id="810" name="Can 809"/>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811" name="Can 810"/>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812" name="Can 811"/>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798" name="Group 797"/>
            <p:cNvGrpSpPr/>
            <p:nvPr/>
          </p:nvGrpSpPr>
          <p:grpSpPr>
            <a:xfrm>
              <a:off x="5017910" y="5582348"/>
              <a:ext cx="602070" cy="223776"/>
              <a:chOff x="621719" y="4712770"/>
              <a:chExt cx="1904166" cy="707737"/>
            </a:xfrm>
          </p:grpSpPr>
          <p:sp>
            <p:nvSpPr>
              <p:cNvPr id="807" name="Can 806"/>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808" name="Can 807"/>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809" name="Can 808"/>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799" name="Group 798"/>
            <p:cNvGrpSpPr/>
            <p:nvPr/>
          </p:nvGrpSpPr>
          <p:grpSpPr>
            <a:xfrm>
              <a:off x="4983757" y="5611941"/>
              <a:ext cx="602070" cy="223776"/>
              <a:chOff x="621719" y="4712770"/>
              <a:chExt cx="1904166" cy="707737"/>
            </a:xfrm>
          </p:grpSpPr>
          <p:sp>
            <p:nvSpPr>
              <p:cNvPr id="804" name="Can 803"/>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805" name="Can 804"/>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806" name="Can 805"/>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800" name="Group 799"/>
            <p:cNvGrpSpPr/>
            <p:nvPr/>
          </p:nvGrpSpPr>
          <p:grpSpPr>
            <a:xfrm>
              <a:off x="4943561" y="5635686"/>
              <a:ext cx="602070" cy="223776"/>
              <a:chOff x="621719" y="4712770"/>
              <a:chExt cx="1904166" cy="707737"/>
            </a:xfrm>
          </p:grpSpPr>
          <p:sp>
            <p:nvSpPr>
              <p:cNvPr id="801" name="Can 800"/>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802" name="Can 801"/>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803" name="Can 802"/>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grpSp>
        <p:nvGrpSpPr>
          <p:cNvPr id="819" name="Group 818"/>
          <p:cNvGrpSpPr/>
          <p:nvPr/>
        </p:nvGrpSpPr>
        <p:grpSpPr>
          <a:xfrm>
            <a:off x="8559015" y="5508968"/>
            <a:ext cx="1224579" cy="259690"/>
            <a:chOff x="4313237" y="5582348"/>
            <a:chExt cx="1306743" cy="277114"/>
          </a:xfrm>
        </p:grpSpPr>
        <p:grpSp>
          <p:nvGrpSpPr>
            <p:cNvPr id="820" name="Group 819"/>
            <p:cNvGrpSpPr/>
            <p:nvPr/>
          </p:nvGrpSpPr>
          <p:grpSpPr>
            <a:xfrm>
              <a:off x="4387586" y="5582348"/>
              <a:ext cx="602070" cy="223776"/>
              <a:chOff x="621719" y="4712770"/>
              <a:chExt cx="1904166" cy="707737"/>
            </a:xfrm>
          </p:grpSpPr>
          <p:sp>
            <p:nvSpPr>
              <p:cNvPr id="841" name="Can 840"/>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842" name="Can 841"/>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843" name="Can 842"/>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821" name="Group 820"/>
            <p:cNvGrpSpPr/>
            <p:nvPr/>
          </p:nvGrpSpPr>
          <p:grpSpPr>
            <a:xfrm>
              <a:off x="4353433" y="5611941"/>
              <a:ext cx="602070" cy="223776"/>
              <a:chOff x="621719" y="4712770"/>
              <a:chExt cx="1904166" cy="707737"/>
            </a:xfrm>
          </p:grpSpPr>
          <p:sp>
            <p:nvSpPr>
              <p:cNvPr id="838" name="Can 837"/>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839" name="Can 838"/>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840" name="Can 839"/>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822" name="Group 821"/>
            <p:cNvGrpSpPr/>
            <p:nvPr/>
          </p:nvGrpSpPr>
          <p:grpSpPr>
            <a:xfrm>
              <a:off x="4313237" y="5635686"/>
              <a:ext cx="602070" cy="223776"/>
              <a:chOff x="621719" y="4712770"/>
              <a:chExt cx="1904166" cy="707737"/>
            </a:xfrm>
          </p:grpSpPr>
          <p:sp>
            <p:nvSpPr>
              <p:cNvPr id="835" name="Can 834"/>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836" name="Can 835"/>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837" name="Can 836"/>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823" name="Group 822"/>
            <p:cNvGrpSpPr/>
            <p:nvPr/>
          </p:nvGrpSpPr>
          <p:grpSpPr>
            <a:xfrm>
              <a:off x="5017910" y="5582348"/>
              <a:ext cx="602070" cy="223776"/>
              <a:chOff x="621719" y="4712770"/>
              <a:chExt cx="1904166" cy="707737"/>
            </a:xfrm>
          </p:grpSpPr>
          <p:sp>
            <p:nvSpPr>
              <p:cNvPr id="832" name="Can 831"/>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833" name="Can 832"/>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834" name="Can 833"/>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824" name="Group 823"/>
            <p:cNvGrpSpPr/>
            <p:nvPr/>
          </p:nvGrpSpPr>
          <p:grpSpPr>
            <a:xfrm>
              <a:off x="4983757" y="5611941"/>
              <a:ext cx="602070" cy="223776"/>
              <a:chOff x="621719" y="4712770"/>
              <a:chExt cx="1904166" cy="707737"/>
            </a:xfrm>
          </p:grpSpPr>
          <p:sp>
            <p:nvSpPr>
              <p:cNvPr id="829" name="Can 828"/>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830" name="Can 829"/>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831" name="Can 830"/>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825" name="Group 824"/>
            <p:cNvGrpSpPr/>
            <p:nvPr/>
          </p:nvGrpSpPr>
          <p:grpSpPr>
            <a:xfrm>
              <a:off x="4943561" y="5635686"/>
              <a:ext cx="602070" cy="223776"/>
              <a:chOff x="621719" y="4712770"/>
              <a:chExt cx="1904166" cy="707737"/>
            </a:xfrm>
          </p:grpSpPr>
          <p:sp>
            <p:nvSpPr>
              <p:cNvPr id="826" name="Can 825"/>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827" name="Can 826"/>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828" name="Can 827"/>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grpSp>
        <p:nvGrpSpPr>
          <p:cNvPr id="844" name="Group 843"/>
          <p:cNvGrpSpPr/>
          <p:nvPr/>
        </p:nvGrpSpPr>
        <p:grpSpPr>
          <a:xfrm>
            <a:off x="8559015" y="5299438"/>
            <a:ext cx="1224579" cy="259690"/>
            <a:chOff x="4313237" y="5582348"/>
            <a:chExt cx="1306743" cy="277114"/>
          </a:xfrm>
        </p:grpSpPr>
        <p:grpSp>
          <p:nvGrpSpPr>
            <p:cNvPr id="845" name="Group 844"/>
            <p:cNvGrpSpPr/>
            <p:nvPr/>
          </p:nvGrpSpPr>
          <p:grpSpPr>
            <a:xfrm>
              <a:off x="4387586" y="5582348"/>
              <a:ext cx="602070" cy="223776"/>
              <a:chOff x="621719" y="4712770"/>
              <a:chExt cx="1904166" cy="707737"/>
            </a:xfrm>
          </p:grpSpPr>
          <p:sp>
            <p:nvSpPr>
              <p:cNvPr id="866" name="Can 865"/>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867" name="Can 866"/>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868" name="Can 867"/>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846" name="Group 845"/>
            <p:cNvGrpSpPr/>
            <p:nvPr/>
          </p:nvGrpSpPr>
          <p:grpSpPr>
            <a:xfrm>
              <a:off x="4353433" y="5611941"/>
              <a:ext cx="602070" cy="223776"/>
              <a:chOff x="621719" y="4712770"/>
              <a:chExt cx="1904166" cy="707737"/>
            </a:xfrm>
          </p:grpSpPr>
          <p:sp>
            <p:nvSpPr>
              <p:cNvPr id="863" name="Can 862"/>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864" name="Can 863"/>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865" name="Can 864"/>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847" name="Group 846"/>
            <p:cNvGrpSpPr/>
            <p:nvPr/>
          </p:nvGrpSpPr>
          <p:grpSpPr>
            <a:xfrm>
              <a:off x="4313237" y="5635686"/>
              <a:ext cx="602070" cy="223776"/>
              <a:chOff x="621719" y="4712770"/>
              <a:chExt cx="1904166" cy="707737"/>
            </a:xfrm>
          </p:grpSpPr>
          <p:sp>
            <p:nvSpPr>
              <p:cNvPr id="860" name="Can 859"/>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861" name="Can 860"/>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862" name="Can 861"/>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848" name="Group 847"/>
            <p:cNvGrpSpPr/>
            <p:nvPr/>
          </p:nvGrpSpPr>
          <p:grpSpPr>
            <a:xfrm>
              <a:off x="5017910" y="5582348"/>
              <a:ext cx="602070" cy="223776"/>
              <a:chOff x="621719" y="4712770"/>
              <a:chExt cx="1904166" cy="707737"/>
            </a:xfrm>
          </p:grpSpPr>
          <p:sp>
            <p:nvSpPr>
              <p:cNvPr id="857" name="Can 856"/>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858" name="Can 857"/>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859" name="Can 858"/>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849" name="Group 848"/>
            <p:cNvGrpSpPr/>
            <p:nvPr/>
          </p:nvGrpSpPr>
          <p:grpSpPr>
            <a:xfrm>
              <a:off x="4983757" y="5611941"/>
              <a:ext cx="602070" cy="223776"/>
              <a:chOff x="621719" y="4712770"/>
              <a:chExt cx="1904166" cy="707737"/>
            </a:xfrm>
          </p:grpSpPr>
          <p:sp>
            <p:nvSpPr>
              <p:cNvPr id="854" name="Can 853"/>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855" name="Can 854"/>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856" name="Can 855"/>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850" name="Group 849"/>
            <p:cNvGrpSpPr/>
            <p:nvPr/>
          </p:nvGrpSpPr>
          <p:grpSpPr>
            <a:xfrm>
              <a:off x="4943561" y="5635686"/>
              <a:ext cx="602070" cy="223776"/>
              <a:chOff x="621719" y="4712770"/>
              <a:chExt cx="1904166" cy="707737"/>
            </a:xfrm>
          </p:grpSpPr>
          <p:sp>
            <p:nvSpPr>
              <p:cNvPr id="851" name="Can 850"/>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852" name="Can 851"/>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853" name="Can 852"/>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grpSp>
        <p:nvGrpSpPr>
          <p:cNvPr id="869" name="Group 868"/>
          <p:cNvGrpSpPr/>
          <p:nvPr/>
        </p:nvGrpSpPr>
        <p:grpSpPr>
          <a:xfrm>
            <a:off x="8559015" y="5079822"/>
            <a:ext cx="1224579" cy="259690"/>
            <a:chOff x="4313237" y="5582348"/>
            <a:chExt cx="1306743" cy="277114"/>
          </a:xfrm>
        </p:grpSpPr>
        <p:grpSp>
          <p:nvGrpSpPr>
            <p:cNvPr id="870" name="Group 869"/>
            <p:cNvGrpSpPr/>
            <p:nvPr/>
          </p:nvGrpSpPr>
          <p:grpSpPr>
            <a:xfrm>
              <a:off x="4387586" y="5582348"/>
              <a:ext cx="602070" cy="223776"/>
              <a:chOff x="621719" y="4712770"/>
              <a:chExt cx="1904166" cy="707737"/>
            </a:xfrm>
          </p:grpSpPr>
          <p:sp>
            <p:nvSpPr>
              <p:cNvPr id="891" name="Can 890"/>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892" name="Can 891"/>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893" name="Can 892"/>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871" name="Group 870"/>
            <p:cNvGrpSpPr/>
            <p:nvPr/>
          </p:nvGrpSpPr>
          <p:grpSpPr>
            <a:xfrm>
              <a:off x="4353433" y="5611941"/>
              <a:ext cx="602070" cy="223776"/>
              <a:chOff x="621719" y="4712770"/>
              <a:chExt cx="1904166" cy="707737"/>
            </a:xfrm>
          </p:grpSpPr>
          <p:sp>
            <p:nvSpPr>
              <p:cNvPr id="888" name="Can 887"/>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889" name="Can 888"/>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890" name="Can 889"/>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872" name="Group 871"/>
            <p:cNvGrpSpPr/>
            <p:nvPr/>
          </p:nvGrpSpPr>
          <p:grpSpPr>
            <a:xfrm>
              <a:off x="4313237" y="5635686"/>
              <a:ext cx="602070" cy="223776"/>
              <a:chOff x="621719" y="4712770"/>
              <a:chExt cx="1904166" cy="707737"/>
            </a:xfrm>
          </p:grpSpPr>
          <p:sp>
            <p:nvSpPr>
              <p:cNvPr id="885" name="Can 884"/>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886" name="Can 885"/>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887" name="Can 886"/>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873" name="Group 872"/>
            <p:cNvGrpSpPr/>
            <p:nvPr/>
          </p:nvGrpSpPr>
          <p:grpSpPr>
            <a:xfrm>
              <a:off x="5017910" y="5582348"/>
              <a:ext cx="602070" cy="223776"/>
              <a:chOff x="621719" y="4712770"/>
              <a:chExt cx="1904166" cy="707737"/>
            </a:xfrm>
          </p:grpSpPr>
          <p:sp>
            <p:nvSpPr>
              <p:cNvPr id="882" name="Can 881"/>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883" name="Can 882"/>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884" name="Can 883"/>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874" name="Group 873"/>
            <p:cNvGrpSpPr/>
            <p:nvPr/>
          </p:nvGrpSpPr>
          <p:grpSpPr>
            <a:xfrm>
              <a:off x="4983757" y="5611941"/>
              <a:ext cx="602070" cy="223776"/>
              <a:chOff x="621719" y="4712770"/>
              <a:chExt cx="1904166" cy="707737"/>
            </a:xfrm>
          </p:grpSpPr>
          <p:sp>
            <p:nvSpPr>
              <p:cNvPr id="879" name="Can 878"/>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880" name="Can 879"/>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881" name="Can 880"/>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875" name="Group 874"/>
            <p:cNvGrpSpPr/>
            <p:nvPr/>
          </p:nvGrpSpPr>
          <p:grpSpPr>
            <a:xfrm>
              <a:off x="4943561" y="5635686"/>
              <a:ext cx="602070" cy="223776"/>
              <a:chOff x="621719" y="4712770"/>
              <a:chExt cx="1904166" cy="707737"/>
            </a:xfrm>
          </p:grpSpPr>
          <p:sp>
            <p:nvSpPr>
              <p:cNvPr id="876" name="Can 875"/>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877" name="Can 876"/>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878" name="Can 877"/>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grpSp>
        <p:nvGrpSpPr>
          <p:cNvPr id="894" name="Group 893"/>
          <p:cNvGrpSpPr/>
          <p:nvPr/>
        </p:nvGrpSpPr>
        <p:grpSpPr>
          <a:xfrm>
            <a:off x="8559015" y="4870117"/>
            <a:ext cx="1224579" cy="259690"/>
            <a:chOff x="4313237" y="5582348"/>
            <a:chExt cx="1306743" cy="277114"/>
          </a:xfrm>
        </p:grpSpPr>
        <p:grpSp>
          <p:nvGrpSpPr>
            <p:cNvPr id="895" name="Group 894"/>
            <p:cNvGrpSpPr/>
            <p:nvPr/>
          </p:nvGrpSpPr>
          <p:grpSpPr>
            <a:xfrm>
              <a:off x="4387586" y="5582348"/>
              <a:ext cx="602070" cy="223776"/>
              <a:chOff x="621719" y="4712770"/>
              <a:chExt cx="1904166" cy="707737"/>
            </a:xfrm>
          </p:grpSpPr>
          <p:sp>
            <p:nvSpPr>
              <p:cNvPr id="916" name="Can 915"/>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917" name="Can 916"/>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918" name="Can 917"/>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896" name="Group 895"/>
            <p:cNvGrpSpPr/>
            <p:nvPr/>
          </p:nvGrpSpPr>
          <p:grpSpPr>
            <a:xfrm>
              <a:off x="4353433" y="5611941"/>
              <a:ext cx="602070" cy="223776"/>
              <a:chOff x="621719" y="4712770"/>
              <a:chExt cx="1904166" cy="707737"/>
            </a:xfrm>
          </p:grpSpPr>
          <p:sp>
            <p:nvSpPr>
              <p:cNvPr id="913" name="Can 912"/>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914" name="Can 913"/>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915" name="Can 914"/>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897" name="Group 896"/>
            <p:cNvGrpSpPr/>
            <p:nvPr/>
          </p:nvGrpSpPr>
          <p:grpSpPr>
            <a:xfrm>
              <a:off x="4313237" y="5635686"/>
              <a:ext cx="602070" cy="223776"/>
              <a:chOff x="621719" y="4712770"/>
              <a:chExt cx="1904166" cy="707737"/>
            </a:xfrm>
          </p:grpSpPr>
          <p:sp>
            <p:nvSpPr>
              <p:cNvPr id="910" name="Can 909"/>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911" name="Can 910"/>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912" name="Can 911"/>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898" name="Group 897"/>
            <p:cNvGrpSpPr/>
            <p:nvPr/>
          </p:nvGrpSpPr>
          <p:grpSpPr>
            <a:xfrm>
              <a:off x="5017910" y="5582348"/>
              <a:ext cx="602070" cy="223776"/>
              <a:chOff x="621719" y="4712770"/>
              <a:chExt cx="1904166" cy="707737"/>
            </a:xfrm>
          </p:grpSpPr>
          <p:sp>
            <p:nvSpPr>
              <p:cNvPr id="907" name="Can 906"/>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908" name="Can 907"/>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909" name="Can 908"/>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899" name="Group 898"/>
            <p:cNvGrpSpPr/>
            <p:nvPr/>
          </p:nvGrpSpPr>
          <p:grpSpPr>
            <a:xfrm>
              <a:off x="4983757" y="5611941"/>
              <a:ext cx="602070" cy="223776"/>
              <a:chOff x="621719" y="4712770"/>
              <a:chExt cx="1904166" cy="707737"/>
            </a:xfrm>
          </p:grpSpPr>
          <p:sp>
            <p:nvSpPr>
              <p:cNvPr id="904" name="Can 903"/>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905" name="Can 904"/>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906" name="Can 905"/>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900" name="Group 899"/>
            <p:cNvGrpSpPr/>
            <p:nvPr/>
          </p:nvGrpSpPr>
          <p:grpSpPr>
            <a:xfrm>
              <a:off x="4943561" y="5635686"/>
              <a:ext cx="602070" cy="223776"/>
              <a:chOff x="621719" y="4712770"/>
              <a:chExt cx="1904166" cy="707737"/>
            </a:xfrm>
          </p:grpSpPr>
          <p:sp>
            <p:nvSpPr>
              <p:cNvPr id="901" name="Can 900"/>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902" name="Can 901"/>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903" name="Can 902"/>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grpSp>
        <p:nvGrpSpPr>
          <p:cNvPr id="919" name="Group 918"/>
          <p:cNvGrpSpPr/>
          <p:nvPr/>
        </p:nvGrpSpPr>
        <p:grpSpPr>
          <a:xfrm>
            <a:off x="8559015" y="4656758"/>
            <a:ext cx="1224579" cy="259690"/>
            <a:chOff x="4313237" y="5582348"/>
            <a:chExt cx="1306743" cy="277114"/>
          </a:xfrm>
        </p:grpSpPr>
        <p:grpSp>
          <p:nvGrpSpPr>
            <p:cNvPr id="920" name="Group 919"/>
            <p:cNvGrpSpPr/>
            <p:nvPr/>
          </p:nvGrpSpPr>
          <p:grpSpPr>
            <a:xfrm>
              <a:off x="4387586" y="5582348"/>
              <a:ext cx="602070" cy="223776"/>
              <a:chOff x="621719" y="4712770"/>
              <a:chExt cx="1904166" cy="707737"/>
            </a:xfrm>
          </p:grpSpPr>
          <p:sp>
            <p:nvSpPr>
              <p:cNvPr id="941" name="Can 940"/>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942" name="Can 941"/>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943" name="Can 942"/>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921" name="Group 920"/>
            <p:cNvGrpSpPr/>
            <p:nvPr/>
          </p:nvGrpSpPr>
          <p:grpSpPr>
            <a:xfrm>
              <a:off x="4353433" y="5611941"/>
              <a:ext cx="602070" cy="223776"/>
              <a:chOff x="621719" y="4712770"/>
              <a:chExt cx="1904166" cy="707737"/>
            </a:xfrm>
          </p:grpSpPr>
          <p:sp>
            <p:nvSpPr>
              <p:cNvPr id="938" name="Can 937"/>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939" name="Can 938"/>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940" name="Can 939"/>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922" name="Group 921"/>
            <p:cNvGrpSpPr/>
            <p:nvPr/>
          </p:nvGrpSpPr>
          <p:grpSpPr>
            <a:xfrm>
              <a:off x="4313237" y="5635686"/>
              <a:ext cx="602070" cy="223776"/>
              <a:chOff x="621719" y="4712770"/>
              <a:chExt cx="1904166" cy="707737"/>
            </a:xfrm>
          </p:grpSpPr>
          <p:sp>
            <p:nvSpPr>
              <p:cNvPr id="935" name="Can 934"/>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936" name="Can 935"/>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937" name="Can 936"/>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923" name="Group 922"/>
            <p:cNvGrpSpPr/>
            <p:nvPr/>
          </p:nvGrpSpPr>
          <p:grpSpPr>
            <a:xfrm>
              <a:off x="5017910" y="5582348"/>
              <a:ext cx="602070" cy="223776"/>
              <a:chOff x="621719" y="4712770"/>
              <a:chExt cx="1904166" cy="707737"/>
            </a:xfrm>
          </p:grpSpPr>
          <p:sp>
            <p:nvSpPr>
              <p:cNvPr id="932" name="Can 931"/>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933" name="Can 932"/>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934" name="Can 933"/>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924" name="Group 923"/>
            <p:cNvGrpSpPr/>
            <p:nvPr/>
          </p:nvGrpSpPr>
          <p:grpSpPr>
            <a:xfrm>
              <a:off x="4983757" y="5611941"/>
              <a:ext cx="602070" cy="223776"/>
              <a:chOff x="621719" y="4712770"/>
              <a:chExt cx="1904166" cy="707737"/>
            </a:xfrm>
          </p:grpSpPr>
          <p:sp>
            <p:nvSpPr>
              <p:cNvPr id="929" name="Can 928"/>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930" name="Can 929"/>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931" name="Can 930"/>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925" name="Group 924"/>
            <p:cNvGrpSpPr/>
            <p:nvPr/>
          </p:nvGrpSpPr>
          <p:grpSpPr>
            <a:xfrm>
              <a:off x="4943561" y="5635686"/>
              <a:ext cx="602070" cy="223776"/>
              <a:chOff x="621719" y="4712770"/>
              <a:chExt cx="1904166" cy="707737"/>
            </a:xfrm>
          </p:grpSpPr>
          <p:sp>
            <p:nvSpPr>
              <p:cNvPr id="926" name="Can 925"/>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927" name="Can 926"/>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928" name="Can 927"/>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grpSp>
        <p:nvGrpSpPr>
          <p:cNvPr id="944" name="Group 943"/>
          <p:cNvGrpSpPr/>
          <p:nvPr/>
        </p:nvGrpSpPr>
        <p:grpSpPr>
          <a:xfrm>
            <a:off x="8559015" y="4442533"/>
            <a:ext cx="1224579" cy="259690"/>
            <a:chOff x="4313237" y="5582348"/>
            <a:chExt cx="1306743" cy="277114"/>
          </a:xfrm>
        </p:grpSpPr>
        <p:grpSp>
          <p:nvGrpSpPr>
            <p:cNvPr id="945" name="Group 944"/>
            <p:cNvGrpSpPr/>
            <p:nvPr/>
          </p:nvGrpSpPr>
          <p:grpSpPr>
            <a:xfrm>
              <a:off x="4387586" y="5582348"/>
              <a:ext cx="602070" cy="223776"/>
              <a:chOff x="621719" y="4712770"/>
              <a:chExt cx="1904166" cy="707737"/>
            </a:xfrm>
          </p:grpSpPr>
          <p:sp>
            <p:nvSpPr>
              <p:cNvPr id="966" name="Can 965"/>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967" name="Can 966"/>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968" name="Can 967"/>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946" name="Group 945"/>
            <p:cNvGrpSpPr/>
            <p:nvPr/>
          </p:nvGrpSpPr>
          <p:grpSpPr>
            <a:xfrm>
              <a:off x="4353433" y="5611941"/>
              <a:ext cx="602070" cy="223776"/>
              <a:chOff x="621719" y="4712770"/>
              <a:chExt cx="1904166" cy="707737"/>
            </a:xfrm>
          </p:grpSpPr>
          <p:sp>
            <p:nvSpPr>
              <p:cNvPr id="963" name="Can 962"/>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964" name="Can 963"/>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965" name="Can 964"/>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947" name="Group 946"/>
            <p:cNvGrpSpPr/>
            <p:nvPr/>
          </p:nvGrpSpPr>
          <p:grpSpPr>
            <a:xfrm>
              <a:off x="4313237" y="5635686"/>
              <a:ext cx="602070" cy="223776"/>
              <a:chOff x="621719" y="4712770"/>
              <a:chExt cx="1904166" cy="707737"/>
            </a:xfrm>
          </p:grpSpPr>
          <p:sp>
            <p:nvSpPr>
              <p:cNvPr id="960" name="Can 959"/>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961" name="Can 960"/>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962" name="Can 961"/>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948" name="Group 947"/>
            <p:cNvGrpSpPr/>
            <p:nvPr/>
          </p:nvGrpSpPr>
          <p:grpSpPr>
            <a:xfrm>
              <a:off x="5017910" y="5582348"/>
              <a:ext cx="602070" cy="223776"/>
              <a:chOff x="621719" y="4712770"/>
              <a:chExt cx="1904166" cy="707737"/>
            </a:xfrm>
          </p:grpSpPr>
          <p:sp>
            <p:nvSpPr>
              <p:cNvPr id="957" name="Can 956"/>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958" name="Can 957"/>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959" name="Can 958"/>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949" name="Group 948"/>
            <p:cNvGrpSpPr/>
            <p:nvPr/>
          </p:nvGrpSpPr>
          <p:grpSpPr>
            <a:xfrm>
              <a:off x="4983757" y="5611941"/>
              <a:ext cx="602070" cy="223776"/>
              <a:chOff x="621719" y="4712770"/>
              <a:chExt cx="1904166" cy="707737"/>
            </a:xfrm>
          </p:grpSpPr>
          <p:sp>
            <p:nvSpPr>
              <p:cNvPr id="954" name="Can 953"/>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955" name="Can 954"/>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956" name="Can 955"/>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950" name="Group 949"/>
            <p:cNvGrpSpPr/>
            <p:nvPr/>
          </p:nvGrpSpPr>
          <p:grpSpPr>
            <a:xfrm>
              <a:off x="4943561" y="5635686"/>
              <a:ext cx="602070" cy="223776"/>
              <a:chOff x="621719" y="4712770"/>
              <a:chExt cx="1904166" cy="707737"/>
            </a:xfrm>
          </p:grpSpPr>
          <p:sp>
            <p:nvSpPr>
              <p:cNvPr id="951" name="Can 950"/>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952" name="Can 951"/>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953" name="Can 952"/>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grpSp>
        <p:nvGrpSpPr>
          <p:cNvPr id="969" name="Group 968"/>
          <p:cNvGrpSpPr/>
          <p:nvPr/>
        </p:nvGrpSpPr>
        <p:grpSpPr>
          <a:xfrm>
            <a:off x="8559015" y="4238559"/>
            <a:ext cx="1224579" cy="259690"/>
            <a:chOff x="4313237" y="5582348"/>
            <a:chExt cx="1306743" cy="277114"/>
          </a:xfrm>
        </p:grpSpPr>
        <p:grpSp>
          <p:nvGrpSpPr>
            <p:cNvPr id="970" name="Group 969"/>
            <p:cNvGrpSpPr/>
            <p:nvPr/>
          </p:nvGrpSpPr>
          <p:grpSpPr>
            <a:xfrm>
              <a:off x="4387586" y="5582348"/>
              <a:ext cx="602070" cy="223776"/>
              <a:chOff x="621719" y="4712770"/>
              <a:chExt cx="1904166" cy="707737"/>
            </a:xfrm>
          </p:grpSpPr>
          <p:sp>
            <p:nvSpPr>
              <p:cNvPr id="991" name="Can 990"/>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992" name="Can 991"/>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993" name="Can 992"/>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971" name="Group 970"/>
            <p:cNvGrpSpPr/>
            <p:nvPr/>
          </p:nvGrpSpPr>
          <p:grpSpPr>
            <a:xfrm>
              <a:off x="4353433" y="5611941"/>
              <a:ext cx="602070" cy="223776"/>
              <a:chOff x="621719" y="4712770"/>
              <a:chExt cx="1904166" cy="707737"/>
            </a:xfrm>
          </p:grpSpPr>
          <p:sp>
            <p:nvSpPr>
              <p:cNvPr id="988" name="Can 987"/>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989" name="Can 988"/>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990" name="Can 989"/>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972" name="Group 971"/>
            <p:cNvGrpSpPr/>
            <p:nvPr/>
          </p:nvGrpSpPr>
          <p:grpSpPr>
            <a:xfrm>
              <a:off x="4313237" y="5635686"/>
              <a:ext cx="602070" cy="223776"/>
              <a:chOff x="621719" y="4712770"/>
              <a:chExt cx="1904166" cy="707737"/>
            </a:xfrm>
          </p:grpSpPr>
          <p:sp>
            <p:nvSpPr>
              <p:cNvPr id="985" name="Can 984"/>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986" name="Can 985"/>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987" name="Can 986"/>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973" name="Group 972"/>
            <p:cNvGrpSpPr/>
            <p:nvPr/>
          </p:nvGrpSpPr>
          <p:grpSpPr>
            <a:xfrm>
              <a:off x="5017910" y="5582348"/>
              <a:ext cx="602070" cy="223776"/>
              <a:chOff x="621719" y="4712770"/>
              <a:chExt cx="1904166" cy="707737"/>
            </a:xfrm>
          </p:grpSpPr>
          <p:sp>
            <p:nvSpPr>
              <p:cNvPr id="982" name="Can 981"/>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983" name="Can 982"/>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984" name="Can 983"/>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974" name="Group 973"/>
            <p:cNvGrpSpPr/>
            <p:nvPr/>
          </p:nvGrpSpPr>
          <p:grpSpPr>
            <a:xfrm>
              <a:off x="4983757" y="5611941"/>
              <a:ext cx="602070" cy="223776"/>
              <a:chOff x="621719" y="4712770"/>
              <a:chExt cx="1904166" cy="707737"/>
            </a:xfrm>
          </p:grpSpPr>
          <p:sp>
            <p:nvSpPr>
              <p:cNvPr id="979" name="Can 978"/>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980" name="Can 979"/>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981" name="Can 980"/>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975" name="Group 974"/>
            <p:cNvGrpSpPr/>
            <p:nvPr/>
          </p:nvGrpSpPr>
          <p:grpSpPr>
            <a:xfrm>
              <a:off x="4943561" y="5635686"/>
              <a:ext cx="602070" cy="223776"/>
              <a:chOff x="621719" y="4712770"/>
              <a:chExt cx="1904166" cy="707737"/>
            </a:xfrm>
          </p:grpSpPr>
          <p:sp>
            <p:nvSpPr>
              <p:cNvPr id="976" name="Can 975"/>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977" name="Can 976"/>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978" name="Can 977"/>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grpSp>
        <p:nvGrpSpPr>
          <p:cNvPr id="994" name="Group 993"/>
          <p:cNvGrpSpPr/>
          <p:nvPr/>
        </p:nvGrpSpPr>
        <p:grpSpPr>
          <a:xfrm>
            <a:off x="8559015" y="4018944"/>
            <a:ext cx="1224579" cy="259690"/>
            <a:chOff x="4313237" y="5582348"/>
            <a:chExt cx="1306743" cy="277114"/>
          </a:xfrm>
        </p:grpSpPr>
        <p:grpSp>
          <p:nvGrpSpPr>
            <p:cNvPr id="995" name="Group 994"/>
            <p:cNvGrpSpPr/>
            <p:nvPr/>
          </p:nvGrpSpPr>
          <p:grpSpPr>
            <a:xfrm>
              <a:off x="4387586" y="5582348"/>
              <a:ext cx="602070" cy="223776"/>
              <a:chOff x="621719" y="4712770"/>
              <a:chExt cx="1904166" cy="707737"/>
            </a:xfrm>
          </p:grpSpPr>
          <p:sp>
            <p:nvSpPr>
              <p:cNvPr id="1016" name="Can 1015"/>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017" name="Can 1016"/>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018" name="Can 1017"/>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996" name="Group 995"/>
            <p:cNvGrpSpPr/>
            <p:nvPr/>
          </p:nvGrpSpPr>
          <p:grpSpPr>
            <a:xfrm>
              <a:off x="4353433" y="5611941"/>
              <a:ext cx="602070" cy="223776"/>
              <a:chOff x="621719" y="4712770"/>
              <a:chExt cx="1904166" cy="707737"/>
            </a:xfrm>
          </p:grpSpPr>
          <p:sp>
            <p:nvSpPr>
              <p:cNvPr id="1013" name="Can 1012"/>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014" name="Can 1013"/>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015" name="Can 1014"/>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997" name="Group 996"/>
            <p:cNvGrpSpPr/>
            <p:nvPr/>
          </p:nvGrpSpPr>
          <p:grpSpPr>
            <a:xfrm>
              <a:off x="4313237" y="5635686"/>
              <a:ext cx="602070" cy="223776"/>
              <a:chOff x="621719" y="4712770"/>
              <a:chExt cx="1904166" cy="707737"/>
            </a:xfrm>
          </p:grpSpPr>
          <p:sp>
            <p:nvSpPr>
              <p:cNvPr id="1010" name="Can 1009"/>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011" name="Can 1010"/>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012" name="Can 1011"/>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998" name="Group 997"/>
            <p:cNvGrpSpPr/>
            <p:nvPr/>
          </p:nvGrpSpPr>
          <p:grpSpPr>
            <a:xfrm>
              <a:off x="5017910" y="5582348"/>
              <a:ext cx="602070" cy="223776"/>
              <a:chOff x="621719" y="4712770"/>
              <a:chExt cx="1904166" cy="707737"/>
            </a:xfrm>
          </p:grpSpPr>
          <p:sp>
            <p:nvSpPr>
              <p:cNvPr id="1007" name="Can 1006"/>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008" name="Can 1007"/>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009" name="Can 1008"/>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999" name="Group 998"/>
            <p:cNvGrpSpPr/>
            <p:nvPr/>
          </p:nvGrpSpPr>
          <p:grpSpPr>
            <a:xfrm>
              <a:off x="4983757" y="5611941"/>
              <a:ext cx="602070" cy="223776"/>
              <a:chOff x="621719" y="4712770"/>
              <a:chExt cx="1904166" cy="707737"/>
            </a:xfrm>
          </p:grpSpPr>
          <p:sp>
            <p:nvSpPr>
              <p:cNvPr id="1004" name="Can 1003"/>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005" name="Can 1004"/>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006" name="Can 1005"/>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000" name="Group 999"/>
            <p:cNvGrpSpPr/>
            <p:nvPr/>
          </p:nvGrpSpPr>
          <p:grpSpPr>
            <a:xfrm>
              <a:off x="4943561" y="5635686"/>
              <a:ext cx="602070" cy="223776"/>
              <a:chOff x="621719" y="4712770"/>
              <a:chExt cx="1904166" cy="707737"/>
            </a:xfrm>
          </p:grpSpPr>
          <p:sp>
            <p:nvSpPr>
              <p:cNvPr id="1001" name="Can 1000"/>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002" name="Can 1001"/>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003" name="Can 1002"/>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grpSp>
        <p:nvGrpSpPr>
          <p:cNvPr id="1019" name="Group 1018"/>
          <p:cNvGrpSpPr/>
          <p:nvPr/>
        </p:nvGrpSpPr>
        <p:grpSpPr>
          <a:xfrm>
            <a:off x="10423362" y="5508968"/>
            <a:ext cx="1224579" cy="259690"/>
            <a:chOff x="4313237" y="5582348"/>
            <a:chExt cx="1306743" cy="277114"/>
          </a:xfrm>
        </p:grpSpPr>
        <p:grpSp>
          <p:nvGrpSpPr>
            <p:cNvPr id="1020" name="Group 1019"/>
            <p:cNvGrpSpPr/>
            <p:nvPr/>
          </p:nvGrpSpPr>
          <p:grpSpPr>
            <a:xfrm>
              <a:off x="4387586" y="5582348"/>
              <a:ext cx="602070" cy="223776"/>
              <a:chOff x="621719" y="4712770"/>
              <a:chExt cx="1904166" cy="707737"/>
            </a:xfrm>
          </p:grpSpPr>
          <p:sp>
            <p:nvSpPr>
              <p:cNvPr id="1041" name="Can 1040"/>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042" name="Can 1041"/>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043" name="Can 1042"/>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021" name="Group 1020"/>
            <p:cNvGrpSpPr/>
            <p:nvPr/>
          </p:nvGrpSpPr>
          <p:grpSpPr>
            <a:xfrm>
              <a:off x="4353433" y="5611941"/>
              <a:ext cx="602070" cy="223776"/>
              <a:chOff x="621719" y="4712770"/>
              <a:chExt cx="1904166" cy="707737"/>
            </a:xfrm>
          </p:grpSpPr>
          <p:sp>
            <p:nvSpPr>
              <p:cNvPr id="1038" name="Can 1037"/>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039" name="Can 1038"/>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040" name="Can 1039"/>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022" name="Group 1021"/>
            <p:cNvGrpSpPr/>
            <p:nvPr/>
          </p:nvGrpSpPr>
          <p:grpSpPr>
            <a:xfrm>
              <a:off x="4313237" y="5635686"/>
              <a:ext cx="602070" cy="223776"/>
              <a:chOff x="621719" y="4712770"/>
              <a:chExt cx="1904166" cy="707737"/>
            </a:xfrm>
          </p:grpSpPr>
          <p:sp>
            <p:nvSpPr>
              <p:cNvPr id="1035" name="Can 1034"/>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036" name="Can 1035"/>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037" name="Can 1036"/>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023" name="Group 1022"/>
            <p:cNvGrpSpPr/>
            <p:nvPr/>
          </p:nvGrpSpPr>
          <p:grpSpPr>
            <a:xfrm>
              <a:off x="5017910" y="5582348"/>
              <a:ext cx="602070" cy="223776"/>
              <a:chOff x="621719" y="4712770"/>
              <a:chExt cx="1904166" cy="707737"/>
            </a:xfrm>
          </p:grpSpPr>
          <p:sp>
            <p:nvSpPr>
              <p:cNvPr id="1032" name="Can 1031"/>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033" name="Can 1032"/>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034" name="Can 1033"/>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024" name="Group 1023"/>
            <p:cNvGrpSpPr/>
            <p:nvPr/>
          </p:nvGrpSpPr>
          <p:grpSpPr>
            <a:xfrm>
              <a:off x="4983757" y="5611941"/>
              <a:ext cx="602070" cy="223776"/>
              <a:chOff x="621719" y="4712770"/>
              <a:chExt cx="1904166" cy="707737"/>
            </a:xfrm>
          </p:grpSpPr>
          <p:sp>
            <p:nvSpPr>
              <p:cNvPr id="1029" name="Can 1028"/>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030" name="Can 1029"/>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031" name="Can 1030"/>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025" name="Group 1024"/>
            <p:cNvGrpSpPr/>
            <p:nvPr/>
          </p:nvGrpSpPr>
          <p:grpSpPr>
            <a:xfrm>
              <a:off x="4943561" y="5635686"/>
              <a:ext cx="602070" cy="223776"/>
              <a:chOff x="621719" y="4712770"/>
              <a:chExt cx="1904166" cy="707737"/>
            </a:xfrm>
          </p:grpSpPr>
          <p:sp>
            <p:nvSpPr>
              <p:cNvPr id="1026" name="Can 1025"/>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027" name="Can 1026"/>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028" name="Can 1027"/>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grpSp>
        <p:nvGrpSpPr>
          <p:cNvPr id="1044" name="Group 1043"/>
          <p:cNvGrpSpPr/>
          <p:nvPr/>
        </p:nvGrpSpPr>
        <p:grpSpPr>
          <a:xfrm>
            <a:off x="10423362" y="5299438"/>
            <a:ext cx="1224579" cy="259690"/>
            <a:chOff x="4313237" y="5582348"/>
            <a:chExt cx="1306743" cy="277114"/>
          </a:xfrm>
        </p:grpSpPr>
        <p:grpSp>
          <p:nvGrpSpPr>
            <p:cNvPr id="1045" name="Group 1044"/>
            <p:cNvGrpSpPr/>
            <p:nvPr/>
          </p:nvGrpSpPr>
          <p:grpSpPr>
            <a:xfrm>
              <a:off x="4387586" y="5582348"/>
              <a:ext cx="602070" cy="223776"/>
              <a:chOff x="621719" y="4712770"/>
              <a:chExt cx="1904166" cy="707737"/>
            </a:xfrm>
          </p:grpSpPr>
          <p:sp>
            <p:nvSpPr>
              <p:cNvPr id="1066" name="Can 1065"/>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067" name="Can 1066"/>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068" name="Can 1067"/>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046" name="Group 1045"/>
            <p:cNvGrpSpPr/>
            <p:nvPr/>
          </p:nvGrpSpPr>
          <p:grpSpPr>
            <a:xfrm>
              <a:off x="4353433" y="5611941"/>
              <a:ext cx="602070" cy="223776"/>
              <a:chOff x="621719" y="4712770"/>
              <a:chExt cx="1904166" cy="707737"/>
            </a:xfrm>
          </p:grpSpPr>
          <p:sp>
            <p:nvSpPr>
              <p:cNvPr id="1063" name="Can 1062"/>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064" name="Can 1063"/>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065" name="Can 1064"/>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047" name="Group 1046"/>
            <p:cNvGrpSpPr/>
            <p:nvPr/>
          </p:nvGrpSpPr>
          <p:grpSpPr>
            <a:xfrm>
              <a:off x="4313237" y="5635686"/>
              <a:ext cx="602070" cy="223776"/>
              <a:chOff x="621719" y="4712770"/>
              <a:chExt cx="1904166" cy="707737"/>
            </a:xfrm>
          </p:grpSpPr>
          <p:sp>
            <p:nvSpPr>
              <p:cNvPr id="1060" name="Can 1059"/>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061" name="Can 1060"/>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062" name="Can 1061"/>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048" name="Group 1047"/>
            <p:cNvGrpSpPr/>
            <p:nvPr/>
          </p:nvGrpSpPr>
          <p:grpSpPr>
            <a:xfrm>
              <a:off x="5017910" y="5582348"/>
              <a:ext cx="602070" cy="223776"/>
              <a:chOff x="621719" y="4712770"/>
              <a:chExt cx="1904166" cy="707737"/>
            </a:xfrm>
          </p:grpSpPr>
          <p:sp>
            <p:nvSpPr>
              <p:cNvPr id="1057" name="Can 1056"/>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058" name="Can 1057"/>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059" name="Can 1058"/>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049" name="Group 1048"/>
            <p:cNvGrpSpPr/>
            <p:nvPr/>
          </p:nvGrpSpPr>
          <p:grpSpPr>
            <a:xfrm>
              <a:off x="4983757" y="5611941"/>
              <a:ext cx="602070" cy="223776"/>
              <a:chOff x="621719" y="4712770"/>
              <a:chExt cx="1904166" cy="707737"/>
            </a:xfrm>
          </p:grpSpPr>
          <p:sp>
            <p:nvSpPr>
              <p:cNvPr id="1054" name="Can 1053"/>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055" name="Can 1054"/>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056" name="Can 1055"/>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050" name="Group 1049"/>
            <p:cNvGrpSpPr/>
            <p:nvPr/>
          </p:nvGrpSpPr>
          <p:grpSpPr>
            <a:xfrm>
              <a:off x="4943561" y="5635686"/>
              <a:ext cx="602070" cy="223776"/>
              <a:chOff x="621719" y="4712770"/>
              <a:chExt cx="1904166" cy="707737"/>
            </a:xfrm>
          </p:grpSpPr>
          <p:sp>
            <p:nvSpPr>
              <p:cNvPr id="1051" name="Can 1050"/>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052" name="Can 1051"/>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053" name="Can 1052"/>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grpSp>
        <p:nvGrpSpPr>
          <p:cNvPr id="1069" name="Group 1068"/>
          <p:cNvGrpSpPr/>
          <p:nvPr/>
        </p:nvGrpSpPr>
        <p:grpSpPr>
          <a:xfrm>
            <a:off x="10423362" y="5079822"/>
            <a:ext cx="1224579" cy="259690"/>
            <a:chOff x="4313237" y="5582348"/>
            <a:chExt cx="1306743" cy="277114"/>
          </a:xfrm>
        </p:grpSpPr>
        <p:grpSp>
          <p:nvGrpSpPr>
            <p:cNvPr id="1070" name="Group 1069"/>
            <p:cNvGrpSpPr/>
            <p:nvPr/>
          </p:nvGrpSpPr>
          <p:grpSpPr>
            <a:xfrm>
              <a:off x="4387586" y="5582348"/>
              <a:ext cx="602070" cy="223776"/>
              <a:chOff x="621719" y="4712770"/>
              <a:chExt cx="1904166" cy="707737"/>
            </a:xfrm>
          </p:grpSpPr>
          <p:sp>
            <p:nvSpPr>
              <p:cNvPr id="1091" name="Can 1090"/>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092" name="Can 1091"/>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093" name="Can 1092"/>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071" name="Group 1070"/>
            <p:cNvGrpSpPr/>
            <p:nvPr/>
          </p:nvGrpSpPr>
          <p:grpSpPr>
            <a:xfrm>
              <a:off x="4353433" y="5611941"/>
              <a:ext cx="602070" cy="223776"/>
              <a:chOff x="621719" y="4712770"/>
              <a:chExt cx="1904166" cy="707737"/>
            </a:xfrm>
          </p:grpSpPr>
          <p:sp>
            <p:nvSpPr>
              <p:cNvPr id="1088" name="Can 1087"/>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089" name="Can 1088"/>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090" name="Can 1089"/>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072" name="Group 1071"/>
            <p:cNvGrpSpPr/>
            <p:nvPr/>
          </p:nvGrpSpPr>
          <p:grpSpPr>
            <a:xfrm>
              <a:off x="4313237" y="5635686"/>
              <a:ext cx="602070" cy="223776"/>
              <a:chOff x="621719" y="4712770"/>
              <a:chExt cx="1904166" cy="707737"/>
            </a:xfrm>
          </p:grpSpPr>
          <p:sp>
            <p:nvSpPr>
              <p:cNvPr id="1085" name="Can 1084"/>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086" name="Can 1085"/>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087" name="Can 1086"/>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073" name="Group 1072"/>
            <p:cNvGrpSpPr/>
            <p:nvPr/>
          </p:nvGrpSpPr>
          <p:grpSpPr>
            <a:xfrm>
              <a:off x="5017910" y="5582348"/>
              <a:ext cx="602070" cy="223776"/>
              <a:chOff x="621719" y="4712770"/>
              <a:chExt cx="1904166" cy="707737"/>
            </a:xfrm>
          </p:grpSpPr>
          <p:sp>
            <p:nvSpPr>
              <p:cNvPr id="1082" name="Can 1081"/>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083" name="Can 1082"/>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084" name="Can 1083"/>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074" name="Group 1073"/>
            <p:cNvGrpSpPr/>
            <p:nvPr/>
          </p:nvGrpSpPr>
          <p:grpSpPr>
            <a:xfrm>
              <a:off x="4983757" y="5611941"/>
              <a:ext cx="602070" cy="223776"/>
              <a:chOff x="621719" y="4712770"/>
              <a:chExt cx="1904166" cy="707737"/>
            </a:xfrm>
          </p:grpSpPr>
          <p:sp>
            <p:nvSpPr>
              <p:cNvPr id="1079" name="Can 1078"/>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080" name="Can 1079"/>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081" name="Can 1080"/>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075" name="Group 1074"/>
            <p:cNvGrpSpPr/>
            <p:nvPr/>
          </p:nvGrpSpPr>
          <p:grpSpPr>
            <a:xfrm>
              <a:off x="4943561" y="5635686"/>
              <a:ext cx="602070" cy="223776"/>
              <a:chOff x="621719" y="4712770"/>
              <a:chExt cx="1904166" cy="707737"/>
            </a:xfrm>
          </p:grpSpPr>
          <p:sp>
            <p:nvSpPr>
              <p:cNvPr id="1076" name="Can 1075"/>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077" name="Can 1076"/>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078" name="Can 1077"/>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grpSp>
        <p:nvGrpSpPr>
          <p:cNvPr id="1094" name="Group 1093"/>
          <p:cNvGrpSpPr/>
          <p:nvPr/>
        </p:nvGrpSpPr>
        <p:grpSpPr>
          <a:xfrm>
            <a:off x="10423362" y="4870117"/>
            <a:ext cx="1224579" cy="259690"/>
            <a:chOff x="4313237" y="5582348"/>
            <a:chExt cx="1306743" cy="277114"/>
          </a:xfrm>
        </p:grpSpPr>
        <p:grpSp>
          <p:nvGrpSpPr>
            <p:cNvPr id="1095" name="Group 1094"/>
            <p:cNvGrpSpPr/>
            <p:nvPr/>
          </p:nvGrpSpPr>
          <p:grpSpPr>
            <a:xfrm>
              <a:off x="4387586" y="5582348"/>
              <a:ext cx="602070" cy="223776"/>
              <a:chOff x="621719" y="4712770"/>
              <a:chExt cx="1904166" cy="707737"/>
            </a:xfrm>
          </p:grpSpPr>
          <p:sp>
            <p:nvSpPr>
              <p:cNvPr id="1116" name="Can 1115"/>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117" name="Can 1116"/>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118" name="Can 1117"/>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096" name="Group 1095"/>
            <p:cNvGrpSpPr/>
            <p:nvPr/>
          </p:nvGrpSpPr>
          <p:grpSpPr>
            <a:xfrm>
              <a:off x="4353433" y="5611941"/>
              <a:ext cx="602070" cy="223776"/>
              <a:chOff x="621719" y="4712770"/>
              <a:chExt cx="1904166" cy="707737"/>
            </a:xfrm>
          </p:grpSpPr>
          <p:sp>
            <p:nvSpPr>
              <p:cNvPr id="1113" name="Can 1112"/>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114" name="Can 1113"/>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115" name="Can 1114"/>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097" name="Group 1096"/>
            <p:cNvGrpSpPr/>
            <p:nvPr/>
          </p:nvGrpSpPr>
          <p:grpSpPr>
            <a:xfrm>
              <a:off x="4313237" y="5635686"/>
              <a:ext cx="602070" cy="223776"/>
              <a:chOff x="621719" y="4712770"/>
              <a:chExt cx="1904166" cy="707737"/>
            </a:xfrm>
          </p:grpSpPr>
          <p:sp>
            <p:nvSpPr>
              <p:cNvPr id="1110" name="Can 1109"/>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111" name="Can 1110"/>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112" name="Can 1111"/>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098" name="Group 1097"/>
            <p:cNvGrpSpPr/>
            <p:nvPr/>
          </p:nvGrpSpPr>
          <p:grpSpPr>
            <a:xfrm>
              <a:off x="5017910" y="5582348"/>
              <a:ext cx="602070" cy="223776"/>
              <a:chOff x="621719" y="4712770"/>
              <a:chExt cx="1904166" cy="707737"/>
            </a:xfrm>
          </p:grpSpPr>
          <p:sp>
            <p:nvSpPr>
              <p:cNvPr id="1107" name="Can 1106"/>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108" name="Can 1107"/>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109" name="Can 1108"/>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099" name="Group 1098"/>
            <p:cNvGrpSpPr/>
            <p:nvPr/>
          </p:nvGrpSpPr>
          <p:grpSpPr>
            <a:xfrm>
              <a:off x="4983757" y="5611941"/>
              <a:ext cx="602070" cy="223776"/>
              <a:chOff x="621719" y="4712770"/>
              <a:chExt cx="1904166" cy="707737"/>
            </a:xfrm>
          </p:grpSpPr>
          <p:sp>
            <p:nvSpPr>
              <p:cNvPr id="1104" name="Can 1103"/>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105" name="Can 1104"/>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106" name="Can 1105"/>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100" name="Group 1099"/>
            <p:cNvGrpSpPr/>
            <p:nvPr/>
          </p:nvGrpSpPr>
          <p:grpSpPr>
            <a:xfrm>
              <a:off x="4943561" y="5635686"/>
              <a:ext cx="602070" cy="223776"/>
              <a:chOff x="621719" y="4712770"/>
              <a:chExt cx="1904166" cy="707737"/>
            </a:xfrm>
          </p:grpSpPr>
          <p:sp>
            <p:nvSpPr>
              <p:cNvPr id="1101" name="Can 1100"/>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102" name="Can 1101"/>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103" name="Can 1102"/>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grpSp>
        <p:nvGrpSpPr>
          <p:cNvPr id="1119" name="Group 1118"/>
          <p:cNvGrpSpPr/>
          <p:nvPr/>
        </p:nvGrpSpPr>
        <p:grpSpPr>
          <a:xfrm>
            <a:off x="10423362" y="4656758"/>
            <a:ext cx="1224579" cy="259690"/>
            <a:chOff x="4313237" y="5582348"/>
            <a:chExt cx="1306743" cy="277114"/>
          </a:xfrm>
        </p:grpSpPr>
        <p:grpSp>
          <p:nvGrpSpPr>
            <p:cNvPr id="1120" name="Group 1119"/>
            <p:cNvGrpSpPr/>
            <p:nvPr/>
          </p:nvGrpSpPr>
          <p:grpSpPr>
            <a:xfrm>
              <a:off x="4387586" y="5582348"/>
              <a:ext cx="602070" cy="223776"/>
              <a:chOff x="621719" y="4712770"/>
              <a:chExt cx="1904166" cy="707737"/>
            </a:xfrm>
          </p:grpSpPr>
          <p:sp>
            <p:nvSpPr>
              <p:cNvPr id="1141" name="Can 1140"/>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142" name="Can 1141"/>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143" name="Can 1142"/>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121" name="Group 1120"/>
            <p:cNvGrpSpPr/>
            <p:nvPr/>
          </p:nvGrpSpPr>
          <p:grpSpPr>
            <a:xfrm>
              <a:off x="4353433" y="5611941"/>
              <a:ext cx="602070" cy="223776"/>
              <a:chOff x="621719" y="4712770"/>
              <a:chExt cx="1904166" cy="707737"/>
            </a:xfrm>
          </p:grpSpPr>
          <p:sp>
            <p:nvSpPr>
              <p:cNvPr id="1138" name="Can 1137"/>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139" name="Can 1138"/>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140" name="Can 1139"/>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122" name="Group 1121"/>
            <p:cNvGrpSpPr/>
            <p:nvPr/>
          </p:nvGrpSpPr>
          <p:grpSpPr>
            <a:xfrm>
              <a:off x="4313237" y="5635686"/>
              <a:ext cx="602070" cy="223776"/>
              <a:chOff x="621719" y="4712770"/>
              <a:chExt cx="1904166" cy="707737"/>
            </a:xfrm>
          </p:grpSpPr>
          <p:sp>
            <p:nvSpPr>
              <p:cNvPr id="1135" name="Can 1134"/>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136" name="Can 1135"/>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137" name="Can 1136"/>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123" name="Group 1122"/>
            <p:cNvGrpSpPr/>
            <p:nvPr/>
          </p:nvGrpSpPr>
          <p:grpSpPr>
            <a:xfrm>
              <a:off x="5017910" y="5582348"/>
              <a:ext cx="602070" cy="223776"/>
              <a:chOff x="621719" y="4712770"/>
              <a:chExt cx="1904166" cy="707737"/>
            </a:xfrm>
          </p:grpSpPr>
          <p:sp>
            <p:nvSpPr>
              <p:cNvPr id="1132" name="Can 1131"/>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133" name="Can 1132"/>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134" name="Can 1133"/>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124" name="Group 1123"/>
            <p:cNvGrpSpPr/>
            <p:nvPr/>
          </p:nvGrpSpPr>
          <p:grpSpPr>
            <a:xfrm>
              <a:off x="4983757" y="5611941"/>
              <a:ext cx="602070" cy="223776"/>
              <a:chOff x="621719" y="4712770"/>
              <a:chExt cx="1904166" cy="707737"/>
            </a:xfrm>
          </p:grpSpPr>
          <p:sp>
            <p:nvSpPr>
              <p:cNvPr id="1129" name="Can 1128"/>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130" name="Can 1129"/>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131" name="Can 1130"/>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125" name="Group 1124"/>
            <p:cNvGrpSpPr/>
            <p:nvPr/>
          </p:nvGrpSpPr>
          <p:grpSpPr>
            <a:xfrm>
              <a:off x="4943561" y="5635686"/>
              <a:ext cx="602070" cy="223776"/>
              <a:chOff x="621719" y="4712770"/>
              <a:chExt cx="1904166" cy="707737"/>
            </a:xfrm>
          </p:grpSpPr>
          <p:sp>
            <p:nvSpPr>
              <p:cNvPr id="1126" name="Can 1125"/>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127" name="Can 1126"/>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128" name="Can 1127"/>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grpSp>
        <p:nvGrpSpPr>
          <p:cNvPr id="1144" name="Group 1143"/>
          <p:cNvGrpSpPr/>
          <p:nvPr/>
        </p:nvGrpSpPr>
        <p:grpSpPr>
          <a:xfrm>
            <a:off x="10423362" y="4442533"/>
            <a:ext cx="1224579" cy="259690"/>
            <a:chOff x="4313237" y="5582348"/>
            <a:chExt cx="1306743" cy="277114"/>
          </a:xfrm>
        </p:grpSpPr>
        <p:grpSp>
          <p:nvGrpSpPr>
            <p:cNvPr id="1145" name="Group 1144"/>
            <p:cNvGrpSpPr/>
            <p:nvPr/>
          </p:nvGrpSpPr>
          <p:grpSpPr>
            <a:xfrm>
              <a:off x="4387586" y="5582348"/>
              <a:ext cx="602070" cy="223776"/>
              <a:chOff x="621719" y="4712770"/>
              <a:chExt cx="1904166" cy="707737"/>
            </a:xfrm>
          </p:grpSpPr>
          <p:sp>
            <p:nvSpPr>
              <p:cNvPr id="1166" name="Can 1165"/>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167" name="Can 1166"/>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168" name="Can 1167"/>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146" name="Group 1145"/>
            <p:cNvGrpSpPr/>
            <p:nvPr/>
          </p:nvGrpSpPr>
          <p:grpSpPr>
            <a:xfrm>
              <a:off x="4353433" y="5611941"/>
              <a:ext cx="602070" cy="223776"/>
              <a:chOff x="621719" y="4712770"/>
              <a:chExt cx="1904166" cy="707737"/>
            </a:xfrm>
          </p:grpSpPr>
          <p:sp>
            <p:nvSpPr>
              <p:cNvPr id="1163" name="Can 1162"/>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164" name="Can 1163"/>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165" name="Can 1164"/>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147" name="Group 1146"/>
            <p:cNvGrpSpPr/>
            <p:nvPr/>
          </p:nvGrpSpPr>
          <p:grpSpPr>
            <a:xfrm>
              <a:off x="4313237" y="5635686"/>
              <a:ext cx="602070" cy="223776"/>
              <a:chOff x="621719" y="4712770"/>
              <a:chExt cx="1904166" cy="707737"/>
            </a:xfrm>
          </p:grpSpPr>
          <p:sp>
            <p:nvSpPr>
              <p:cNvPr id="1160" name="Can 1159"/>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161" name="Can 1160"/>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162" name="Can 1161"/>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148" name="Group 1147"/>
            <p:cNvGrpSpPr/>
            <p:nvPr/>
          </p:nvGrpSpPr>
          <p:grpSpPr>
            <a:xfrm>
              <a:off x="5017910" y="5582348"/>
              <a:ext cx="602070" cy="223776"/>
              <a:chOff x="621719" y="4712770"/>
              <a:chExt cx="1904166" cy="707737"/>
            </a:xfrm>
          </p:grpSpPr>
          <p:sp>
            <p:nvSpPr>
              <p:cNvPr id="1157" name="Can 1156"/>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158" name="Can 1157"/>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159" name="Can 1158"/>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149" name="Group 1148"/>
            <p:cNvGrpSpPr/>
            <p:nvPr/>
          </p:nvGrpSpPr>
          <p:grpSpPr>
            <a:xfrm>
              <a:off x="4983757" y="5611941"/>
              <a:ext cx="602070" cy="223776"/>
              <a:chOff x="621719" y="4712770"/>
              <a:chExt cx="1904166" cy="707737"/>
            </a:xfrm>
          </p:grpSpPr>
          <p:sp>
            <p:nvSpPr>
              <p:cNvPr id="1154" name="Can 1153"/>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155" name="Can 1154"/>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156" name="Can 1155"/>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150" name="Group 1149"/>
            <p:cNvGrpSpPr/>
            <p:nvPr/>
          </p:nvGrpSpPr>
          <p:grpSpPr>
            <a:xfrm>
              <a:off x="4943561" y="5635686"/>
              <a:ext cx="602070" cy="223776"/>
              <a:chOff x="621719" y="4712770"/>
              <a:chExt cx="1904166" cy="707737"/>
            </a:xfrm>
          </p:grpSpPr>
          <p:sp>
            <p:nvSpPr>
              <p:cNvPr id="1151" name="Can 1150"/>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152" name="Can 1151"/>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153" name="Can 1152"/>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grpSp>
        <p:nvGrpSpPr>
          <p:cNvPr id="1169" name="Group 1168"/>
          <p:cNvGrpSpPr/>
          <p:nvPr/>
        </p:nvGrpSpPr>
        <p:grpSpPr>
          <a:xfrm>
            <a:off x="10423362" y="4238559"/>
            <a:ext cx="1224579" cy="259690"/>
            <a:chOff x="4313237" y="5582348"/>
            <a:chExt cx="1306743" cy="277114"/>
          </a:xfrm>
        </p:grpSpPr>
        <p:grpSp>
          <p:nvGrpSpPr>
            <p:cNvPr id="1170" name="Group 1169"/>
            <p:cNvGrpSpPr/>
            <p:nvPr/>
          </p:nvGrpSpPr>
          <p:grpSpPr>
            <a:xfrm>
              <a:off x="4387586" y="5582348"/>
              <a:ext cx="602070" cy="223776"/>
              <a:chOff x="621719" y="4712770"/>
              <a:chExt cx="1904166" cy="707737"/>
            </a:xfrm>
          </p:grpSpPr>
          <p:sp>
            <p:nvSpPr>
              <p:cNvPr id="1191" name="Can 1190"/>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192" name="Can 1191"/>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193" name="Can 1192"/>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171" name="Group 1170"/>
            <p:cNvGrpSpPr/>
            <p:nvPr/>
          </p:nvGrpSpPr>
          <p:grpSpPr>
            <a:xfrm>
              <a:off x="4353433" y="5611941"/>
              <a:ext cx="602070" cy="223776"/>
              <a:chOff x="621719" y="4712770"/>
              <a:chExt cx="1904166" cy="707737"/>
            </a:xfrm>
          </p:grpSpPr>
          <p:sp>
            <p:nvSpPr>
              <p:cNvPr id="1188" name="Can 1187"/>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189" name="Can 1188"/>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190" name="Can 1189"/>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172" name="Group 1171"/>
            <p:cNvGrpSpPr/>
            <p:nvPr/>
          </p:nvGrpSpPr>
          <p:grpSpPr>
            <a:xfrm>
              <a:off x="4313237" y="5635686"/>
              <a:ext cx="602070" cy="223776"/>
              <a:chOff x="621719" y="4712770"/>
              <a:chExt cx="1904166" cy="707737"/>
            </a:xfrm>
          </p:grpSpPr>
          <p:sp>
            <p:nvSpPr>
              <p:cNvPr id="1185" name="Can 1184"/>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186" name="Can 1185"/>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187" name="Can 1186"/>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173" name="Group 1172"/>
            <p:cNvGrpSpPr/>
            <p:nvPr/>
          </p:nvGrpSpPr>
          <p:grpSpPr>
            <a:xfrm>
              <a:off x="5017910" y="5582348"/>
              <a:ext cx="602070" cy="223776"/>
              <a:chOff x="621719" y="4712770"/>
              <a:chExt cx="1904166" cy="707737"/>
            </a:xfrm>
          </p:grpSpPr>
          <p:sp>
            <p:nvSpPr>
              <p:cNvPr id="1182" name="Can 1181"/>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183" name="Can 1182"/>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184" name="Can 1183"/>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174" name="Group 1173"/>
            <p:cNvGrpSpPr/>
            <p:nvPr/>
          </p:nvGrpSpPr>
          <p:grpSpPr>
            <a:xfrm>
              <a:off x="4983757" y="5611941"/>
              <a:ext cx="602070" cy="223776"/>
              <a:chOff x="621719" y="4712770"/>
              <a:chExt cx="1904166" cy="707737"/>
            </a:xfrm>
          </p:grpSpPr>
          <p:sp>
            <p:nvSpPr>
              <p:cNvPr id="1179" name="Can 1178"/>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180" name="Can 1179"/>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181" name="Can 1180"/>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175" name="Group 1174"/>
            <p:cNvGrpSpPr/>
            <p:nvPr/>
          </p:nvGrpSpPr>
          <p:grpSpPr>
            <a:xfrm>
              <a:off x="4943561" y="5635686"/>
              <a:ext cx="602070" cy="223776"/>
              <a:chOff x="621719" y="4712770"/>
              <a:chExt cx="1904166" cy="707737"/>
            </a:xfrm>
          </p:grpSpPr>
          <p:sp>
            <p:nvSpPr>
              <p:cNvPr id="1176" name="Can 1175"/>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177" name="Can 1176"/>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178" name="Can 1177"/>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grpSp>
        <p:nvGrpSpPr>
          <p:cNvPr id="1194" name="Group 1193"/>
          <p:cNvGrpSpPr/>
          <p:nvPr/>
        </p:nvGrpSpPr>
        <p:grpSpPr>
          <a:xfrm>
            <a:off x="10423362" y="4018944"/>
            <a:ext cx="1224579" cy="259690"/>
            <a:chOff x="4313237" y="5582348"/>
            <a:chExt cx="1306743" cy="277114"/>
          </a:xfrm>
        </p:grpSpPr>
        <p:grpSp>
          <p:nvGrpSpPr>
            <p:cNvPr id="1195" name="Group 1194"/>
            <p:cNvGrpSpPr/>
            <p:nvPr/>
          </p:nvGrpSpPr>
          <p:grpSpPr>
            <a:xfrm>
              <a:off x="4387586" y="5582348"/>
              <a:ext cx="602070" cy="223776"/>
              <a:chOff x="621719" y="4712770"/>
              <a:chExt cx="1904166" cy="707737"/>
            </a:xfrm>
          </p:grpSpPr>
          <p:sp>
            <p:nvSpPr>
              <p:cNvPr id="1216" name="Can 1215"/>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217" name="Can 1216"/>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218" name="Can 1217"/>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196" name="Group 1195"/>
            <p:cNvGrpSpPr/>
            <p:nvPr/>
          </p:nvGrpSpPr>
          <p:grpSpPr>
            <a:xfrm>
              <a:off x="4353433" y="5611941"/>
              <a:ext cx="602070" cy="223776"/>
              <a:chOff x="621719" y="4712770"/>
              <a:chExt cx="1904166" cy="707737"/>
            </a:xfrm>
          </p:grpSpPr>
          <p:sp>
            <p:nvSpPr>
              <p:cNvPr id="1213" name="Can 1212"/>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214" name="Can 1213"/>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215" name="Can 1214"/>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197" name="Group 1196"/>
            <p:cNvGrpSpPr/>
            <p:nvPr/>
          </p:nvGrpSpPr>
          <p:grpSpPr>
            <a:xfrm>
              <a:off x="4313237" y="5635686"/>
              <a:ext cx="602070" cy="223776"/>
              <a:chOff x="621719" y="4712770"/>
              <a:chExt cx="1904166" cy="707737"/>
            </a:xfrm>
          </p:grpSpPr>
          <p:sp>
            <p:nvSpPr>
              <p:cNvPr id="1210" name="Can 1209"/>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211" name="Can 1210"/>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212" name="Can 1211"/>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198" name="Group 1197"/>
            <p:cNvGrpSpPr/>
            <p:nvPr/>
          </p:nvGrpSpPr>
          <p:grpSpPr>
            <a:xfrm>
              <a:off x="5017910" y="5582348"/>
              <a:ext cx="602070" cy="223776"/>
              <a:chOff x="621719" y="4712770"/>
              <a:chExt cx="1904166" cy="707737"/>
            </a:xfrm>
          </p:grpSpPr>
          <p:sp>
            <p:nvSpPr>
              <p:cNvPr id="1207" name="Can 1206"/>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208" name="Can 1207"/>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209" name="Can 1208"/>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199" name="Group 1198"/>
            <p:cNvGrpSpPr/>
            <p:nvPr/>
          </p:nvGrpSpPr>
          <p:grpSpPr>
            <a:xfrm>
              <a:off x="4983757" y="5611941"/>
              <a:ext cx="602070" cy="223776"/>
              <a:chOff x="621719" y="4712770"/>
              <a:chExt cx="1904166" cy="707737"/>
            </a:xfrm>
          </p:grpSpPr>
          <p:sp>
            <p:nvSpPr>
              <p:cNvPr id="1204" name="Can 1203"/>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205" name="Can 1204"/>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206" name="Can 1205"/>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200" name="Group 1199"/>
            <p:cNvGrpSpPr/>
            <p:nvPr/>
          </p:nvGrpSpPr>
          <p:grpSpPr>
            <a:xfrm>
              <a:off x="4943561" y="5635686"/>
              <a:ext cx="602070" cy="223776"/>
              <a:chOff x="621719" y="4712770"/>
              <a:chExt cx="1904166" cy="707737"/>
            </a:xfrm>
          </p:grpSpPr>
          <p:sp>
            <p:nvSpPr>
              <p:cNvPr id="1201" name="Can 1200"/>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202" name="Can 1201"/>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203" name="Can 1202"/>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grpSp>
        <p:nvGrpSpPr>
          <p:cNvPr id="1219" name="Group 1218"/>
          <p:cNvGrpSpPr/>
          <p:nvPr/>
        </p:nvGrpSpPr>
        <p:grpSpPr>
          <a:xfrm>
            <a:off x="10423362" y="3795096"/>
            <a:ext cx="1224579" cy="259690"/>
            <a:chOff x="4313237" y="5582348"/>
            <a:chExt cx="1306743" cy="277114"/>
          </a:xfrm>
        </p:grpSpPr>
        <p:grpSp>
          <p:nvGrpSpPr>
            <p:cNvPr id="1220" name="Group 1219"/>
            <p:cNvGrpSpPr/>
            <p:nvPr/>
          </p:nvGrpSpPr>
          <p:grpSpPr>
            <a:xfrm>
              <a:off x="4387586" y="5582348"/>
              <a:ext cx="602070" cy="223776"/>
              <a:chOff x="621719" y="4712770"/>
              <a:chExt cx="1904166" cy="707737"/>
            </a:xfrm>
          </p:grpSpPr>
          <p:sp>
            <p:nvSpPr>
              <p:cNvPr id="1241" name="Can 1240"/>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242" name="Can 1241"/>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243" name="Can 1242"/>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221" name="Group 1220"/>
            <p:cNvGrpSpPr/>
            <p:nvPr/>
          </p:nvGrpSpPr>
          <p:grpSpPr>
            <a:xfrm>
              <a:off x="4353433" y="5611941"/>
              <a:ext cx="602070" cy="223776"/>
              <a:chOff x="621719" y="4712770"/>
              <a:chExt cx="1904166" cy="707737"/>
            </a:xfrm>
          </p:grpSpPr>
          <p:sp>
            <p:nvSpPr>
              <p:cNvPr id="1238" name="Can 1237"/>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239" name="Can 1238"/>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240" name="Can 1239"/>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222" name="Group 1221"/>
            <p:cNvGrpSpPr/>
            <p:nvPr/>
          </p:nvGrpSpPr>
          <p:grpSpPr>
            <a:xfrm>
              <a:off x="4313237" y="5635686"/>
              <a:ext cx="602070" cy="223776"/>
              <a:chOff x="621719" y="4712770"/>
              <a:chExt cx="1904166" cy="707737"/>
            </a:xfrm>
          </p:grpSpPr>
          <p:sp>
            <p:nvSpPr>
              <p:cNvPr id="1235" name="Can 1234"/>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236" name="Can 1235"/>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237" name="Can 1236"/>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223" name="Group 1222"/>
            <p:cNvGrpSpPr/>
            <p:nvPr/>
          </p:nvGrpSpPr>
          <p:grpSpPr>
            <a:xfrm>
              <a:off x="5017910" y="5582348"/>
              <a:ext cx="602070" cy="223776"/>
              <a:chOff x="621719" y="4712770"/>
              <a:chExt cx="1904166" cy="707737"/>
            </a:xfrm>
          </p:grpSpPr>
          <p:sp>
            <p:nvSpPr>
              <p:cNvPr id="1232" name="Can 1231"/>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233" name="Can 1232"/>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234" name="Can 1233"/>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224" name="Group 1223"/>
            <p:cNvGrpSpPr/>
            <p:nvPr/>
          </p:nvGrpSpPr>
          <p:grpSpPr>
            <a:xfrm>
              <a:off x="4983757" y="5611941"/>
              <a:ext cx="602070" cy="223776"/>
              <a:chOff x="621719" y="4712770"/>
              <a:chExt cx="1904166" cy="707737"/>
            </a:xfrm>
          </p:grpSpPr>
          <p:sp>
            <p:nvSpPr>
              <p:cNvPr id="1229" name="Can 1228"/>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230" name="Can 1229"/>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231" name="Can 1230"/>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225" name="Group 1224"/>
            <p:cNvGrpSpPr/>
            <p:nvPr/>
          </p:nvGrpSpPr>
          <p:grpSpPr>
            <a:xfrm>
              <a:off x="4943561" y="5635686"/>
              <a:ext cx="602070" cy="223776"/>
              <a:chOff x="621719" y="4712770"/>
              <a:chExt cx="1904166" cy="707737"/>
            </a:xfrm>
          </p:grpSpPr>
          <p:sp>
            <p:nvSpPr>
              <p:cNvPr id="1226" name="Can 1225"/>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227" name="Can 1226"/>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228" name="Can 1227"/>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grpSp>
        <p:nvGrpSpPr>
          <p:cNvPr id="1244" name="Group 1243"/>
          <p:cNvGrpSpPr/>
          <p:nvPr/>
        </p:nvGrpSpPr>
        <p:grpSpPr>
          <a:xfrm>
            <a:off x="10423362" y="3575480"/>
            <a:ext cx="1224579" cy="259690"/>
            <a:chOff x="4313237" y="5582348"/>
            <a:chExt cx="1306743" cy="277114"/>
          </a:xfrm>
        </p:grpSpPr>
        <p:grpSp>
          <p:nvGrpSpPr>
            <p:cNvPr id="1245" name="Group 1244"/>
            <p:cNvGrpSpPr/>
            <p:nvPr/>
          </p:nvGrpSpPr>
          <p:grpSpPr>
            <a:xfrm>
              <a:off x="4387586" y="5582348"/>
              <a:ext cx="602070" cy="223776"/>
              <a:chOff x="621719" y="4712770"/>
              <a:chExt cx="1904166" cy="707737"/>
            </a:xfrm>
          </p:grpSpPr>
          <p:sp>
            <p:nvSpPr>
              <p:cNvPr id="1266" name="Can 1265"/>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267" name="Can 1266"/>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268" name="Can 1267"/>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246" name="Group 1245"/>
            <p:cNvGrpSpPr/>
            <p:nvPr/>
          </p:nvGrpSpPr>
          <p:grpSpPr>
            <a:xfrm>
              <a:off x="4353433" y="5611941"/>
              <a:ext cx="602070" cy="223776"/>
              <a:chOff x="621719" y="4712770"/>
              <a:chExt cx="1904166" cy="707737"/>
            </a:xfrm>
          </p:grpSpPr>
          <p:sp>
            <p:nvSpPr>
              <p:cNvPr id="1263" name="Can 1262"/>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264" name="Can 1263"/>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265" name="Can 1264"/>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247" name="Group 1246"/>
            <p:cNvGrpSpPr/>
            <p:nvPr/>
          </p:nvGrpSpPr>
          <p:grpSpPr>
            <a:xfrm>
              <a:off x="4313237" y="5635686"/>
              <a:ext cx="602070" cy="223776"/>
              <a:chOff x="621719" y="4712770"/>
              <a:chExt cx="1904166" cy="707737"/>
            </a:xfrm>
          </p:grpSpPr>
          <p:sp>
            <p:nvSpPr>
              <p:cNvPr id="1260" name="Can 1259"/>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261" name="Can 1260"/>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262" name="Can 1261"/>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248" name="Group 1247"/>
            <p:cNvGrpSpPr/>
            <p:nvPr/>
          </p:nvGrpSpPr>
          <p:grpSpPr>
            <a:xfrm>
              <a:off x="5017910" y="5582348"/>
              <a:ext cx="602070" cy="223776"/>
              <a:chOff x="621719" y="4712770"/>
              <a:chExt cx="1904166" cy="707737"/>
            </a:xfrm>
          </p:grpSpPr>
          <p:sp>
            <p:nvSpPr>
              <p:cNvPr id="1257" name="Can 1256"/>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258" name="Can 1257"/>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259" name="Can 1258"/>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249" name="Group 1248"/>
            <p:cNvGrpSpPr/>
            <p:nvPr/>
          </p:nvGrpSpPr>
          <p:grpSpPr>
            <a:xfrm>
              <a:off x="4983757" y="5611941"/>
              <a:ext cx="602070" cy="223776"/>
              <a:chOff x="621719" y="4712770"/>
              <a:chExt cx="1904166" cy="707737"/>
            </a:xfrm>
          </p:grpSpPr>
          <p:sp>
            <p:nvSpPr>
              <p:cNvPr id="1254" name="Can 1253"/>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255" name="Can 1254"/>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256" name="Can 1255"/>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250" name="Group 1249"/>
            <p:cNvGrpSpPr/>
            <p:nvPr/>
          </p:nvGrpSpPr>
          <p:grpSpPr>
            <a:xfrm>
              <a:off x="4943561" y="5635686"/>
              <a:ext cx="602070" cy="223776"/>
              <a:chOff x="621719" y="4712770"/>
              <a:chExt cx="1904166" cy="707737"/>
            </a:xfrm>
          </p:grpSpPr>
          <p:sp>
            <p:nvSpPr>
              <p:cNvPr id="1251" name="Can 1250"/>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252" name="Can 1251"/>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253" name="Can 1252"/>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grpSp>
        <p:nvGrpSpPr>
          <p:cNvPr id="1269" name="Group 1268"/>
          <p:cNvGrpSpPr/>
          <p:nvPr/>
        </p:nvGrpSpPr>
        <p:grpSpPr>
          <a:xfrm>
            <a:off x="10423362" y="3371507"/>
            <a:ext cx="1224579" cy="259690"/>
            <a:chOff x="4313237" y="5582348"/>
            <a:chExt cx="1306743" cy="277114"/>
          </a:xfrm>
        </p:grpSpPr>
        <p:grpSp>
          <p:nvGrpSpPr>
            <p:cNvPr id="1270" name="Group 1269"/>
            <p:cNvGrpSpPr/>
            <p:nvPr/>
          </p:nvGrpSpPr>
          <p:grpSpPr>
            <a:xfrm>
              <a:off x="4387586" y="5582348"/>
              <a:ext cx="602070" cy="223776"/>
              <a:chOff x="621719" y="4712770"/>
              <a:chExt cx="1904166" cy="707737"/>
            </a:xfrm>
          </p:grpSpPr>
          <p:sp>
            <p:nvSpPr>
              <p:cNvPr id="1291" name="Can 1290"/>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292" name="Can 1291"/>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293" name="Can 1292"/>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271" name="Group 1270"/>
            <p:cNvGrpSpPr/>
            <p:nvPr/>
          </p:nvGrpSpPr>
          <p:grpSpPr>
            <a:xfrm>
              <a:off x="4353433" y="5611941"/>
              <a:ext cx="602070" cy="223776"/>
              <a:chOff x="621719" y="4712770"/>
              <a:chExt cx="1904166" cy="707737"/>
            </a:xfrm>
          </p:grpSpPr>
          <p:sp>
            <p:nvSpPr>
              <p:cNvPr id="1288" name="Can 1287"/>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289" name="Can 1288"/>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290" name="Can 1289"/>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272" name="Group 1271"/>
            <p:cNvGrpSpPr/>
            <p:nvPr/>
          </p:nvGrpSpPr>
          <p:grpSpPr>
            <a:xfrm>
              <a:off x="4313237" y="5635686"/>
              <a:ext cx="602070" cy="223776"/>
              <a:chOff x="621719" y="4712770"/>
              <a:chExt cx="1904166" cy="707737"/>
            </a:xfrm>
          </p:grpSpPr>
          <p:sp>
            <p:nvSpPr>
              <p:cNvPr id="1285" name="Can 1284"/>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286" name="Can 1285"/>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287" name="Can 1286"/>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273" name="Group 1272"/>
            <p:cNvGrpSpPr/>
            <p:nvPr/>
          </p:nvGrpSpPr>
          <p:grpSpPr>
            <a:xfrm>
              <a:off x="5017910" y="5582348"/>
              <a:ext cx="602070" cy="223776"/>
              <a:chOff x="621719" y="4712770"/>
              <a:chExt cx="1904166" cy="707737"/>
            </a:xfrm>
          </p:grpSpPr>
          <p:sp>
            <p:nvSpPr>
              <p:cNvPr id="1282" name="Can 1281"/>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283" name="Can 1282"/>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284" name="Can 1283"/>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274" name="Group 1273"/>
            <p:cNvGrpSpPr/>
            <p:nvPr/>
          </p:nvGrpSpPr>
          <p:grpSpPr>
            <a:xfrm>
              <a:off x="4983757" y="5611941"/>
              <a:ext cx="602070" cy="223776"/>
              <a:chOff x="621719" y="4712770"/>
              <a:chExt cx="1904166" cy="707737"/>
            </a:xfrm>
          </p:grpSpPr>
          <p:sp>
            <p:nvSpPr>
              <p:cNvPr id="1279" name="Can 1278"/>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280" name="Can 1279"/>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281" name="Can 1280"/>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275" name="Group 1274"/>
            <p:cNvGrpSpPr/>
            <p:nvPr/>
          </p:nvGrpSpPr>
          <p:grpSpPr>
            <a:xfrm>
              <a:off x="4943561" y="5635686"/>
              <a:ext cx="602070" cy="223776"/>
              <a:chOff x="621719" y="4712770"/>
              <a:chExt cx="1904166" cy="707737"/>
            </a:xfrm>
          </p:grpSpPr>
          <p:sp>
            <p:nvSpPr>
              <p:cNvPr id="1276" name="Can 1275"/>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277" name="Can 1276"/>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278" name="Can 1277"/>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grpSp>
        <p:nvGrpSpPr>
          <p:cNvPr id="1294" name="Group 1293"/>
          <p:cNvGrpSpPr/>
          <p:nvPr/>
        </p:nvGrpSpPr>
        <p:grpSpPr>
          <a:xfrm>
            <a:off x="10423362" y="3151891"/>
            <a:ext cx="1224579" cy="259690"/>
            <a:chOff x="4313237" y="5582348"/>
            <a:chExt cx="1306743" cy="277114"/>
          </a:xfrm>
        </p:grpSpPr>
        <p:grpSp>
          <p:nvGrpSpPr>
            <p:cNvPr id="1295" name="Group 1294"/>
            <p:cNvGrpSpPr/>
            <p:nvPr/>
          </p:nvGrpSpPr>
          <p:grpSpPr>
            <a:xfrm>
              <a:off x="4387586" y="5582348"/>
              <a:ext cx="602070" cy="223776"/>
              <a:chOff x="621719" y="4712770"/>
              <a:chExt cx="1904166" cy="707737"/>
            </a:xfrm>
          </p:grpSpPr>
          <p:sp>
            <p:nvSpPr>
              <p:cNvPr id="1316" name="Can 1315"/>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317" name="Can 1316"/>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318" name="Can 1317"/>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296" name="Group 1295"/>
            <p:cNvGrpSpPr/>
            <p:nvPr/>
          </p:nvGrpSpPr>
          <p:grpSpPr>
            <a:xfrm>
              <a:off x="4353433" y="5611941"/>
              <a:ext cx="602070" cy="223776"/>
              <a:chOff x="621719" y="4712770"/>
              <a:chExt cx="1904166" cy="707737"/>
            </a:xfrm>
          </p:grpSpPr>
          <p:sp>
            <p:nvSpPr>
              <p:cNvPr id="1313" name="Can 1312"/>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314" name="Can 1313"/>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315" name="Can 1314"/>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297" name="Group 1296"/>
            <p:cNvGrpSpPr/>
            <p:nvPr/>
          </p:nvGrpSpPr>
          <p:grpSpPr>
            <a:xfrm>
              <a:off x="4313237" y="5635686"/>
              <a:ext cx="602070" cy="223776"/>
              <a:chOff x="621719" y="4712770"/>
              <a:chExt cx="1904166" cy="707737"/>
            </a:xfrm>
          </p:grpSpPr>
          <p:sp>
            <p:nvSpPr>
              <p:cNvPr id="1310" name="Can 1309"/>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311" name="Can 1310"/>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312" name="Can 1311"/>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298" name="Group 1297"/>
            <p:cNvGrpSpPr/>
            <p:nvPr/>
          </p:nvGrpSpPr>
          <p:grpSpPr>
            <a:xfrm>
              <a:off x="5017910" y="5582348"/>
              <a:ext cx="602070" cy="223776"/>
              <a:chOff x="621719" y="4712770"/>
              <a:chExt cx="1904166" cy="707737"/>
            </a:xfrm>
          </p:grpSpPr>
          <p:sp>
            <p:nvSpPr>
              <p:cNvPr id="1307" name="Can 1306"/>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308" name="Can 1307"/>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309" name="Can 1308"/>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299" name="Group 1298"/>
            <p:cNvGrpSpPr/>
            <p:nvPr/>
          </p:nvGrpSpPr>
          <p:grpSpPr>
            <a:xfrm>
              <a:off x="4983757" y="5611941"/>
              <a:ext cx="602070" cy="223776"/>
              <a:chOff x="621719" y="4712770"/>
              <a:chExt cx="1904166" cy="707737"/>
            </a:xfrm>
          </p:grpSpPr>
          <p:sp>
            <p:nvSpPr>
              <p:cNvPr id="1304" name="Can 1303"/>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305" name="Can 1304"/>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306" name="Can 1305"/>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300" name="Group 1299"/>
            <p:cNvGrpSpPr/>
            <p:nvPr/>
          </p:nvGrpSpPr>
          <p:grpSpPr>
            <a:xfrm>
              <a:off x="4943561" y="5635686"/>
              <a:ext cx="602070" cy="223776"/>
              <a:chOff x="621719" y="4712770"/>
              <a:chExt cx="1904166" cy="707737"/>
            </a:xfrm>
          </p:grpSpPr>
          <p:sp>
            <p:nvSpPr>
              <p:cNvPr id="1301" name="Can 1300"/>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302" name="Can 1301"/>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303" name="Can 1302"/>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grpSp>
        <p:nvGrpSpPr>
          <p:cNvPr id="1319" name="Group 1318"/>
          <p:cNvGrpSpPr/>
          <p:nvPr/>
        </p:nvGrpSpPr>
        <p:grpSpPr>
          <a:xfrm>
            <a:off x="10423362" y="2934677"/>
            <a:ext cx="1224579" cy="259690"/>
            <a:chOff x="4313237" y="5582348"/>
            <a:chExt cx="1306743" cy="277114"/>
          </a:xfrm>
        </p:grpSpPr>
        <p:grpSp>
          <p:nvGrpSpPr>
            <p:cNvPr id="1320" name="Group 1319"/>
            <p:cNvGrpSpPr/>
            <p:nvPr/>
          </p:nvGrpSpPr>
          <p:grpSpPr>
            <a:xfrm>
              <a:off x="4387586" y="5582348"/>
              <a:ext cx="602070" cy="223776"/>
              <a:chOff x="621719" y="4712770"/>
              <a:chExt cx="1904166" cy="707737"/>
            </a:xfrm>
          </p:grpSpPr>
          <p:sp>
            <p:nvSpPr>
              <p:cNvPr id="1341" name="Can 1340"/>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342" name="Can 1341"/>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343" name="Can 1342"/>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321" name="Group 1320"/>
            <p:cNvGrpSpPr/>
            <p:nvPr/>
          </p:nvGrpSpPr>
          <p:grpSpPr>
            <a:xfrm>
              <a:off x="4353433" y="5611941"/>
              <a:ext cx="602070" cy="223776"/>
              <a:chOff x="621719" y="4712770"/>
              <a:chExt cx="1904166" cy="707737"/>
            </a:xfrm>
          </p:grpSpPr>
          <p:sp>
            <p:nvSpPr>
              <p:cNvPr id="1338" name="Can 1337"/>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339" name="Can 1338"/>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340" name="Can 1339"/>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322" name="Group 1321"/>
            <p:cNvGrpSpPr/>
            <p:nvPr/>
          </p:nvGrpSpPr>
          <p:grpSpPr>
            <a:xfrm>
              <a:off x="4313237" y="5635686"/>
              <a:ext cx="602070" cy="223776"/>
              <a:chOff x="621719" y="4712770"/>
              <a:chExt cx="1904166" cy="707737"/>
            </a:xfrm>
          </p:grpSpPr>
          <p:sp>
            <p:nvSpPr>
              <p:cNvPr id="1335" name="Can 1334"/>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336" name="Can 1335"/>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337" name="Can 1336"/>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323" name="Group 1322"/>
            <p:cNvGrpSpPr/>
            <p:nvPr/>
          </p:nvGrpSpPr>
          <p:grpSpPr>
            <a:xfrm>
              <a:off x="5017910" y="5582348"/>
              <a:ext cx="602070" cy="223776"/>
              <a:chOff x="621719" y="4712770"/>
              <a:chExt cx="1904166" cy="707737"/>
            </a:xfrm>
          </p:grpSpPr>
          <p:sp>
            <p:nvSpPr>
              <p:cNvPr id="1332" name="Can 1331"/>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333" name="Can 1332"/>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334" name="Can 1333"/>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324" name="Group 1323"/>
            <p:cNvGrpSpPr/>
            <p:nvPr/>
          </p:nvGrpSpPr>
          <p:grpSpPr>
            <a:xfrm>
              <a:off x="4983757" y="5611941"/>
              <a:ext cx="602070" cy="223776"/>
              <a:chOff x="621719" y="4712770"/>
              <a:chExt cx="1904166" cy="707737"/>
            </a:xfrm>
          </p:grpSpPr>
          <p:sp>
            <p:nvSpPr>
              <p:cNvPr id="1329" name="Can 1328"/>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330" name="Can 1329"/>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331" name="Can 1330"/>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325" name="Group 1324"/>
            <p:cNvGrpSpPr/>
            <p:nvPr/>
          </p:nvGrpSpPr>
          <p:grpSpPr>
            <a:xfrm>
              <a:off x="4943561" y="5635686"/>
              <a:ext cx="602070" cy="223776"/>
              <a:chOff x="621719" y="4712770"/>
              <a:chExt cx="1904166" cy="707737"/>
            </a:xfrm>
          </p:grpSpPr>
          <p:sp>
            <p:nvSpPr>
              <p:cNvPr id="1326" name="Can 1325"/>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327" name="Can 1326"/>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328" name="Can 1327"/>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grpSp>
        <p:nvGrpSpPr>
          <p:cNvPr id="1344" name="Group 1343"/>
          <p:cNvGrpSpPr/>
          <p:nvPr/>
        </p:nvGrpSpPr>
        <p:grpSpPr>
          <a:xfrm>
            <a:off x="10423362" y="2727664"/>
            <a:ext cx="1224579" cy="259690"/>
            <a:chOff x="4313237" y="5582348"/>
            <a:chExt cx="1306743" cy="277114"/>
          </a:xfrm>
        </p:grpSpPr>
        <p:grpSp>
          <p:nvGrpSpPr>
            <p:cNvPr id="1345" name="Group 1344"/>
            <p:cNvGrpSpPr/>
            <p:nvPr/>
          </p:nvGrpSpPr>
          <p:grpSpPr>
            <a:xfrm>
              <a:off x="4387586" y="5582348"/>
              <a:ext cx="602070" cy="223776"/>
              <a:chOff x="621719" y="4712770"/>
              <a:chExt cx="1904166" cy="707737"/>
            </a:xfrm>
          </p:grpSpPr>
          <p:sp>
            <p:nvSpPr>
              <p:cNvPr id="1366" name="Can 1365"/>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367" name="Can 1366"/>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368" name="Can 1367"/>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346" name="Group 1345"/>
            <p:cNvGrpSpPr/>
            <p:nvPr/>
          </p:nvGrpSpPr>
          <p:grpSpPr>
            <a:xfrm>
              <a:off x="4353433" y="5611941"/>
              <a:ext cx="602070" cy="223776"/>
              <a:chOff x="621719" y="4712770"/>
              <a:chExt cx="1904166" cy="707737"/>
            </a:xfrm>
          </p:grpSpPr>
          <p:sp>
            <p:nvSpPr>
              <p:cNvPr id="1363" name="Can 1362"/>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364" name="Can 1363"/>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365" name="Can 1364"/>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347" name="Group 1346"/>
            <p:cNvGrpSpPr/>
            <p:nvPr/>
          </p:nvGrpSpPr>
          <p:grpSpPr>
            <a:xfrm>
              <a:off x="4313237" y="5635686"/>
              <a:ext cx="602070" cy="223776"/>
              <a:chOff x="621719" y="4712770"/>
              <a:chExt cx="1904166" cy="707737"/>
            </a:xfrm>
          </p:grpSpPr>
          <p:sp>
            <p:nvSpPr>
              <p:cNvPr id="1360" name="Can 1359"/>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361" name="Can 1360"/>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362" name="Can 1361"/>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348" name="Group 1347"/>
            <p:cNvGrpSpPr/>
            <p:nvPr/>
          </p:nvGrpSpPr>
          <p:grpSpPr>
            <a:xfrm>
              <a:off x="5017910" y="5582348"/>
              <a:ext cx="602070" cy="223776"/>
              <a:chOff x="621719" y="4712770"/>
              <a:chExt cx="1904166" cy="707737"/>
            </a:xfrm>
          </p:grpSpPr>
          <p:sp>
            <p:nvSpPr>
              <p:cNvPr id="1357" name="Can 1356"/>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358" name="Can 1357"/>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359" name="Can 1358"/>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349" name="Group 1348"/>
            <p:cNvGrpSpPr/>
            <p:nvPr/>
          </p:nvGrpSpPr>
          <p:grpSpPr>
            <a:xfrm>
              <a:off x="4983757" y="5611941"/>
              <a:ext cx="602070" cy="223776"/>
              <a:chOff x="621719" y="4712770"/>
              <a:chExt cx="1904166" cy="707737"/>
            </a:xfrm>
          </p:grpSpPr>
          <p:sp>
            <p:nvSpPr>
              <p:cNvPr id="1354" name="Can 1353"/>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355" name="Can 1354"/>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356" name="Can 1355"/>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350" name="Group 1349"/>
            <p:cNvGrpSpPr/>
            <p:nvPr/>
          </p:nvGrpSpPr>
          <p:grpSpPr>
            <a:xfrm>
              <a:off x="4943561" y="5635686"/>
              <a:ext cx="602070" cy="223776"/>
              <a:chOff x="621719" y="4712770"/>
              <a:chExt cx="1904166" cy="707737"/>
            </a:xfrm>
          </p:grpSpPr>
          <p:sp>
            <p:nvSpPr>
              <p:cNvPr id="1351" name="Can 1350"/>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352" name="Can 1351"/>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353" name="Can 1352"/>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grpSp>
        <p:nvGrpSpPr>
          <p:cNvPr id="1369" name="Group 1368"/>
          <p:cNvGrpSpPr/>
          <p:nvPr/>
        </p:nvGrpSpPr>
        <p:grpSpPr>
          <a:xfrm>
            <a:off x="568062" y="5035484"/>
            <a:ext cx="3964026" cy="813428"/>
            <a:chOff x="973787" y="5272668"/>
            <a:chExt cx="3116399" cy="868004"/>
          </a:xfrm>
        </p:grpSpPr>
        <p:sp>
          <p:nvSpPr>
            <p:cNvPr id="1370" name="Right Arrow 1369"/>
            <p:cNvSpPr/>
            <p:nvPr/>
          </p:nvSpPr>
          <p:spPr bwMode="auto">
            <a:xfrm>
              <a:off x="3785386" y="5630675"/>
              <a:ext cx="304800" cy="223776"/>
            </a:xfrm>
            <a:prstGeom prst="rightArrow">
              <a:avLst/>
            </a:prstGeom>
            <a:solidFill>
              <a:srgbClr val="0078D7"/>
            </a:solidFill>
            <a:ln w="9525" cap="flat" cmpd="sng" algn="ctr">
              <a:noFill/>
              <a:prstDash val="solid"/>
              <a:headEnd type="none" w="med" len="med"/>
              <a:tailEnd type="none" w="med" len="med"/>
            </a:ln>
            <a:effectLst/>
          </p:spPr>
          <p:txBody>
            <a:bodyPr lIns="85690" tIns="85690" rIns="32138" bIns="32138" rtlCol="0" anchor="b" anchorCtr="0"/>
            <a:lstStyle/>
            <a:p>
              <a:pPr algn="ctr" defTabSz="873824">
                <a:defRPr/>
              </a:pPr>
              <a:endParaRPr lang="fr-FR" sz="750" kern="0" dirty="0">
                <a:solidFill>
                  <a:schemeClr val="accent4"/>
                </a:solidFill>
                <a:ea typeface="Segoe UI" pitchFamily="34" charset="0"/>
                <a:cs typeface="Segoe UI" pitchFamily="34" charset="0"/>
              </a:endParaRPr>
            </a:p>
          </p:txBody>
        </p:sp>
        <p:sp>
          <p:nvSpPr>
            <p:cNvPr id="1371" name="Rectangle 1370"/>
            <p:cNvSpPr/>
            <p:nvPr/>
          </p:nvSpPr>
          <p:spPr>
            <a:xfrm>
              <a:off x="973787" y="5272668"/>
              <a:ext cx="2892092" cy="868004"/>
            </a:xfrm>
            <a:prstGeom prst="rect">
              <a:avLst/>
            </a:prstGeom>
          </p:spPr>
          <p:txBody>
            <a:bodyPr wrap="square">
              <a:spAutoFit/>
            </a:bodyPr>
            <a:lstStyle/>
            <a:p>
              <a:pPr defTabSz="856949">
                <a:defRPr/>
              </a:pPr>
              <a:r>
                <a:rPr lang="fr-FR" sz="2343" kern="0" dirty="0">
                  <a:solidFill>
                    <a:schemeClr val="accent4"/>
                  </a:solidFill>
                </a:rPr>
                <a:t>Niveau de </a:t>
              </a:r>
              <a:r>
                <a:rPr lang="fr-FR" sz="2343" kern="0" dirty="0" err="1">
                  <a:solidFill>
                    <a:schemeClr val="accent4"/>
                  </a:solidFill>
                </a:rPr>
                <a:t>burst</a:t>
              </a:r>
              <a:r>
                <a:rPr lang="fr-FR" sz="2343" kern="0" dirty="0">
                  <a:solidFill>
                    <a:schemeClr val="accent4"/>
                  </a:solidFill>
                </a:rPr>
                <a:t> maximal par </a:t>
              </a:r>
              <a:r>
                <a:rPr lang="fr-FR" sz="2343" kern="0" dirty="0" err="1">
                  <a:solidFill>
                    <a:schemeClr val="accent4"/>
                  </a:solidFill>
                </a:rPr>
                <a:t>database</a:t>
              </a:r>
              <a:endParaRPr lang="fr-FR" sz="2343" kern="0" dirty="0">
                <a:solidFill>
                  <a:schemeClr val="accent4"/>
                </a:solidFill>
              </a:endParaRPr>
            </a:p>
          </p:txBody>
        </p:sp>
      </p:grpSp>
      <p:grpSp>
        <p:nvGrpSpPr>
          <p:cNvPr id="1372" name="Group 1371"/>
          <p:cNvGrpSpPr/>
          <p:nvPr/>
        </p:nvGrpSpPr>
        <p:grpSpPr>
          <a:xfrm>
            <a:off x="10422038" y="2522382"/>
            <a:ext cx="1224579" cy="259690"/>
            <a:chOff x="4313237" y="5582348"/>
            <a:chExt cx="1306743" cy="277114"/>
          </a:xfrm>
        </p:grpSpPr>
        <p:grpSp>
          <p:nvGrpSpPr>
            <p:cNvPr id="1373" name="Group 1372"/>
            <p:cNvGrpSpPr/>
            <p:nvPr/>
          </p:nvGrpSpPr>
          <p:grpSpPr>
            <a:xfrm>
              <a:off x="4387586" y="5582348"/>
              <a:ext cx="602070" cy="223776"/>
              <a:chOff x="621719" y="4712770"/>
              <a:chExt cx="1904166" cy="707737"/>
            </a:xfrm>
          </p:grpSpPr>
          <p:sp>
            <p:nvSpPr>
              <p:cNvPr id="1394" name="Can 1393"/>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395" name="Can 1394"/>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396" name="Can 1395"/>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374" name="Group 1373"/>
            <p:cNvGrpSpPr/>
            <p:nvPr/>
          </p:nvGrpSpPr>
          <p:grpSpPr>
            <a:xfrm>
              <a:off x="4353433" y="5611941"/>
              <a:ext cx="602070" cy="223776"/>
              <a:chOff x="621719" y="4712770"/>
              <a:chExt cx="1904166" cy="707737"/>
            </a:xfrm>
          </p:grpSpPr>
          <p:sp>
            <p:nvSpPr>
              <p:cNvPr id="1391" name="Can 1390"/>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392" name="Can 1391"/>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393" name="Can 1392"/>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375" name="Group 1374"/>
            <p:cNvGrpSpPr/>
            <p:nvPr/>
          </p:nvGrpSpPr>
          <p:grpSpPr>
            <a:xfrm>
              <a:off x="4313237" y="5635686"/>
              <a:ext cx="602070" cy="223776"/>
              <a:chOff x="621719" y="4712770"/>
              <a:chExt cx="1904166" cy="707737"/>
            </a:xfrm>
          </p:grpSpPr>
          <p:sp>
            <p:nvSpPr>
              <p:cNvPr id="1388" name="Can 1387"/>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389" name="Can 1388"/>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390" name="Can 1389"/>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376" name="Group 1375"/>
            <p:cNvGrpSpPr/>
            <p:nvPr/>
          </p:nvGrpSpPr>
          <p:grpSpPr>
            <a:xfrm>
              <a:off x="5017910" y="5582348"/>
              <a:ext cx="602070" cy="223776"/>
              <a:chOff x="621719" y="4712770"/>
              <a:chExt cx="1904166" cy="707737"/>
            </a:xfrm>
          </p:grpSpPr>
          <p:sp>
            <p:nvSpPr>
              <p:cNvPr id="1385" name="Can 1384"/>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386" name="Can 1385"/>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387" name="Can 1386"/>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377" name="Group 1376"/>
            <p:cNvGrpSpPr/>
            <p:nvPr/>
          </p:nvGrpSpPr>
          <p:grpSpPr>
            <a:xfrm>
              <a:off x="4983757" y="5611941"/>
              <a:ext cx="602070" cy="223776"/>
              <a:chOff x="621719" y="4712770"/>
              <a:chExt cx="1904166" cy="707737"/>
            </a:xfrm>
          </p:grpSpPr>
          <p:sp>
            <p:nvSpPr>
              <p:cNvPr id="1382" name="Can 1381"/>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383" name="Can 1382"/>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384" name="Can 1383"/>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nvGrpSpPr>
            <p:cNvPr id="1378" name="Group 1377"/>
            <p:cNvGrpSpPr/>
            <p:nvPr/>
          </p:nvGrpSpPr>
          <p:grpSpPr>
            <a:xfrm>
              <a:off x="4943561" y="5635686"/>
              <a:ext cx="602070" cy="223776"/>
              <a:chOff x="621719" y="4712770"/>
              <a:chExt cx="1904166" cy="707737"/>
            </a:xfrm>
          </p:grpSpPr>
          <p:sp>
            <p:nvSpPr>
              <p:cNvPr id="1379" name="Can 1378"/>
              <p:cNvSpPr/>
              <p:nvPr/>
            </p:nvSpPr>
            <p:spPr>
              <a:xfrm>
                <a:off x="1951037"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380" name="Can 1379"/>
              <p:cNvSpPr/>
              <p:nvPr/>
            </p:nvSpPr>
            <p:spPr>
              <a:xfrm>
                <a:off x="621719"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sp>
            <p:nvSpPr>
              <p:cNvPr id="1381" name="Can 1380"/>
              <p:cNvSpPr/>
              <p:nvPr/>
            </p:nvSpPr>
            <p:spPr>
              <a:xfrm>
                <a:off x="1286378" y="4712770"/>
                <a:ext cx="574848" cy="707737"/>
              </a:xfrm>
              <a:prstGeom prst="can">
                <a:avLst/>
              </a:prstGeom>
              <a:solidFill>
                <a:srgbClr val="0078D7">
                  <a:lumMod val="20000"/>
                  <a:lumOff val="80000"/>
                </a:srgbClr>
              </a:solidFill>
              <a:ln w="10795" cap="flat" cmpd="sng" algn="ctr">
                <a:solidFill>
                  <a:srgbClr val="0078D7">
                    <a:lumMod val="40000"/>
                    <a:lumOff val="60000"/>
                  </a:srgbClr>
                </a:solidFill>
                <a:prstDash val="solid"/>
              </a:ln>
              <a:effectLst/>
            </p:spPr>
            <p:txBody>
              <a:bodyPr lIns="0" tIns="0" rIns="0" bIns="0" rtlCol="0" anchor="ctr"/>
              <a:lstStyle/>
              <a:p>
                <a:pPr algn="ctr" defTabSz="856949">
                  <a:defRPr/>
                </a:pPr>
                <a:endParaRPr lang="fr-FR" sz="1147" kern="0" dirty="0">
                  <a:solidFill>
                    <a:schemeClr val="accent6"/>
                  </a:solidFill>
                </a:endParaRPr>
              </a:p>
            </p:txBody>
          </p:sp>
        </p:grpSp>
      </p:grpSp>
      <p:sp>
        <p:nvSpPr>
          <p:cNvPr id="697" name="Text Placeholder 4"/>
          <p:cNvSpPr txBox="1">
            <a:spLocks/>
          </p:cNvSpPr>
          <p:nvPr/>
        </p:nvSpPr>
        <p:spPr>
          <a:xfrm>
            <a:off x="1333154" y="1586682"/>
            <a:ext cx="7854193" cy="3737887"/>
          </a:xfrm>
          <a:prstGeom prst="rect">
            <a:avLst/>
          </a:prstGeom>
        </p:spPr>
        <p:txBody>
          <a:bodyPr>
            <a:normAutofit fontScale="85000" lnSpcReduction="20000"/>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fr-FR" dirty="0"/>
              <a:t>Partager les capacités entre de </a:t>
            </a:r>
            <a:r>
              <a:rPr lang="fr-FR"/>
              <a:t>multiples bases de </a:t>
            </a:r>
            <a:r>
              <a:rPr lang="fr-FR" dirty="0"/>
              <a:t>données pour globaliser les coûts</a:t>
            </a:r>
          </a:p>
          <a:p>
            <a:r>
              <a:rPr lang="fr-FR" dirty="0"/>
              <a:t>Adapter le dimensionnement à des performances imprédictibles</a:t>
            </a:r>
          </a:p>
          <a:p>
            <a:pPr lvl="1"/>
            <a:r>
              <a:rPr lang="fr-FR"/>
              <a:t>Pas de surcapacité au </a:t>
            </a:r>
            <a:r>
              <a:rPr lang="fr-FR" dirty="0"/>
              <a:t>niveau </a:t>
            </a:r>
            <a:r>
              <a:rPr lang="fr-FR"/>
              <a:t>de </a:t>
            </a:r>
            <a:r>
              <a:rPr lang="fr-FR" dirty="0"/>
              <a:t>chacune</a:t>
            </a:r>
            <a:r>
              <a:rPr lang="fr-FR"/>
              <a:t> </a:t>
            </a:r>
            <a:r>
              <a:rPr lang="fr-FR" dirty="0"/>
              <a:t>des </a:t>
            </a:r>
            <a:r>
              <a:rPr lang="fr-FR"/>
              <a:t>bases de </a:t>
            </a:r>
            <a:r>
              <a:rPr lang="fr-FR" dirty="0"/>
              <a:t>données</a:t>
            </a:r>
          </a:p>
          <a:p>
            <a:pPr lvl="1"/>
            <a:r>
              <a:rPr lang="fr-FR" dirty="0"/>
              <a:t>Plus besoin de superviser les performances à l’échelle de chaque base de données</a:t>
            </a:r>
          </a:p>
          <a:p>
            <a:r>
              <a:rPr lang="fr-FR" dirty="0"/>
              <a:t>Possibilité de déplacer les tenants entre différents pools</a:t>
            </a:r>
          </a:p>
        </p:txBody>
      </p:sp>
      <p:sp>
        <p:nvSpPr>
          <p:cNvPr id="3" name="Text Placeholder 2"/>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spTree>
    <p:extLst>
      <p:ext uri="{BB962C8B-B14F-4D97-AF65-F5344CB8AC3E}">
        <p14:creationId xmlns:p14="http://schemas.microsoft.com/office/powerpoint/2010/main" val="80325921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705"/>
                                        </p:tgtEl>
                                        <p:attrNameLst>
                                          <p:attrName>style.visibility</p:attrName>
                                        </p:attrNameLst>
                                      </p:cBhvr>
                                      <p:to>
                                        <p:strVal val="visible"/>
                                      </p:to>
                                    </p:set>
                                    <p:animEffect transition="in" filter="wipe(down)">
                                      <p:cBhvr>
                                        <p:cTn id="7" dur="500"/>
                                        <p:tgtEl>
                                          <p:spTgt spid="705"/>
                                        </p:tgtEl>
                                      </p:cBhvr>
                                    </p:animEffect>
                                  </p:childTnLst>
                                </p:cTn>
                              </p:par>
                            </p:childTnLst>
                          </p:cTn>
                        </p:par>
                        <p:par>
                          <p:cTn id="8" fill="hold">
                            <p:stCondLst>
                              <p:cond delay="500"/>
                            </p:stCondLst>
                            <p:childTnLst>
                              <p:par>
                                <p:cTn id="9" presetID="22" presetClass="entr" presetSubtype="8" fill="hold" nodeType="afterEffect">
                                  <p:stCondLst>
                                    <p:cond delay="250"/>
                                  </p:stCondLst>
                                  <p:childTnLst>
                                    <p:set>
                                      <p:cBhvr>
                                        <p:cTn id="10" dur="1" fill="hold">
                                          <p:stCondLst>
                                            <p:cond delay="0"/>
                                          </p:stCondLst>
                                        </p:cTn>
                                        <p:tgtEl>
                                          <p:spTgt spid="1369"/>
                                        </p:tgtEl>
                                        <p:attrNameLst>
                                          <p:attrName>style.visibility</p:attrName>
                                        </p:attrNameLst>
                                      </p:cBhvr>
                                      <p:to>
                                        <p:strVal val="visible"/>
                                      </p:to>
                                    </p:set>
                                    <p:animEffect transition="in" filter="wipe(left)">
                                      <p:cBhvr>
                                        <p:cTn id="11" dur="500"/>
                                        <p:tgtEl>
                                          <p:spTgt spid="1369"/>
                                        </p:tgtEl>
                                      </p:cBhvr>
                                    </p:animEffect>
                                  </p:childTnLst>
                                </p:cTn>
                              </p:par>
                            </p:childTnLst>
                          </p:cTn>
                        </p:par>
                      </p:childTnLst>
                    </p:cTn>
                  </p:par>
                  <p:par>
                    <p:cTn id="12" fill="hold">
                      <p:stCondLst>
                        <p:cond delay="indefinite"/>
                      </p:stCondLst>
                      <p:childTnLst>
                        <p:par>
                          <p:cTn id="13" fill="hold">
                            <p:stCondLst>
                              <p:cond delay="0"/>
                            </p:stCondLst>
                            <p:childTnLst>
                              <p:par>
                                <p:cTn id="14" presetID="1" presetClass="exit" presetSubtype="0" fill="hold" nodeType="clickEffect">
                                  <p:stCondLst>
                                    <p:cond delay="0"/>
                                  </p:stCondLst>
                                  <p:childTnLst>
                                    <p:set>
                                      <p:cBhvr>
                                        <p:cTn id="15" dur="1" fill="hold">
                                          <p:stCondLst>
                                            <p:cond delay="0"/>
                                          </p:stCondLst>
                                        </p:cTn>
                                        <p:tgtEl>
                                          <p:spTgt spid="705"/>
                                        </p:tgtEl>
                                        <p:attrNameLst>
                                          <p:attrName>style.visibility</p:attrName>
                                        </p:attrNameLst>
                                      </p:cBhvr>
                                      <p:to>
                                        <p:strVal val="hidden"/>
                                      </p:to>
                                    </p:set>
                                  </p:childTnLst>
                                </p:cTn>
                              </p:par>
                              <p:par>
                                <p:cTn id="16" presetID="1" presetClass="exit" presetSubtype="0" fill="hold" nodeType="withEffect">
                                  <p:stCondLst>
                                    <p:cond delay="0"/>
                                  </p:stCondLst>
                                  <p:childTnLst>
                                    <p:set>
                                      <p:cBhvr>
                                        <p:cTn id="17" dur="1" fill="hold">
                                          <p:stCondLst>
                                            <p:cond delay="0"/>
                                          </p:stCondLst>
                                        </p:cTn>
                                        <p:tgtEl>
                                          <p:spTgt spid="1369"/>
                                        </p:tgtEl>
                                        <p:attrNameLst>
                                          <p:attrName>style.visibility</p:attrName>
                                        </p:attrNameLst>
                                      </p:cBhvr>
                                      <p:to>
                                        <p:strVal val="hidden"/>
                                      </p:to>
                                    </p:set>
                                  </p:childTnLst>
                                </p:cTn>
                              </p:par>
                              <p:par>
                                <p:cTn id="18" presetID="42" presetClass="entr" presetSubtype="0" fill="hold" nodeType="withEffect">
                                  <p:stCondLst>
                                    <p:cond delay="0"/>
                                  </p:stCondLst>
                                  <p:childTnLst>
                                    <p:set>
                                      <p:cBhvr>
                                        <p:cTn id="19" dur="1" fill="hold">
                                          <p:stCondLst>
                                            <p:cond delay="0"/>
                                          </p:stCondLst>
                                        </p:cTn>
                                        <p:tgtEl>
                                          <p:spTgt spid="719"/>
                                        </p:tgtEl>
                                        <p:attrNameLst>
                                          <p:attrName>style.visibility</p:attrName>
                                        </p:attrNameLst>
                                      </p:cBhvr>
                                      <p:to>
                                        <p:strVal val="visible"/>
                                      </p:to>
                                    </p:set>
                                    <p:animEffect transition="in" filter="fade">
                                      <p:cBhvr>
                                        <p:cTn id="20" dur="500"/>
                                        <p:tgtEl>
                                          <p:spTgt spid="719"/>
                                        </p:tgtEl>
                                      </p:cBhvr>
                                    </p:animEffect>
                                    <p:anim calcmode="lin" valueType="num">
                                      <p:cBhvr>
                                        <p:cTn id="21" dur="500" fill="hold"/>
                                        <p:tgtEl>
                                          <p:spTgt spid="719"/>
                                        </p:tgtEl>
                                        <p:attrNameLst>
                                          <p:attrName>ppt_x</p:attrName>
                                        </p:attrNameLst>
                                      </p:cBhvr>
                                      <p:tavLst>
                                        <p:tav tm="0">
                                          <p:val>
                                            <p:strVal val="#ppt_x"/>
                                          </p:val>
                                        </p:tav>
                                        <p:tav tm="100000">
                                          <p:val>
                                            <p:strVal val="#ppt_x"/>
                                          </p:val>
                                        </p:tav>
                                      </p:tavLst>
                                    </p:anim>
                                    <p:anim calcmode="lin" valueType="num">
                                      <p:cBhvr>
                                        <p:cTn id="22" dur="500" fill="hold"/>
                                        <p:tgtEl>
                                          <p:spTgt spid="719"/>
                                        </p:tgtEl>
                                        <p:attrNameLst>
                                          <p:attrName>ppt_y</p:attrName>
                                        </p:attrNameLst>
                                      </p:cBhvr>
                                      <p:tavLst>
                                        <p:tav tm="0">
                                          <p:val>
                                            <p:strVal val="#ppt_y+.1"/>
                                          </p:val>
                                        </p:tav>
                                        <p:tav tm="100000">
                                          <p:val>
                                            <p:strVal val="#ppt_y"/>
                                          </p:val>
                                        </p:tav>
                                      </p:tavLst>
                                    </p:anim>
                                  </p:childTnLst>
                                </p:cTn>
                              </p:par>
                              <p:par>
                                <p:cTn id="23" presetID="42" presetClass="entr" presetSubtype="0" fill="hold" nodeType="withEffect">
                                  <p:stCondLst>
                                    <p:cond delay="0"/>
                                  </p:stCondLst>
                                  <p:childTnLst>
                                    <p:set>
                                      <p:cBhvr>
                                        <p:cTn id="24" dur="1" fill="hold">
                                          <p:stCondLst>
                                            <p:cond delay="0"/>
                                          </p:stCondLst>
                                        </p:cTn>
                                        <p:tgtEl>
                                          <p:spTgt spid="744"/>
                                        </p:tgtEl>
                                        <p:attrNameLst>
                                          <p:attrName>style.visibility</p:attrName>
                                        </p:attrNameLst>
                                      </p:cBhvr>
                                      <p:to>
                                        <p:strVal val="visible"/>
                                      </p:to>
                                    </p:set>
                                    <p:animEffect transition="in" filter="fade">
                                      <p:cBhvr>
                                        <p:cTn id="25" dur="500"/>
                                        <p:tgtEl>
                                          <p:spTgt spid="744"/>
                                        </p:tgtEl>
                                      </p:cBhvr>
                                    </p:animEffect>
                                    <p:anim calcmode="lin" valueType="num">
                                      <p:cBhvr>
                                        <p:cTn id="26" dur="500" fill="hold"/>
                                        <p:tgtEl>
                                          <p:spTgt spid="744"/>
                                        </p:tgtEl>
                                        <p:attrNameLst>
                                          <p:attrName>ppt_x</p:attrName>
                                        </p:attrNameLst>
                                      </p:cBhvr>
                                      <p:tavLst>
                                        <p:tav tm="0">
                                          <p:val>
                                            <p:strVal val="#ppt_x"/>
                                          </p:val>
                                        </p:tav>
                                        <p:tav tm="100000">
                                          <p:val>
                                            <p:strVal val="#ppt_x"/>
                                          </p:val>
                                        </p:tav>
                                      </p:tavLst>
                                    </p:anim>
                                    <p:anim calcmode="lin" valueType="num">
                                      <p:cBhvr>
                                        <p:cTn id="27" dur="500" fill="hold"/>
                                        <p:tgtEl>
                                          <p:spTgt spid="744"/>
                                        </p:tgtEl>
                                        <p:attrNameLst>
                                          <p:attrName>ppt_y</p:attrName>
                                        </p:attrNameLst>
                                      </p:cBhvr>
                                      <p:tavLst>
                                        <p:tav tm="0">
                                          <p:val>
                                            <p:strVal val="#ppt_y+.1"/>
                                          </p:val>
                                        </p:tav>
                                        <p:tav tm="100000">
                                          <p:val>
                                            <p:strVal val="#ppt_y"/>
                                          </p:val>
                                        </p:tav>
                                      </p:tavLst>
                                    </p:anim>
                                  </p:childTnLst>
                                </p:cTn>
                              </p:par>
                              <p:par>
                                <p:cTn id="28" presetID="42" presetClass="entr" presetSubtype="0" fill="hold" nodeType="withEffect">
                                  <p:stCondLst>
                                    <p:cond delay="0"/>
                                  </p:stCondLst>
                                  <p:childTnLst>
                                    <p:set>
                                      <p:cBhvr>
                                        <p:cTn id="29" dur="1" fill="hold">
                                          <p:stCondLst>
                                            <p:cond delay="0"/>
                                          </p:stCondLst>
                                        </p:cTn>
                                        <p:tgtEl>
                                          <p:spTgt spid="819"/>
                                        </p:tgtEl>
                                        <p:attrNameLst>
                                          <p:attrName>style.visibility</p:attrName>
                                        </p:attrNameLst>
                                      </p:cBhvr>
                                      <p:to>
                                        <p:strVal val="visible"/>
                                      </p:to>
                                    </p:set>
                                    <p:animEffect transition="in" filter="fade">
                                      <p:cBhvr>
                                        <p:cTn id="30" dur="500"/>
                                        <p:tgtEl>
                                          <p:spTgt spid="819"/>
                                        </p:tgtEl>
                                      </p:cBhvr>
                                    </p:animEffect>
                                    <p:anim calcmode="lin" valueType="num">
                                      <p:cBhvr>
                                        <p:cTn id="31" dur="500" fill="hold"/>
                                        <p:tgtEl>
                                          <p:spTgt spid="819"/>
                                        </p:tgtEl>
                                        <p:attrNameLst>
                                          <p:attrName>ppt_x</p:attrName>
                                        </p:attrNameLst>
                                      </p:cBhvr>
                                      <p:tavLst>
                                        <p:tav tm="0">
                                          <p:val>
                                            <p:strVal val="#ppt_x"/>
                                          </p:val>
                                        </p:tav>
                                        <p:tav tm="100000">
                                          <p:val>
                                            <p:strVal val="#ppt_x"/>
                                          </p:val>
                                        </p:tav>
                                      </p:tavLst>
                                    </p:anim>
                                    <p:anim calcmode="lin" valueType="num">
                                      <p:cBhvr>
                                        <p:cTn id="32" dur="500" fill="hold"/>
                                        <p:tgtEl>
                                          <p:spTgt spid="819"/>
                                        </p:tgtEl>
                                        <p:attrNameLst>
                                          <p:attrName>ppt_y</p:attrName>
                                        </p:attrNameLst>
                                      </p:cBhvr>
                                      <p:tavLst>
                                        <p:tav tm="0">
                                          <p:val>
                                            <p:strVal val="#ppt_y+.1"/>
                                          </p:val>
                                        </p:tav>
                                        <p:tav tm="100000">
                                          <p:val>
                                            <p:strVal val="#ppt_y"/>
                                          </p:val>
                                        </p:tav>
                                      </p:tavLst>
                                    </p:anim>
                                  </p:childTnLst>
                                </p:cTn>
                              </p:par>
                              <p:par>
                                <p:cTn id="33" presetID="42" presetClass="entr" presetSubtype="0" fill="hold" nodeType="withEffect">
                                  <p:stCondLst>
                                    <p:cond delay="0"/>
                                  </p:stCondLst>
                                  <p:childTnLst>
                                    <p:set>
                                      <p:cBhvr>
                                        <p:cTn id="34" dur="1" fill="hold">
                                          <p:stCondLst>
                                            <p:cond delay="0"/>
                                          </p:stCondLst>
                                        </p:cTn>
                                        <p:tgtEl>
                                          <p:spTgt spid="1019"/>
                                        </p:tgtEl>
                                        <p:attrNameLst>
                                          <p:attrName>style.visibility</p:attrName>
                                        </p:attrNameLst>
                                      </p:cBhvr>
                                      <p:to>
                                        <p:strVal val="visible"/>
                                      </p:to>
                                    </p:set>
                                    <p:animEffect transition="in" filter="fade">
                                      <p:cBhvr>
                                        <p:cTn id="35" dur="500"/>
                                        <p:tgtEl>
                                          <p:spTgt spid="1019"/>
                                        </p:tgtEl>
                                      </p:cBhvr>
                                    </p:animEffect>
                                    <p:anim calcmode="lin" valueType="num">
                                      <p:cBhvr>
                                        <p:cTn id="36" dur="500" fill="hold"/>
                                        <p:tgtEl>
                                          <p:spTgt spid="1019"/>
                                        </p:tgtEl>
                                        <p:attrNameLst>
                                          <p:attrName>ppt_x</p:attrName>
                                        </p:attrNameLst>
                                      </p:cBhvr>
                                      <p:tavLst>
                                        <p:tav tm="0">
                                          <p:val>
                                            <p:strVal val="#ppt_x"/>
                                          </p:val>
                                        </p:tav>
                                        <p:tav tm="100000">
                                          <p:val>
                                            <p:strVal val="#ppt_x"/>
                                          </p:val>
                                        </p:tav>
                                      </p:tavLst>
                                    </p:anim>
                                    <p:anim calcmode="lin" valueType="num">
                                      <p:cBhvr>
                                        <p:cTn id="37" dur="500" fill="hold"/>
                                        <p:tgtEl>
                                          <p:spTgt spid="1019"/>
                                        </p:tgtEl>
                                        <p:attrNameLst>
                                          <p:attrName>ppt_y</p:attrName>
                                        </p:attrNameLst>
                                      </p:cBhvr>
                                      <p:tavLst>
                                        <p:tav tm="0">
                                          <p:val>
                                            <p:strVal val="#ppt_y+.1"/>
                                          </p:val>
                                        </p:tav>
                                        <p:tav tm="100000">
                                          <p:val>
                                            <p:strVal val="#ppt_y"/>
                                          </p:val>
                                        </p:tav>
                                      </p:tavLst>
                                    </p:anim>
                                  </p:childTnLst>
                                </p:cTn>
                              </p:par>
                            </p:childTnLst>
                          </p:cTn>
                        </p:par>
                        <p:par>
                          <p:cTn id="38" fill="hold">
                            <p:stCondLst>
                              <p:cond delay="500"/>
                            </p:stCondLst>
                            <p:childTnLst>
                              <p:par>
                                <p:cTn id="39" presetID="42" presetClass="entr" presetSubtype="0" fill="hold" nodeType="afterEffect">
                                  <p:stCondLst>
                                    <p:cond delay="0"/>
                                  </p:stCondLst>
                                  <p:childTnLst>
                                    <p:set>
                                      <p:cBhvr>
                                        <p:cTn id="40" dur="1" fill="hold">
                                          <p:stCondLst>
                                            <p:cond delay="0"/>
                                          </p:stCondLst>
                                        </p:cTn>
                                        <p:tgtEl>
                                          <p:spTgt spid="769"/>
                                        </p:tgtEl>
                                        <p:attrNameLst>
                                          <p:attrName>style.visibility</p:attrName>
                                        </p:attrNameLst>
                                      </p:cBhvr>
                                      <p:to>
                                        <p:strVal val="visible"/>
                                      </p:to>
                                    </p:set>
                                    <p:animEffect transition="in" filter="fade">
                                      <p:cBhvr>
                                        <p:cTn id="41" dur="500"/>
                                        <p:tgtEl>
                                          <p:spTgt spid="769"/>
                                        </p:tgtEl>
                                      </p:cBhvr>
                                    </p:animEffect>
                                    <p:anim calcmode="lin" valueType="num">
                                      <p:cBhvr>
                                        <p:cTn id="42" dur="500" fill="hold"/>
                                        <p:tgtEl>
                                          <p:spTgt spid="769"/>
                                        </p:tgtEl>
                                        <p:attrNameLst>
                                          <p:attrName>ppt_x</p:attrName>
                                        </p:attrNameLst>
                                      </p:cBhvr>
                                      <p:tavLst>
                                        <p:tav tm="0">
                                          <p:val>
                                            <p:strVal val="#ppt_x"/>
                                          </p:val>
                                        </p:tav>
                                        <p:tav tm="100000">
                                          <p:val>
                                            <p:strVal val="#ppt_x"/>
                                          </p:val>
                                        </p:tav>
                                      </p:tavLst>
                                    </p:anim>
                                    <p:anim calcmode="lin" valueType="num">
                                      <p:cBhvr>
                                        <p:cTn id="43" dur="500" fill="hold"/>
                                        <p:tgtEl>
                                          <p:spTgt spid="769"/>
                                        </p:tgtEl>
                                        <p:attrNameLst>
                                          <p:attrName>ppt_y</p:attrName>
                                        </p:attrNameLst>
                                      </p:cBhvr>
                                      <p:tavLst>
                                        <p:tav tm="0">
                                          <p:val>
                                            <p:strVal val="#ppt_y+.1"/>
                                          </p:val>
                                        </p:tav>
                                        <p:tav tm="100000">
                                          <p:val>
                                            <p:strVal val="#ppt_y"/>
                                          </p:val>
                                        </p:tav>
                                      </p:tavLst>
                                    </p:anim>
                                  </p:childTnLst>
                                </p:cTn>
                              </p:par>
                              <p:par>
                                <p:cTn id="44" presetID="42" presetClass="entr" presetSubtype="0" fill="hold" nodeType="withEffect">
                                  <p:stCondLst>
                                    <p:cond delay="0"/>
                                  </p:stCondLst>
                                  <p:childTnLst>
                                    <p:set>
                                      <p:cBhvr>
                                        <p:cTn id="45" dur="1" fill="hold">
                                          <p:stCondLst>
                                            <p:cond delay="0"/>
                                          </p:stCondLst>
                                        </p:cTn>
                                        <p:tgtEl>
                                          <p:spTgt spid="844"/>
                                        </p:tgtEl>
                                        <p:attrNameLst>
                                          <p:attrName>style.visibility</p:attrName>
                                        </p:attrNameLst>
                                      </p:cBhvr>
                                      <p:to>
                                        <p:strVal val="visible"/>
                                      </p:to>
                                    </p:set>
                                    <p:animEffect transition="in" filter="fade">
                                      <p:cBhvr>
                                        <p:cTn id="46" dur="500"/>
                                        <p:tgtEl>
                                          <p:spTgt spid="844"/>
                                        </p:tgtEl>
                                      </p:cBhvr>
                                    </p:animEffect>
                                    <p:anim calcmode="lin" valueType="num">
                                      <p:cBhvr>
                                        <p:cTn id="47" dur="500" fill="hold"/>
                                        <p:tgtEl>
                                          <p:spTgt spid="844"/>
                                        </p:tgtEl>
                                        <p:attrNameLst>
                                          <p:attrName>ppt_x</p:attrName>
                                        </p:attrNameLst>
                                      </p:cBhvr>
                                      <p:tavLst>
                                        <p:tav tm="0">
                                          <p:val>
                                            <p:strVal val="#ppt_x"/>
                                          </p:val>
                                        </p:tav>
                                        <p:tav tm="100000">
                                          <p:val>
                                            <p:strVal val="#ppt_x"/>
                                          </p:val>
                                        </p:tav>
                                      </p:tavLst>
                                    </p:anim>
                                    <p:anim calcmode="lin" valueType="num">
                                      <p:cBhvr>
                                        <p:cTn id="48" dur="500" fill="hold"/>
                                        <p:tgtEl>
                                          <p:spTgt spid="844"/>
                                        </p:tgtEl>
                                        <p:attrNameLst>
                                          <p:attrName>ppt_y</p:attrName>
                                        </p:attrNameLst>
                                      </p:cBhvr>
                                      <p:tavLst>
                                        <p:tav tm="0">
                                          <p:val>
                                            <p:strVal val="#ppt_y+.1"/>
                                          </p:val>
                                        </p:tav>
                                        <p:tav tm="100000">
                                          <p:val>
                                            <p:strVal val="#ppt_y"/>
                                          </p:val>
                                        </p:tav>
                                      </p:tavLst>
                                    </p:anim>
                                  </p:childTnLst>
                                </p:cTn>
                              </p:par>
                              <p:par>
                                <p:cTn id="49" presetID="42" presetClass="entr" presetSubtype="0" fill="hold" nodeType="withEffect">
                                  <p:stCondLst>
                                    <p:cond delay="0"/>
                                  </p:stCondLst>
                                  <p:childTnLst>
                                    <p:set>
                                      <p:cBhvr>
                                        <p:cTn id="50" dur="1" fill="hold">
                                          <p:stCondLst>
                                            <p:cond delay="0"/>
                                          </p:stCondLst>
                                        </p:cTn>
                                        <p:tgtEl>
                                          <p:spTgt spid="1044"/>
                                        </p:tgtEl>
                                        <p:attrNameLst>
                                          <p:attrName>style.visibility</p:attrName>
                                        </p:attrNameLst>
                                      </p:cBhvr>
                                      <p:to>
                                        <p:strVal val="visible"/>
                                      </p:to>
                                    </p:set>
                                    <p:animEffect transition="in" filter="fade">
                                      <p:cBhvr>
                                        <p:cTn id="51" dur="500"/>
                                        <p:tgtEl>
                                          <p:spTgt spid="1044"/>
                                        </p:tgtEl>
                                      </p:cBhvr>
                                    </p:animEffect>
                                    <p:anim calcmode="lin" valueType="num">
                                      <p:cBhvr>
                                        <p:cTn id="52" dur="500" fill="hold"/>
                                        <p:tgtEl>
                                          <p:spTgt spid="1044"/>
                                        </p:tgtEl>
                                        <p:attrNameLst>
                                          <p:attrName>ppt_x</p:attrName>
                                        </p:attrNameLst>
                                      </p:cBhvr>
                                      <p:tavLst>
                                        <p:tav tm="0">
                                          <p:val>
                                            <p:strVal val="#ppt_x"/>
                                          </p:val>
                                        </p:tav>
                                        <p:tav tm="100000">
                                          <p:val>
                                            <p:strVal val="#ppt_x"/>
                                          </p:val>
                                        </p:tav>
                                      </p:tavLst>
                                    </p:anim>
                                    <p:anim calcmode="lin" valueType="num">
                                      <p:cBhvr>
                                        <p:cTn id="53" dur="500" fill="hold"/>
                                        <p:tgtEl>
                                          <p:spTgt spid="1044"/>
                                        </p:tgtEl>
                                        <p:attrNameLst>
                                          <p:attrName>ppt_y</p:attrName>
                                        </p:attrNameLst>
                                      </p:cBhvr>
                                      <p:tavLst>
                                        <p:tav tm="0">
                                          <p:val>
                                            <p:strVal val="#ppt_y+.1"/>
                                          </p:val>
                                        </p:tav>
                                        <p:tav tm="100000">
                                          <p:val>
                                            <p:strVal val="#ppt_y"/>
                                          </p:val>
                                        </p:tav>
                                      </p:tavLst>
                                    </p:anim>
                                  </p:childTnLst>
                                </p:cTn>
                              </p:par>
                            </p:childTnLst>
                          </p:cTn>
                        </p:par>
                        <p:par>
                          <p:cTn id="54" fill="hold">
                            <p:stCondLst>
                              <p:cond delay="1000"/>
                            </p:stCondLst>
                            <p:childTnLst>
                              <p:par>
                                <p:cTn id="55" presetID="42" presetClass="entr" presetSubtype="0" fill="hold" nodeType="afterEffect">
                                  <p:stCondLst>
                                    <p:cond delay="0"/>
                                  </p:stCondLst>
                                  <p:childTnLst>
                                    <p:set>
                                      <p:cBhvr>
                                        <p:cTn id="56" dur="1" fill="hold">
                                          <p:stCondLst>
                                            <p:cond delay="0"/>
                                          </p:stCondLst>
                                        </p:cTn>
                                        <p:tgtEl>
                                          <p:spTgt spid="794"/>
                                        </p:tgtEl>
                                        <p:attrNameLst>
                                          <p:attrName>style.visibility</p:attrName>
                                        </p:attrNameLst>
                                      </p:cBhvr>
                                      <p:to>
                                        <p:strVal val="visible"/>
                                      </p:to>
                                    </p:set>
                                    <p:animEffect transition="in" filter="fade">
                                      <p:cBhvr>
                                        <p:cTn id="57" dur="500"/>
                                        <p:tgtEl>
                                          <p:spTgt spid="794"/>
                                        </p:tgtEl>
                                      </p:cBhvr>
                                    </p:animEffect>
                                    <p:anim calcmode="lin" valueType="num">
                                      <p:cBhvr>
                                        <p:cTn id="58" dur="500" fill="hold"/>
                                        <p:tgtEl>
                                          <p:spTgt spid="794"/>
                                        </p:tgtEl>
                                        <p:attrNameLst>
                                          <p:attrName>ppt_x</p:attrName>
                                        </p:attrNameLst>
                                      </p:cBhvr>
                                      <p:tavLst>
                                        <p:tav tm="0">
                                          <p:val>
                                            <p:strVal val="#ppt_x"/>
                                          </p:val>
                                        </p:tav>
                                        <p:tav tm="100000">
                                          <p:val>
                                            <p:strVal val="#ppt_x"/>
                                          </p:val>
                                        </p:tav>
                                      </p:tavLst>
                                    </p:anim>
                                    <p:anim calcmode="lin" valueType="num">
                                      <p:cBhvr>
                                        <p:cTn id="59" dur="500" fill="hold"/>
                                        <p:tgtEl>
                                          <p:spTgt spid="794"/>
                                        </p:tgtEl>
                                        <p:attrNameLst>
                                          <p:attrName>ppt_y</p:attrName>
                                        </p:attrNameLst>
                                      </p:cBhvr>
                                      <p:tavLst>
                                        <p:tav tm="0">
                                          <p:val>
                                            <p:strVal val="#ppt_y+.1"/>
                                          </p:val>
                                        </p:tav>
                                        <p:tav tm="100000">
                                          <p:val>
                                            <p:strVal val="#ppt_y"/>
                                          </p:val>
                                        </p:tav>
                                      </p:tavLst>
                                    </p:anim>
                                  </p:childTnLst>
                                </p:cTn>
                              </p:par>
                              <p:par>
                                <p:cTn id="60" presetID="42" presetClass="entr" presetSubtype="0" fill="hold" nodeType="withEffect">
                                  <p:stCondLst>
                                    <p:cond delay="0"/>
                                  </p:stCondLst>
                                  <p:childTnLst>
                                    <p:set>
                                      <p:cBhvr>
                                        <p:cTn id="61" dur="1" fill="hold">
                                          <p:stCondLst>
                                            <p:cond delay="0"/>
                                          </p:stCondLst>
                                        </p:cTn>
                                        <p:tgtEl>
                                          <p:spTgt spid="869"/>
                                        </p:tgtEl>
                                        <p:attrNameLst>
                                          <p:attrName>style.visibility</p:attrName>
                                        </p:attrNameLst>
                                      </p:cBhvr>
                                      <p:to>
                                        <p:strVal val="visible"/>
                                      </p:to>
                                    </p:set>
                                    <p:animEffect transition="in" filter="fade">
                                      <p:cBhvr>
                                        <p:cTn id="62" dur="500"/>
                                        <p:tgtEl>
                                          <p:spTgt spid="869"/>
                                        </p:tgtEl>
                                      </p:cBhvr>
                                    </p:animEffect>
                                    <p:anim calcmode="lin" valueType="num">
                                      <p:cBhvr>
                                        <p:cTn id="63" dur="500" fill="hold"/>
                                        <p:tgtEl>
                                          <p:spTgt spid="869"/>
                                        </p:tgtEl>
                                        <p:attrNameLst>
                                          <p:attrName>ppt_x</p:attrName>
                                        </p:attrNameLst>
                                      </p:cBhvr>
                                      <p:tavLst>
                                        <p:tav tm="0">
                                          <p:val>
                                            <p:strVal val="#ppt_x"/>
                                          </p:val>
                                        </p:tav>
                                        <p:tav tm="100000">
                                          <p:val>
                                            <p:strVal val="#ppt_x"/>
                                          </p:val>
                                        </p:tav>
                                      </p:tavLst>
                                    </p:anim>
                                    <p:anim calcmode="lin" valueType="num">
                                      <p:cBhvr>
                                        <p:cTn id="64" dur="500" fill="hold"/>
                                        <p:tgtEl>
                                          <p:spTgt spid="869"/>
                                        </p:tgtEl>
                                        <p:attrNameLst>
                                          <p:attrName>ppt_y</p:attrName>
                                        </p:attrNameLst>
                                      </p:cBhvr>
                                      <p:tavLst>
                                        <p:tav tm="0">
                                          <p:val>
                                            <p:strVal val="#ppt_y+.1"/>
                                          </p:val>
                                        </p:tav>
                                        <p:tav tm="100000">
                                          <p:val>
                                            <p:strVal val="#ppt_y"/>
                                          </p:val>
                                        </p:tav>
                                      </p:tavLst>
                                    </p:anim>
                                  </p:childTnLst>
                                </p:cTn>
                              </p:par>
                              <p:par>
                                <p:cTn id="65" presetID="42" presetClass="entr" presetSubtype="0" fill="hold" nodeType="withEffect">
                                  <p:stCondLst>
                                    <p:cond delay="0"/>
                                  </p:stCondLst>
                                  <p:childTnLst>
                                    <p:set>
                                      <p:cBhvr>
                                        <p:cTn id="66" dur="1" fill="hold">
                                          <p:stCondLst>
                                            <p:cond delay="0"/>
                                          </p:stCondLst>
                                        </p:cTn>
                                        <p:tgtEl>
                                          <p:spTgt spid="1069"/>
                                        </p:tgtEl>
                                        <p:attrNameLst>
                                          <p:attrName>style.visibility</p:attrName>
                                        </p:attrNameLst>
                                      </p:cBhvr>
                                      <p:to>
                                        <p:strVal val="visible"/>
                                      </p:to>
                                    </p:set>
                                    <p:animEffect transition="in" filter="fade">
                                      <p:cBhvr>
                                        <p:cTn id="67" dur="500"/>
                                        <p:tgtEl>
                                          <p:spTgt spid="1069"/>
                                        </p:tgtEl>
                                      </p:cBhvr>
                                    </p:animEffect>
                                    <p:anim calcmode="lin" valueType="num">
                                      <p:cBhvr>
                                        <p:cTn id="68" dur="500" fill="hold"/>
                                        <p:tgtEl>
                                          <p:spTgt spid="1069"/>
                                        </p:tgtEl>
                                        <p:attrNameLst>
                                          <p:attrName>ppt_x</p:attrName>
                                        </p:attrNameLst>
                                      </p:cBhvr>
                                      <p:tavLst>
                                        <p:tav tm="0">
                                          <p:val>
                                            <p:strVal val="#ppt_x"/>
                                          </p:val>
                                        </p:tav>
                                        <p:tav tm="100000">
                                          <p:val>
                                            <p:strVal val="#ppt_x"/>
                                          </p:val>
                                        </p:tav>
                                      </p:tavLst>
                                    </p:anim>
                                    <p:anim calcmode="lin" valueType="num">
                                      <p:cBhvr>
                                        <p:cTn id="69" dur="500" fill="hold"/>
                                        <p:tgtEl>
                                          <p:spTgt spid="1069"/>
                                        </p:tgtEl>
                                        <p:attrNameLst>
                                          <p:attrName>ppt_y</p:attrName>
                                        </p:attrNameLst>
                                      </p:cBhvr>
                                      <p:tavLst>
                                        <p:tav tm="0">
                                          <p:val>
                                            <p:strVal val="#ppt_y+.1"/>
                                          </p:val>
                                        </p:tav>
                                        <p:tav tm="100000">
                                          <p:val>
                                            <p:strVal val="#ppt_y"/>
                                          </p:val>
                                        </p:tav>
                                      </p:tavLst>
                                    </p:anim>
                                  </p:childTnLst>
                                </p:cTn>
                              </p:par>
                            </p:childTnLst>
                          </p:cTn>
                        </p:par>
                        <p:par>
                          <p:cTn id="70" fill="hold">
                            <p:stCondLst>
                              <p:cond delay="1500"/>
                            </p:stCondLst>
                            <p:childTnLst>
                              <p:par>
                                <p:cTn id="71" presetID="42" presetClass="entr" presetSubtype="0" fill="hold" nodeType="afterEffect">
                                  <p:stCondLst>
                                    <p:cond delay="0"/>
                                  </p:stCondLst>
                                  <p:childTnLst>
                                    <p:set>
                                      <p:cBhvr>
                                        <p:cTn id="72" dur="1" fill="hold">
                                          <p:stCondLst>
                                            <p:cond delay="0"/>
                                          </p:stCondLst>
                                        </p:cTn>
                                        <p:tgtEl>
                                          <p:spTgt spid="894"/>
                                        </p:tgtEl>
                                        <p:attrNameLst>
                                          <p:attrName>style.visibility</p:attrName>
                                        </p:attrNameLst>
                                      </p:cBhvr>
                                      <p:to>
                                        <p:strVal val="visible"/>
                                      </p:to>
                                    </p:set>
                                    <p:animEffect transition="in" filter="fade">
                                      <p:cBhvr>
                                        <p:cTn id="73" dur="500"/>
                                        <p:tgtEl>
                                          <p:spTgt spid="894"/>
                                        </p:tgtEl>
                                      </p:cBhvr>
                                    </p:animEffect>
                                    <p:anim calcmode="lin" valueType="num">
                                      <p:cBhvr>
                                        <p:cTn id="74" dur="500" fill="hold"/>
                                        <p:tgtEl>
                                          <p:spTgt spid="894"/>
                                        </p:tgtEl>
                                        <p:attrNameLst>
                                          <p:attrName>ppt_x</p:attrName>
                                        </p:attrNameLst>
                                      </p:cBhvr>
                                      <p:tavLst>
                                        <p:tav tm="0">
                                          <p:val>
                                            <p:strVal val="#ppt_x"/>
                                          </p:val>
                                        </p:tav>
                                        <p:tav tm="100000">
                                          <p:val>
                                            <p:strVal val="#ppt_x"/>
                                          </p:val>
                                        </p:tav>
                                      </p:tavLst>
                                    </p:anim>
                                    <p:anim calcmode="lin" valueType="num">
                                      <p:cBhvr>
                                        <p:cTn id="75" dur="500" fill="hold"/>
                                        <p:tgtEl>
                                          <p:spTgt spid="894"/>
                                        </p:tgtEl>
                                        <p:attrNameLst>
                                          <p:attrName>ppt_y</p:attrName>
                                        </p:attrNameLst>
                                      </p:cBhvr>
                                      <p:tavLst>
                                        <p:tav tm="0">
                                          <p:val>
                                            <p:strVal val="#ppt_y+.1"/>
                                          </p:val>
                                        </p:tav>
                                        <p:tav tm="100000">
                                          <p:val>
                                            <p:strVal val="#ppt_y"/>
                                          </p:val>
                                        </p:tav>
                                      </p:tavLst>
                                    </p:anim>
                                  </p:childTnLst>
                                </p:cTn>
                              </p:par>
                              <p:par>
                                <p:cTn id="76" presetID="42" presetClass="entr" presetSubtype="0" fill="hold" nodeType="withEffect">
                                  <p:stCondLst>
                                    <p:cond delay="0"/>
                                  </p:stCondLst>
                                  <p:childTnLst>
                                    <p:set>
                                      <p:cBhvr>
                                        <p:cTn id="77" dur="1" fill="hold">
                                          <p:stCondLst>
                                            <p:cond delay="0"/>
                                          </p:stCondLst>
                                        </p:cTn>
                                        <p:tgtEl>
                                          <p:spTgt spid="1094"/>
                                        </p:tgtEl>
                                        <p:attrNameLst>
                                          <p:attrName>style.visibility</p:attrName>
                                        </p:attrNameLst>
                                      </p:cBhvr>
                                      <p:to>
                                        <p:strVal val="visible"/>
                                      </p:to>
                                    </p:set>
                                    <p:animEffect transition="in" filter="fade">
                                      <p:cBhvr>
                                        <p:cTn id="78" dur="500"/>
                                        <p:tgtEl>
                                          <p:spTgt spid="1094"/>
                                        </p:tgtEl>
                                      </p:cBhvr>
                                    </p:animEffect>
                                    <p:anim calcmode="lin" valueType="num">
                                      <p:cBhvr>
                                        <p:cTn id="79" dur="500" fill="hold"/>
                                        <p:tgtEl>
                                          <p:spTgt spid="1094"/>
                                        </p:tgtEl>
                                        <p:attrNameLst>
                                          <p:attrName>ppt_x</p:attrName>
                                        </p:attrNameLst>
                                      </p:cBhvr>
                                      <p:tavLst>
                                        <p:tav tm="0">
                                          <p:val>
                                            <p:strVal val="#ppt_x"/>
                                          </p:val>
                                        </p:tav>
                                        <p:tav tm="100000">
                                          <p:val>
                                            <p:strVal val="#ppt_x"/>
                                          </p:val>
                                        </p:tav>
                                      </p:tavLst>
                                    </p:anim>
                                    <p:anim calcmode="lin" valueType="num">
                                      <p:cBhvr>
                                        <p:cTn id="80" dur="500" fill="hold"/>
                                        <p:tgtEl>
                                          <p:spTgt spid="1094"/>
                                        </p:tgtEl>
                                        <p:attrNameLst>
                                          <p:attrName>ppt_y</p:attrName>
                                        </p:attrNameLst>
                                      </p:cBhvr>
                                      <p:tavLst>
                                        <p:tav tm="0">
                                          <p:val>
                                            <p:strVal val="#ppt_y+.1"/>
                                          </p:val>
                                        </p:tav>
                                        <p:tav tm="100000">
                                          <p:val>
                                            <p:strVal val="#ppt_y"/>
                                          </p:val>
                                        </p:tav>
                                      </p:tavLst>
                                    </p:anim>
                                  </p:childTnLst>
                                </p:cTn>
                              </p:par>
                            </p:childTnLst>
                          </p:cTn>
                        </p:par>
                        <p:par>
                          <p:cTn id="81" fill="hold">
                            <p:stCondLst>
                              <p:cond delay="2000"/>
                            </p:stCondLst>
                            <p:childTnLst>
                              <p:par>
                                <p:cTn id="82" presetID="42" presetClass="entr" presetSubtype="0" fill="hold" nodeType="afterEffect">
                                  <p:stCondLst>
                                    <p:cond delay="0"/>
                                  </p:stCondLst>
                                  <p:childTnLst>
                                    <p:set>
                                      <p:cBhvr>
                                        <p:cTn id="83" dur="1" fill="hold">
                                          <p:stCondLst>
                                            <p:cond delay="0"/>
                                          </p:stCondLst>
                                        </p:cTn>
                                        <p:tgtEl>
                                          <p:spTgt spid="919"/>
                                        </p:tgtEl>
                                        <p:attrNameLst>
                                          <p:attrName>style.visibility</p:attrName>
                                        </p:attrNameLst>
                                      </p:cBhvr>
                                      <p:to>
                                        <p:strVal val="visible"/>
                                      </p:to>
                                    </p:set>
                                    <p:animEffect transition="in" filter="fade">
                                      <p:cBhvr>
                                        <p:cTn id="84" dur="500"/>
                                        <p:tgtEl>
                                          <p:spTgt spid="919"/>
                                        </p:tgtEl>
                                      </p:cBhvr>
                                    </p:animEffect>
                                    <p:anim calcmode="lin" valueType="num">
                                      <p:cBhvr>
                                        <p:cTn id="85" dur="500" fill="hold"/>
                                        <p:tgtEl>
                                          <p:spTgt spid="919"/>
                                        </p:tgtEl>
                                        <p:attrNameLst>
                                          <p:attrName>ppt_x</p:attrName>
                                        </p:attrNameLst>
                                      </p:cBhvr>
                                      <p:tavLst>
                                        <p:tav tm="0">
                                          <p:val>
                                            <p:strVal val="#ppt_x"/>
                                          </p:val>
                                        </p:tav>
                                        <p:tav tm="100000">
                                          <p:val>
                                            <p:strVal val="#ppt_x"/>
                                          </p:val>
                                        </p:tav>
                                      </p:tavLst>
                                    </p:anim>
                                    <p:anim calcmode="lin" valueType="num">
                                      <p:cBhvr>
                                        <p:cTn id="86" dur="500" fill="hold"/>
                                        <p:tgtEl>
                                          <p:spTgt spid="919"/>
                                        </p:tgtEl>
                                        <p:attrNameLst>
                                          <p:attrName>ppt_y</p:attrName>
                                        </p:attrNameLst>
                                      </p:cBhvr>
                                      <p:tavLst>
                                        <p:tav tm="0">
                                          <p:val>
                                            <p:strVal val="#ppt_y+.1"/>
                                          </p:val>
                                        </p:tav>
                                        <p:tav tm="100000">
                                          <p:val>
                                            <p:strVal val="#ppt_y"/>
                                          </p:val>
                                        </p:tav>
                                      </p:tavLst>
                                    </p:anim>
                                  </p:childTnLst>
                                </p:cTn>
                              </p:par>
                              <p:par>
                                <p:cTn id="87" presetID="42" presetClass="entr" presetSubtype="0" fill="hold" nodeType="withEffect">
                                  <p:stCondLst>
                                    <p:cond delay="0"/>
                                  </p:stCondLst>
                                  <p:childTnLst>
                                    <p:set>
                                      <p:cBhvr>
                                        <p:cTn id="88" dur="1" fill="hold">
                                          <p:stCondLst>
                                            <p:cond delay="0"/>
                                          </p:stCondLst>
                                        </p:cTn>
                                        <p:tgtEl>
                                          <p:spTgt spid="1119"/>
                                        </p:tgtEl>
                                        <p:attrNameLst>
                                          <p:attrName>style.visibility</p:attrName>
                                        </p:attrNameLst>
                                      </p:cBhvr>
                                      <p:to>
                                        <p:strVal val="visible"/>
                                      </p:to>
                                    </p:set>
                                    <p:animEffect transition="in" filter="fade">
                                      <p:cBhvr>
                                        <p:cTn id="89" dur="500"/>
                                        <p:tgtEl>
                                          <p:spTgt spid="1119"/>
                                        </p:tgtEl>
                                      </p:cBhvr>
                                    </p:animEffect>
                                    <p:anim calcmode="lin" valueType="num">
                                      <p:cBhvr>
                                        <p:cTn id="90" dur="500" fill="hold"/>
                                        <p:tgtEl>
                                          <p:spTgt spid="1119"/>
                                        </p:tgtEl>
                                        <p:attrNameLst>
                                          <p:attrName>ppt_x</p:attrName>
                                        </p:attrNameLst>
                                      </p:cBhvr>
                                      <p:tavLst>
                                        <p:tav tm="0">
                                          <p:val>
                                            <p:strVal val="#ppt_x"/>
                                          </p:val>
                                        </p:tav>
                                        <p:tav tm="100000">
                                          <p:val>
                                            <p:strVal val="#ppt_x"/>
                                          </p:val>
                                        </p:tav>
                                      </p:tavLst>
                                    </p:anim>
                                    <p:anim calcmode="lin" valueType="num">
                                      <p:cBhvr>
                                        <p:cTn id="91" dur="500" fill="hold"/>
                                        <p:tgtEl>
                                          <p:spTgt spid="1119"/>
                                        </p:tgtEl>
                                        <p:attrNameLst>
                                          <p:attrName>ppt_y</p:attrName>
                                        </p:attrNameLst>
                                      </p:cBhvr>
                                      <p:tavLst>
                                        <p:tav tm="0">
                                          <p:val>
                                            <p:strVal val="#ppt_y+.1"/>
                                          </p:val>
                                        </p:tav>
                                        <p:tav tm="100000">
                                          <p:val>
                                            <p:strVal val="#ppt_y"/>
                                          </p:val>
                                        </p:tav>
                                      </p:tavLst>
                                    </p:anim>
                                  </p:childTnLst>
                                </p:cTn>
                              </p:par>
                            </p:childTnLst>
                          </p:cTn>
                        </p:par>
                        <p:par>
                          <p:cTn id="92" fill="hold">
                            <p:stCondLst>
                              <p:cond delay="2500"/>
                            </p:stCondLst>
                            <p:childTnLst>
                              <p:par>
                                <p:cTn id="93" presetID="42" presetClass="entr" presetSubtype="0" fill="hold" nodeType="afterEffect">
                                  <p:stCondLst>
                                    <p:cond delay="0"/>
                                  </p:stCondLst>
                                  <p:childTnLst>
                                    <p:set>
                                      <p:cBhvr>
                                        <p:cTn id="94" dur="1" fill="hold">
                                          <p:stCondLst>
                                            <p:cond delay="0"/>
                                          </p:stCondLst>
                                        </p:cTn>
                                        <p:tgtEl>
                                          <p:spTgt spid="944"/>
                                        </p:tgtEl>
                                        <p:attrNameLst>
                                          <p:attrName>style.visibility</p:attrName>
                                        </p:attrNameLst>
                                      </p:cBhvr>
                                      <p:to>
                                        <p:strVal val="visible"/>
                                      </p:to>
                                    </p:set>
                                    <p:animEffect transition="in" filter="fade">
                                      <p:cBhvr>
                                        <p:cTn id="95" dur="500"/>
                                        <p:tgtEl>
                                          <p:spTgt spid="944"/>
                                        </p:tgtEl>
                                      </p:cBhvr>
                                    </p:animEffect>
                                    <p:anim calcmode="lin" valueType="num">
                                      <p:cBhvr>
                                        <p:cTn id="96" dur="500" fill="hold"/>
                                        <p:tgtEl>
                                          <p:spTgt spid="944"/>
                                        </p:tgtEl>
                                        <p:attrNameLst>
                                          <p:attrName>ppt_x</p:attrName>
                                        </p:attrNameLst>
                                      </p:cBhvr>
                                      <p:tavLst>
                                        <p:tav tm="0">
                                          <p:val>
                                            <p:strVal val="#ppt_x"/>
                                          </p:val>
                                        </p:tav>
                                        <p:tav tm="100000">
                                          <p:val>
                                            <p:strVal val="#ppt_x"/>
                                          </p:val>
                                        </p:tav>
                                      </p:tavLst>
                                    </p:anim>
                                    <p:anim calcmode="lin" valueType="num">
                                      <p:cBhvr>
                                        <p:cTn id="97" dur="500" fill="hold"/>
                                        <p:tgtEl>
                                          <p:spTgt spid="944"/>
                                        </p:tgtEl>
                                        <p:attrNameLst>
                                          <p:attrName>ppt_y</p:attrName>
                                        </p:attrNameLst>
                                      </p:cBhvr>
                                      <p:tavLst>
                                        <p:tav tm="0">
                                          <p:val>
                                            <p:strVal val="#ppt_y+.1"/>
                                          </p:val>
                                        </p:tav>
                                        <p:tav tm="100000">
                                          <p:val>
                                            <p:strVal val="#ppt_y"/>
                                          </p:val>
                                        </p:tav>
                                      </p:tavLst>
                                    </p:anim>
                                  </p:childTnLst>
                                </p:cTn>
                              </p:par>
                              <p:par>
                                <p:cTn id="98" presetID="42" presetClass="entr" presetSubtype="0" fill="hold" nodeType="withEffect">
                                  <p:stCondLst>
                                    <p:cond delay="0"/>
                                  </p:stCondLst>
                                  <p:childTnLst>
                                    <p:set>
                                      <p:cBhvr>
                                        <p:cTn id="99" dur="1" fill="hold">
                                          <p:stCondLst>
                                            <p:cond delay="0"/>
                                          </p:stCondLst>
                                        </p:cTn>
                                        <p:tgtEl>
                                          <p:spTgt spid="1144"/>
                                        </p:tgtEl>
                                        <p:attrNameLst>
                                          <p:attrName>style.visibility</p:attrName>
                                        </p:attrNameLst>
                                      </p:cBhvr>
                                      <p:to>
                                        <p:strVal val="visible"/>
                                      </p:to>
                                    </p:set>
                                    <p:animEffect transition="in" filter="fade">
                                      <p:cBhvr>
                                        <p:cTn id="100" dur="500"/>
                                        <p:tgtEl>
                                          <p:spTgt spid="1144"/>
                                        </p:tgtEl>
                                      </p:cBhvr>
                                    </p:animEffect>
                                    <p:anim calcmode="lin" valueType="num">
                                      <p:cBhvr>
                                        <p:cTn id="101" dur="500" fill="hold"/>
                                        <p:tgtEl>
                                          <p:spTgt spid="1144"/>
                                        </p:tgtEl>
                                        <p:attrNameLst>
                                          <p:attrName>ppt_x</p:attrName>
                                        </p:attrNameLst>
                                      </p:cBhvr>
                                      <p:tavLst>
                                        <p:tav tm="0">
                                          <p:val>
                                            <p:strVal val="#ppt_x"/>
                                          </p:val>
                                        </p:tav>
                                        <p:tav tm="100000">
                                          <p:val>
                                            <p:strVal val="#ppt_x"/>
                                          </p:val>
                                        </p:tav>
                                      </p:tavLst>
                                    </p:anim>
                                    <p:anim calcmode="lin" valueType="num">
                                      <p:cBhvr>
                                        <p:cTn id="102" dur="500" fill="hold"/>
                                        <p:tgtEl>
                                          <p:spTgt spid="1144"/>
                                        </p:tgtEl>
                                        <p:attrNameLst>
                                          <p:attrName>ppt_y</p:attrName>
                                        </p:attrNameLst>
                                      </p:cBhvr>
                                      <p:tavLst>
                                        <p:tav tm="0">
                                          <p:val>
                                            <p:strVal val="#ppt_y+.1"/>
                                          </p:val>
                                        </p:tav>
                                        <p:tav tm="100000">
                                          <p:val>
                                            <p:strVal val="#ppt_y"/>
                                          </p:val>
                                        </p:tav>
                                      </p:tavLst>
                                    </p:anim>
                                  </p:childTnLst>
                                </p:cTn>
                              </p:par>
                            </p:childTnLst>
                          </p:cTn>
                        </p:par>
                        <p:par>
                          <p:cTn id="103" fill="hold">
                            <p:stCondLst>
                              <p:cond delay="3000"/>
                            </p:stCondLst>
                            <p:childTnLst>
                              <p:par>
                                <p:cTn id="104" presetID="42" presetClass="entr" presetSubtype="0" fill="hold" nodeType="afterEffect">
                                  <p:stCondLst>
                                    <p:cond delay="0"/>
                                  </p:stCondLst>
                                  <p:childTnLst>
                                    <p:set>
                                      <p:cBhvr>
                                        <p:cTn id="105" dur="1" fill="hold">
                                          <p:stCondLst>
                                            <p:cond delay="0"/>
                                          </p:stCondLst>
                                        </p:cTn>
                                        <p:tgtEl>
                                          <p:spTgt spid="969"/>
                                        </p:tgtEl>
                                        <p:attrNameLst>
                                          <p:attrName>style.visibility</p:attrName>
                                        </p:attrNameLst>
                                      </p:cBhvr>
                                      <p:to>
                                        <p:strVal val="visible"/>
                                      </p:to>
                                    </p:set>
                                    <p:animEffect transition="in" filter="fade">
                                      <p:cBhvr>
                                        <p:cTn id="106" dur="450"/>
                                        <p:tgtEl>
                                          <p:spTgt spid="969"/>
                                        </p:tgtEl>
                                      </p:cBhvr>
                                    </p:animEffect>
                                    <p:anim calcmode="lin" valueType="num">
                                      <p:cBhvr>
                                        <p:cTn id="107" dur="450" fill="hold"/>
                                        <p:tgtEl>
                                          <p:spTgt spid="969"/>
                                        </p:tgtEl>
                                        <p:attrNameLst>
                                          <p:attrName>ppt_x</p:attrName>
                                        </p:attrNameLst>
                                      </p:cBhvr>
                                      <p:tavLst>
                                        <p:tav tm="0">
                                          <p:val>
                                            <p:strVal val="#ppt_x"/>
                                          </p:val>
                                        </p:tav>
                                        <p:tav tm="100000">
                                          <p:val>
                                            <p:strVal val="#ppt_x"/>
                                          </p:val>
                                        </p:tav>
                                      </p:tavLst>
                                    </p:anim>
                                    <p:anim calcmode="lin" valueType="num">
                                      <p:cBhvr>
                                        <p:cTn id="108" dur="450" fill="hold"/>
                                        <p:tgtEl>
                                          <p:spTgt spid="969"/>
                                        </p:tgtEl>
                                        <p:attrNameLst>
                                          <p:attrName>ppt_y</p:attrName>
                                        </p:attrNameLst>
                                      </p:cBhvr>
                                      <p:tavLst>
                                        <p:tav tm="0">
                                          <p:val>
                                            <p:strVal val="#ppt_y+.1"/>
                                          </p:val>
                                        </p:tav>
                                        <p:tav tm="100000">
                                          <p:val>
                                            <p:strVal val="#ppt_y"/>
                                          </p:val>
                                        </p:tav>
                                      </p:tavLst>
                                    </p:anim>
                                  </p:childTnLst>
                                </p:cTn>
                              </p:par>
                              <p:par>
                                <p:cTn id="109" presetID="42" presetClass="entr" presetSubtype="0" fill="hold" nodeType="withEffect">
                                  <p:stCondLst>
                                    <p:cond delay="0"/>
                                  </p:stCondLst>
                                  <p:childTnLst>
                                    <p:set>
                                      <p:cBhvr>
                                        <p:cTn id="110" dur="1" fill="hold">
                                          <p:stCondLst>
                                            <p:cond delay="0"/>
                                          </p:stCondLst>
                                        </p:cTn>
                                        <p:tgtEl>
                                          <p:spTgt spid="1169"/>
                                        </p:tgtEl>
                                        <p:attrNameLst>
                                          <p:attrName>style.visibility</p:attrName>
                                        </p:attrNameLst>
                                      </p:cBhvr>
                                      <p:to>
                                        <p:strVal val="visible"/>
                                      </p:to>
                                    </p:set>
                                    <p:animEffect transition="in" filter="fade">
                                      <p:cBhvr>
                                        <p:cTn id="111" dur="450"/>
                                        <p:tgtEl>
                                          <p:spTgt spid="1169"/>
                                        </p:tgtEl>
                                      </p:cBhvr>
                                    </p:animEffect>
                                    <p:anim calcmode="lin" valueType="num">
                                      <p:cBhvr>
                                        <p:cTn id="112" dur="450" fill="hold"/>
                                        <p:tgtEl>
                                          <p:spTgt spid="1169"/>
                                        </p:tgtEl>
                                        <p:attrNameLst>
                                          <p:attrName>ppt_x</p:attrName>
                                        </p:attrNameLst>
                                      </p:cBhvr>
                                      <p:tavLst>
                                        <p:tav tm="0">
                                          <p:val>
                                            <p:strVal val="#ppt_x"/>
                                          </p:val>
                                        </p:tav>
                                        <p:tav tm="100000">
                                          <p:val>
                                            <p:strVal val="#ppt_x"/>
                                          </p:val>
                                        </p:tav>
                                      </p:tavLst>
                                    </p:anim>
                                    <p:anim calcmode="lin" valueType="num">
                                      <p:cBhvr>
                                        <p:cTn id="113" dur="450" fill="hold"/>
                                        <p:tgtEl>
                                          <p:spTgt spid="1169"/>
                                        </p:tgtEl>
                                        <p:attrNameLst>
                                          <p:attrName>ppt_y</p:attrName>
                                        </p:attrNameLst>
                                      </p:cBhvr>
                                      <p:tavLst>
                                        <p:tav tm="0">
                                          <p:val>
                                            <p:strVal val="#ppt_y+.1"/>
                                          </p:val>
                                        </p:tav>
                                        <p:tav tm="100000">
                                          <p:val>
                                            <p:strVal val="#ppt_y"/>
                                          </p:val>
                                        </p:tav>
                                      </p:tavLst>
                                    </p:anim>
                                  </p:childTnLst>
                                </p:cTn>
                              </p:par>
                            </p:childTnLst>
                          </p:cTn>
                        </p:par>
                        <p:par>
                          <p:cTn id="114" fill="hold">
                            <p:stCondLst>
                              <p:cond delay="3450"/>
                            </p:stCondLst>
                            <p:childTnLst>
                              <p:par>
                                <p:cTn id="115" presetID="42" presetClass="entr" presetSubtype="0" fill="hold" nodeType="afterEffect">
                                  <p:stCondLst>
                                    <p:cond delay="0"/>
                                  </p:stCondLst>
                                  <p:childTnLst>
                                    <p:set>
                                      <p:cBhvr>
                                        <p:cTn id="116" dur="1" fill="hold">
                                          <p:stCondLst>
                                            <p:cond delay="0"/>
                                          </p:stCondLst>
                                        </p:cTn>
                                        <p:tgtEl>
                                          <p:spTgt spid="994"/>
                                        </p:tgtEl>
                                        <p:attrNameLst>
                                          <p:attrName>style.visibility</p:attrName>
                                        </p:attrNameLst>
                                      </p:cBhvr>
                                      <p:to>
                                        <p:strVal val="visible"/>
                                      </p:to>
                                    </p:set>
                                    <p:animEffect transition="in" filter="fade">
                                      <p:cBhvr>
                                        <p:cTn id="117" dur="400"/>
                                        <p:tgtEl>
                                          <p:spTgt spid="994"/>
                                        </p:tgtEl>
                                      </p:cBhvr>
                                    </p:animEffect>
                                    <p:anim calcmode="lin" valueType="num">
                                      <p:cBhvr>
                                        <p:cTn id="118" dur="400" fill="hold"/>
                                        <p:tgtEl>
                                          <p:spTgt spid="994"/>
                                        </p:tgtEl>
                                        <p:attrNameLst>
                                          <p:attrName>ppt_x</p:attrName>
                                        </p:attrNameLst>
                                      </p:cBhvr>
                                      <p:tavLst>
                                        <p:tav tm="0">
                                          <p:val>
                                            <p:strVal val="#ppt_x"/>
                                          </p:val>
                                        </p:tav>
                                        <p:tav tm="100000">
                                          <p:val>
                                            <p:strVal val="#ppt_x"/>
                                          </p:val>
                                        </p:tav>
                                      </p:tavLst>
                                    </p:anim>
                                    <p:anim calcmode="lin" valueType="num">
                                      <p:cBhvr>
                                        <p:cTn id="119" dur="400" fill="hold"/>
                                        <p:tgtEl>
                                          <p:spTgt spid="994"/>
                                        </p:tgtEl>
                                        <p:attrNameLst>
                                          <p:attrName>ppt_y</p:attrName>
                                        </p:attrNameLst>
                                      </p:cBhvr>
                                      <p:tavLst>
                                        <p:tav tm="0">
                                          <p:val>
                                            <p:strVal val="#ppt_y+.1"/>
                                          </p:val>
                                        </p:tav>
                                        <p:tav tm="100000">
                                          <p:val>
                                            <p:strVal val="#ppt_y"/>
                                          </p:val>
                                        </p:tav>
                                      </p:tavLst>
                                    </p:anim>
                                  </p:childTnLst>
                                </p:cTn>
                              </p:par>
                              <p:par>
                                <p:cTn id="120" presetID="42" presetClass="entr" presetSubtype="0" fill="hold" nodeType="withEffect">
                                  <p:stCondLst>
                                    <p:cond delay="0"/>
                                  </p:stCondLst>
                                  <p:childTnLst>
                                    <p:set>
                                      <p:cBhvr>
                                        <p:cTn id="121" dur="1" fill="hold">
                                          <p:stCondLst>
                                            <p:cond delay="0"/>
                                          </p:stCondLst>
                                        </p:cTn>
                                        <p:tgtEl>
                                          <p:spTgt spid="1194"/>
                                        </p:tgtEl>
                                        <p:attrNameLst>
                                          <p:attrName>style.visibility</p:attrName>
                                        </p:attrNameLst>
                                      </p:cBhvr>
                                      <p:to>
                                        <p:strVal val="visible"/>
                                      </p:to>
                                    </p:set>
                                    <p:animEffect transition="in" filter="fade">
                                      <p:cBhvr>
                                        <p:cTn id="122" dur="400"/>
                                        <p:tgtEl>
                                          <p:spTgt spid="1194"/>
                                        </p:tgtEl>
                                      </p:cBhvr>
                                    </p:animEffect>
                                    <p:anim calcmode="lin" valueType="num">
                                      <p:cBhvr>
                                        <p:cTn id="123" dur="400" fill="hold"/>
                                        <p:tgtEl>
                                          <p:spTgt spid="1194"/>
                                        </p:tgtEl>
                                        <p:attrNameLst>
                                          <p:attrName>ppt_x</p:attrName>
                                        </p:attrNameLst>
                                      </p:cBhvr>
                                      <p:tavLst>
                                        <p:tav tm="0">
                                          <p:val>
                                            <p:strVal val="#ppt_x"/>
                                          </p:val>
                                        </p:tav>
                                        <p:tav tm="100000">
                                          <p:val>
                                            <p:strVal val="#ppt_x"/>
                                          </p:val>
                                        </p:tav>
                                      </p:tavLst>
                                    </p:anim>
                                    <p:anim calcmode="lin" valueType="num">
                                      <p:cBhvr>
                                        <p:cTn id="124" dur="400" fill="hold"/>
                                        <p:tgtEl>
                                          <p:spTgt spid="1194"/>
                                        </p:tgtEl>
                                        <p:attrNameLst>
                                          <p:attrName>ppt_y</p:attrName>
                                        </p:attrNameLst>
                                      </p:cBhvr>
                                      <p:tavLst>
                                        <p:tav tm="0">
                                          <p:val>
                                            <p:strVal val="#ppt_y+.1"/>
                                          </p:val>
                                        </p:tav>
                                        <p:tav tm="100000">
                                          <p:val>
                                            <p:strVal val="#ppt_y"/>
                                          </p:val>
                                        </p:tav>
                                      </p:tavLst>
                                    </p:anim>
                                  </p:childTnLst>
                                </p:cTn>
                              </p:par>
                            </p:childTnLst>
                          </p:cTn>
                        </p:par>
                        <p:par>
                          <p:cTn id="125" fill="hold">
                            <p:stCondLst>
                              <p:cond delay="3850"/>
                            </p:stCondLst>
                            <p:childTnLst>
                              <p:par>
                                <p:cTn id="126" presetID="42" presetClass="entr" presetSubtype="0" fill="hold" nodeType="afterEffect">
                                  <p:stCondLst>
                                    <p:cond delay="0"/>
                                  </p:stCondLst>
                                  <p:childTnLst>
                                    <p:set>
                                      <p:cBhvr>
                                        <p:cTn id="127" dur="1" fill="hold">
                                          <p:stCondLst>
                                            <p:cond delay="0"/>
                                          </p:stCondLst>
                                        </p:cTn>
                                        <p:tgtEl>
                                          <p:spTgt spid="1219"/>
                                        </p:tgtEl>
                                        <p:attrNameLst>
                                          <p:attrName>style.visibility</p:attrName>
                                        </p:attrNameLst>
                                      </p:cBhvr>
                                      <p:to>
                                        <p:strVal val="visible"/>
                                      </p:to>
                                    </p:set>
                                    <p:animEffect transition="in" filter="fade">
                                      <p:cBhvr>
                                        <p:cTn id="128" dur="300"/>
                                        <p:tgtEl>
                                          <p:spTgt spid="1219"/>
                                        </p:tgtEl>
                                      </p:cBhvr>
                                    </p:animEffect>
                                    <p:anim calcmode="lin" valueType="num">
                                      <p:cBhvr>
                                        <p:cTn id="129" dur="300" fill="hold"/>
                                        <p:tgtEl>
                                          <p:spTgt spid="1219"/>
                                        </p:tgtEl>
                                        <p:attrNameLst>
                                          <p:attrName>ppt_x</p:attrName>
                                        </p:attrNameLst>
                                      </p:cBhvr>
                                      <p:tavLst>
                                        <p:tav tm="0">
                                          <p:val>
                                            <p:strVal val="#ppt_x"/>
                                          </p:val>
                                        </p:tav>
                                        <p:tav tm="100000">
                                          <p:val>
                                            <p:strVal val="#ppt_x"/>
                                          </p:val>
                                        </p:tav>
                                      </p:tavLst>
                                    </p:anim>
                                    <p:anim calcmode="lin" valueType="num">
                                      <p:cBhvr>
                                        <p:cTn id="130" dur="300" fill="hold"/>
                                        <p:tgtEl>
                                          <p:spTgt spid="1219"/>
                                        </p:tgtEl>
                                        <p:attrNameLst>
                                          <p:attrName>ppt_y</p:attrName>
                                        </p:attrNameLst>
                                      </p:cBhvr>
                                      <p:tavLst>
                                        <p:tav tm="0">
                                          <p:val>
                                            <p:strVal val="#ppt_y+.1"/>
                                          </p:val>
                                        </p:tav>
                                        <p:tav tm="100000">
                                          <p:val>
                                            <p:strVal val="#ppt_y"/>
                                          </p:val>
                                        </p:tav>
                                      </p:tavLst>
                                    </p:anim>
                                  </p:childTnLst>
                                </p:cTn>
                              </p:par>
                            </p:childTnLst>
                          </p:cTn>
                        </p:par>
                        <p:par>
                          <p:cTn id="131" fill="hold">
                            <p:stCondLst>
                              <p:cond delay="4150"/>
                            </p:stCondLst>
                            <p:childTnLst>
                              <p:par>
                                <p:cTn id="132" presetID="42" presetClass="entr" presetSubtype="0" fill="hold" nodeType="afterEffect">
                                  <p:stCondLst>
                                    <p:cond delay="0"/>
                                  </p:stCondLst>
                                  <p:childTnLst>
                                    <p:set>
                                      <p:cBhvr>
                                        <p:cTn id="133" dur="1" fill="hold">
                                          <p:stCondLst>
                                            <p:cond delay="0"/>
                                          </p:stCondLst>
                                        </p:cTn>
                                        <p:tgtEl>
                                          <p:spTgt spid="1244"/>
                                        </p:tgtEl>
                                        <p:attrNameLst>
                                          <p:attrName>style.visibility</p:attrName>
                                        </p:attrNameLst>
                                      </p:cBhvr>
                                      <p:to>
                                        <p:strVal val="visible"/>
                                      </p:to>
                                    </p:set>
                                    <p:animEffect transition="in" filter="fade">
                                      <p:cBhvr>
                                        <p:cTn id="134" dur="250"/>
                                        <p:tgtEl>
                                          <p:spTgt spid="1244"/>
                                        </p:tgtEl>
                                      </p:cBhvr>
                                    </p:animEffect>
                                    <p:anim calcmode="lin" valueType="num">
                                      <p:cBhvr>
                                        <p:cTn id="135" dur="250" fill="hold"/>
                                        <p:tgtEl>
                                          <p:spTgt spid="1244"/>
                                        </p:tgtEl>
                                        <p:attrNameLst>
                                          <p:attrName>ppt_x</p:attrName>
                                        </p:attrNameLst>
                                      </p:cBhvr>
                                      <p:tavLst>
                                        <p:tav tm="0">
                                          <p:val>
                                            <p:strVal val="#ppt_x"/>
                                          </p:val>
                                        </p:tav>
                                        <p:tav tm="100000">
                                          <p:val>
                                            <p:strVal val="#ppt_x"/>
                                          </p:val>
                                        </p:tav>
                                      </p:tavLst>
                                    </p:anim>
                                    <p:anim calcmode="lin" valueType="num">
                                      <p:cBhvr>
                                        <p:cTn id="136" dur="250" fill="hold"/>
                                        <p:tgtEl>
                                          <p:spTgt spid="1244"/>
                                        </p:tgtEl>
                                        <p:attrNameLst>
                                          <p:attrName>ppt_y</p:attrName>
                                        </p:attrNameLst>
                                      </p:cBhvr>
                                      <p:tavLst>
                                        <p:tav tm="0">
                                          <p:val>
                                            <p:strVal val="#ppt_y+.1"/>
                                          </p:val>
                                        </p:tav>
                                        <p:tav tm="100000">
                                          <p:val>
                                            <p:strVal val="#ppt_y"/>
                                          </p:val>
                                        </p:tav>
                                      </p:tavLst>
                                    </p:anim>
                                  </p:childTnLst>
                                </p:cTn>
                              </p:par>
                            </p:childTnLst>
                          </p:cTn>
                        </p:par>
                        <p:par>
                          <p:cTn id="137" fill="hold">
                            <p:stCondLst>
                              <p:cond delay="4400"/>
                            </p:stCondLst>
                            <p:childTnLst>
                              <p:par>
                                <p:cTn id="138" presetID="42" presetClass="entr" presetSubtype="0" fill="hold" nodeType="afterEffect">
                                  <p:stCondLst>
                                    <p:cond delay="0"/>
                                  </p:stCondLst>
                                  <p:childTnLst>
                                    <p:set>
                                      <p:cBhvr>
                                        <p:cTn id="139" dur="1" fill="hold">
                                          <p:stCondLst>
                                            <p:cond delay="0"/>
                                          </p:stCondLst>
                                        </p:cTn>
                                        <p:tgtEl>
                                          <p:spTgt spid="1269"/>
                                        </p:tgtEl>
                                        <p:attrNameLst>
                                          <p:attrName>style.visibility</p:attrName>
                                        </p:attrNameLst>
                                      </p:cBhvr>
                                      <p:to>
                                        <p:strVal val="visible"/>
                                      </p:to>
                                    </p:set>
                                    <p:animEffect transition="in" filter="fade">
                                      <p:cBhvr>
                                        <p:cTn id="140" dur="250"/>
                                        <p:tgtEl>
                                          <p:spTgt spid="1269"/>
                                        </p:tgtEl>
                                      </p:cBhvr>
                                    </p:animEffect>
                                    <p:anim calcmode="lin" valueType="num">
                                      <p:cBhvr>
                                        <p:cTn id="141" dur="250" fill="hold"/>
                                        <p:tgtEl>
                                          <p:spTgt spid="1269"/>
                                        </p:tgtEl>
                                        <p:attrNameLst>
                                          <p:attrName>ppt_x</p:attrName>
                                        </p:attrNameLst>
                                      </p:cBhvr>
                                      <p:tavLst>
                                        <p:tav tm="0">
                                          <p:val>
                                            <p:strVal val="#ppt_x"/>
                                          </p:val>
                                        </p:tav>
                                        <p:tav tm="100000">
                                          <p:val>
                                            <p:strVal val="#ppt_x"/>
                                          </p:val>
                                        </p:tav>
                                      </p:tavLst>
                                    </p:anim>
                                    <p:anim calcmode="lin" valueType="num">
                                      <p:cBhvr>
                                        <p:cTn id="142" dur="250" fill="hold"/>
                                        <p:tgtEl>
                                          <p:spTgt spid="1269"/>
                                        </p:tgtEl>
                                        <p:attrNameLst>
                                          <p:attrName>ppt_y</p:attrName>
                                        </p:attrNameLst>
                                      </p:cBhvr>
                                      <p:tavLst>
                                        <p:tav tm="0">
                                          <p:val>
                                            <p:strVal val="#ppt_y+.1"/>
                                          </p:val>
                                        </p:tav>
                                        <p:tav tm="100000">
                                          <p:val>
                                            <p:strVal val="#ppt_y"/>
                                          </p:val>
                                        </p:tav>
                                      </p:tavLst>
                                    </p:anim>
                                  </p:childTnLst>
                                </p:cTn>
                              </p:par>
                            </p:childTnLst>
                          </p:cTn>
                        </p:par>
                        <p:par>
                          <p:cTn id="143" fill="hold">
                            <p:stCondLst>
                              <p:cond delay="4650"/>
                            </p:stCondLst>
                            <p:childTnLst>
                              <p:par>
                                <p:cTn id="144" presetID="42" presetClass="entr" presetSubtype="0" fill="hold" nodeType="afterEffect">
                                  <p:stCondLst>
                                    <p:cond delay="0"/>
                                  </p:stCondLst>
                                  <p:childTnLst>
                                    <p:set>
                                      <p:cBhvr>
                                        <p:cTn id="145" dur="1" fill="hold">
                                          <p:stCondLst>
                                            <p:cond delay="0"/>
                                          </p:stCondLst>
                                        </p:cTn>
                                        <p:tgtEl>
                                          <p:spTgt spid="1294"/>
                                        </p:tgtEl>
                                        <p:attrNameLst>
                                          <p:attrName>style.visibility</p:attrName>
                                        </p:attrNameLst>
                                      </p:cBhvr>
                                      <p:to>
                                        <p:strVal val="visible"/>
                                      </p:to>
                                    </p:set>
                                    <p:animEffect transition="in" filter="fade">
                                      <p:cBhvr>
                                        <p:cTn id="146" dur="250"/>
                                        <p:tgtEl>
                                          <p:spTgt spid="1294"/>
                                        </p:tgtEl>
                                      </p:cBhvr>
                                    </p:animEffect>
                                    <p:anim calcmode="lin" valueType="num">
                                      <p:cBhvr>
                                        <p:cTn id="147" dur="250" fill="hold"/>
                                        <p:tgtEl>
                                          <p:spTgt spid="1294"/>
                                        </p:tgtEl>
                                        <p:attrNameLst>
                                          <p:attrName>ppt_x</p:attrName>
                                        </p:attrNameLst>
                                      </p:cBhvr>
                                      <p:tavLst>
                                        <p:tav tm="0">
                                          <p:val>
                                            <p:strVal val="#ppt_x"/>
                                          </p:val>
                                        </p:tav>
                                        <p:tav tm="100000">
                                          <p:val>
                                            <p:strVal val="#ppt_x"/>
                                          </p:val>
                                        </p:tav>
                                      </p:tavLst>
                                    </p:anim>
                                    <p:anim calcmode="lin" valueType="num">
                                      <p:cBhvr>
                                        <p:cTn id="148" dur="250" fill="hold"/>
                                        <p:tgtEl>
                                          <p:spTgt spid="1294"/>
                                        </p:tgtEl>
                                        <p:attrNameLst>
                                          <p:attrName>ppt_y</p:attrName>
                                        </p:attrNameLst>
                                      </p:cBhvr>
                                      <p:tavLst>
                                        <p:tav tm="0">
                                          <p:val>
                                            <p:strVal val="#ppt_y+.1"/>
                                          </p:val>
                                        </p:tav>
                                        <p:tav tm="100000">
                                          <p:val>
                                            <p:strVal val="#ppt_y"/>
                                          </p:val>
                                        </p:tav>
                                      </p:tavLst>
                                    </p:anim>
                                  </p:childTnLst>
                                </p:cTn>
                              </p:par>
                            </p:childTnLst>
                          </p:cTn>
                        </p:par>
                        <p:par>
                          <p:cTn id="149" fill="hold">
                            <p:stCondLst>
                              <p:cond delay="4900"/>
                            </p:stCondLst>
                            <p:childTnLst>
                              <p:par>
                                <p:cTn id="150" presetID="42" presetClass="entr" presetSubtype="0" fill="hold" nodeType="afterEffect">
                                  <p:stCondLst>
                                    <p:cond delay="0"/>
                                  </p:stCondLst>
                                  <p:childTnLst>
                                    <p:set>
                                      <p:cBhvr>
                                        <p:cTn id="151" dur="1" fill="hold">
                                          <p:stCondLst>
                                            <p:cond delay="0"/>
                                          </p:stCondLst>
                                        </p:cTn>
                                        <p:tgtEl>
                                          <p:spTgt spid="1319"/>
                                        </p:tgtEl>
                                        <p:attrNameLst>
                                          <p:attrName>style.visibility</p:attrName>
                                        </p:attrNameLst>
                                      </p:cBhvr>
                                      <p:to>
                                        <p:strVal val="visible"/>
                                      </p:to>
                                    </p:set>
                                    <p:animEffect transition="in" filter="fade">
                                      <p:cBhvr>
                                        <p:cTn id="152" dur="250"/>
                                        <p:tgtEl>
                                          <p:spTgt spid="1319"/>
                                        </p:tgtEl>
                                      </p:cBhvr>
                                    </p:animEffect>
                                    <p:anim calcmode="lin" valueType="num">
                                      <p:cBhvr>
                                        <p:cTn id="153" dur="250" fill="hold"/>
                                        <p:tgtEl>
                                          <p:spTgt spid="1319"/>
                                        </p:tgtEl>
                                        <p:attrNameLst>
                                          <p:attrName>ppt_x</p:attrName>
                                        </p:attrNameLst>
                                      </p:cBhvr>
                                      <p:tavLst>
                                        <p:tav tm="0">
                                          <p:val>
                                            <p:strVal val="#ppt_x"/>
                                          </p:val>
                                        </p:tav>
                                        <p:tav tm="100000">
                                          <p:val>
                                            <p:strVal val="#ppt_x"/>
                                          </p:val>
                                        </p:tav>
                                      </p:tavLst>
                                    </p:anim>
                                    <p:anim calcmode="lin" valueType="num">
                                      <p:cBhvr>
                                        <p:cTn id="154" dur="250" fill="hold"/>
                                        <p:tgtEl>
                                          <p:spTgt spid="1319"/>
                                        </p:tgtEl>
                                        <p:attrNameLst>
                                          <p:attrName>ppt_y</p:attrName>
                                        </p:attrNameLst>
                                      </p:cBhvr>
                                      <p:tavLst>
                                        <p:tav tm="0">
                                          <p:val>
                                            <p:strVal val="#ppt_y+.1"/>
                                          </p:val>
                                        </p:tav>
                                        <p:tav tm="100000">
                                          <p:val>
                                            <p:strVal val="#ppt_y"/>
                                          </p:val>
                                        </p:tav>
                                      </p:tavLst>
                                    </p:anim>
                                  </p:childTnLst>
                                </p:cTn>
                              </p:par>
                            </p:childTnLst>
                          </p:cTn>
                        </p:par>
                        <p:par>
                          <p:cTn id="155" fill="hold">
                            <p:stCondLst>
                              <p:cond delay="5150"/>
                            </p:stCondLst>
                            <p:childTnLst>
                              <p:par>
                                <p:cTn id="156" presetID="42" presetClass="entr" presetSubtype="0" fill="hold" nodeType="afterEffect">
                                  <p:stCondLst>
                                    <p:cond delay="0"/>
                                  </p:stCondLst>
                                  <p:childTnLst>
                                    <p:set>
                                      <p:cBhvr>
                                        <p:cTn id="157" dur="1" fill="hold">
                                          <p:stCondLst>
                                            <p:cond delay="0"/>
                                          </p:stCondLst>
                                        </p:cTn>
                                        <p:tgtEl>
                                          <p:spTgt spid="1344"/>
                                        </p:tgtEl>
                                        <p:attrNameLst>
                                          <p:attrName>style.visibility</p:attrName>
                                        </p:attrNameLst>
                                      </p:cBhvr>
                                      <p:to>
                                        <p:strVal val="visible"/>
                                      </p:to>
                                    </p:set>
                                    <p:animEffect transition="in" filter="fade">
                                      <p:cBhvr>
                                        <p:cTn id="158" dur="200"/>
                                        <p:tgtEl>
                                          <p:spTgt spid="1344"/>
                                        </p:tgtEl>
                                      </p:cBhvr>
                                    </p:animEffect>
                                    <p:anim calcmode="lin" valueType="num">
                                      <p:cBhvr>
                                        <p:cTn id="159" dur="200" fill="hold"/>
                                        <p:tgtEl>
                                          <p:spTgt spid="1344"/>
                                        </p:tgtEl>
                                        <p:attrNameLst>
                                          <p:attrName>ppt_x</p:attrName>
                                        </p:attrNameLst>
                                      </p:cBhvr>
                                      <p:tavLst>
                                        <p:tav tm="0">
                                          <p:val>
                                            <p:strVal val="#ppt_x"/>
                                          </p:val>
                                        </p:tav>
                                        <p:tav tm="100000">
                                          <p:val>
                                            <p:strVal val="#ppt_x"/>
                                          </p:val>
                                        </p:tav>
                                      </p:tavLst>
                                    </p:anim>
                                    <p:anim calcmode="lin" valueType="num">
                                      <p:cBhvr>
                                        <p:cTn id="160" dur="200" fill="hold"/>
                                        <p:tgtEl>
                                          <p:spTgt spid="1344"/>
                                        </p:tgtEl>
                                        <p:attrNameLst>
                                          <p:attrName>ppt_y</p:attrName>
                                        </p:attrNameLst>
                                      </p:cBhvr>
                                      <p:tavLst>
                                        <p:tav tm="0">
                                          <p:val>
                                            <p:strVal val="#ppt_y+.1"/>
                                          </p:val>
                                        </p:tav>
                                        <p:tav tm="100000">
                                          <p:val>
                                            <p:strVal val="#ppt_y"/>
                                          </p:val>
                                        </p:tav>
                                      </p:tavLst>
                                    </p:anim>
                                  </p:childTnLst>
                                </p:cTn>
                              </p:par>
                            </p:childTnLst>
                          </p:cTn>
                        </p:par>
                        <p:par>
                          <p:cTn id="161" fill="hold">
                            <p:stCondLst>
                              <p:cond delay="5350"/>
                            </p:stCondLst>
                            <p:childTnLst>
                              <p:par>
                                <p:cTn id="162" presetID="42" presetClass="entr" presetSubtype="0" fill="hold" nodeType="afterEffect">
                                  <p:stCondLst>
                                    <p:cond delay="0"/>
                                  </p:stCondLst>
                                  <p:childTnLst>
                                    <p:set>
                                      <p:cBhvr>
                                        <p:cTn id="163" dur="1" fill="hold">
                                          <p:stCondLst>
                                            <p:cond delay="0"/>
                                          </p:stCondLst>
                                        </p:cTn>
                                        <p:tgtEl>
                                          <p:spTgt spid="1372"/>
                                        </p:tgtEl>
                                        <p:attrNameLst>
                                          <p:attrName>style.visibility</p:attrName>
                                        </p:attrNameLst>
                                      </p:cBhvr>
                                      <p:to>
                                        <p:strVal val="visible"/>
                                      </p:to>
                                    </p:set>
                                    <p:animEffect transition="in" filter="fade">
                                      <p:cBhvr>
                                        <p:cTn id="164" dur="150"/>
                                        <p:tgtEl>
                                          <p:spTgt spid="1372"/>
                                        </p:tgtEl>
                                      </p:cBhvr>
                                    </p:animEffect>
                                    <p:anim calcmode="lin" valueType="num">
                                      <p:cBhvr>
                                        <p:cTn id="165" dur="150" fill="hold"/>
                                        <p:tgtEl>
                                          <p:spTgt spid="1372"/>
                                        </p:tgtEl>
                                        <p:attrNameLst>
                                          <p:attrName>ppt_x</p:attrName>
                                        </p:attrNameLst>
                                      </p:cBhvr>
                                      <p:tavLst>
                                        <p:tav tm="0">
                                          <p:val>
                                            <p:strVal val="#ppt_x"/>
                                          </p:val>
                                        </p:tav>
                                        <p:tav tm="100000">
                                          <p:val>
                                            <p:strVal val="#ppt_x"/>
                                          </p:val>
                                        </p:tav>
                                      </p:tavLst>
                                    </p:anim>
                                    <p:anim calcmode="lin" valueType="num">
                                      <p:cBhvr>
                                        <p:cTn id="166" dur="150" fill="hold"/>
                                        <p:tgtEl>
                                          <p:spTgt spid="137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sp>
        <p:nvSpPr>
          <p:cNvPr id="71" name="Title 1"/>
          <p:cNvSpPr>
            <a:spLocks noGrp="1"/>
          </p:cNvSpPr>
          <p:nvPr>
            <p:ph type="title"/>
          </p:nvPr>
        </p:nvSpPr>
        <p:spPr/>
        <p:txBody>
          <a:bodyPr/>
          <a:lstStyle/>
          <a:p>
            <a:r>
              <a:rPr lang="fr-FR" smtClean="0"/>
              <a:t>Problématique #5 : Requête multi-database</a:t>
            </a:r>
            <a:endParaRPr lang="fr-FR" dirty="0"/>
          </a:p>
        </p:txBody>
      </p:sp>
      <p:sp>
        <p:nvSpPr>
          <p:cNvPr id="37" name="Rectangle 36"/>
          <p:cNvSpPr/>
          <p:nvPr/>
        </p:nvSpPr>
        <p:spPr bwMode="auto">
          <a:xfrm>
            <a:off x="6186141" y="4273938"/>
            <a:ext cx="4032861" cy="1810676"/>
          </a:xfrm>
          <a:prstGeom prst="rect">
            <a:avLst/>
          </a:prstGeom>
          <a:solidFill>
            <a:srgbClr val="0072C6">
              <a:lumMod val="60000"/>
              <a:lumOff val="40000"/>
            </a:srgbClr>
          </a:solidFill>
          <a:ln w="9525" cap="flat" cmpd="sng" algn="ctr">
            <a:noFill/>
            <a:prstDash val="solid"/>
            <a:headEnd type="none" w="med" len="med"/>
            <a:tailEnd type="none" w="med" len="med"/>
          </a:ln>
          <a:effectLst/>
        </p:spPr>
        <p:txBody>
          <a:bodyPr lIns="89619" tIns="89619" rIns="33611" bIns="33611" rtlCol="0" anchor="b" anchorCtr="0"/>
          <a:lstStyle/>
          <a:p>
            <a:pPr marL="0" marR="0" lvl="0" indent="0" algn="ctr" defTabSz="913851" eaLnBrk="1" fontAlgn="auto" latinLnBrk="0" hangingPunct="1">
              <a:lnSpc>
                <a:spcPct val="100000"/>
              </a:lnSpc>
              <a:spcBef>
                <a:spcPts val="0"/>
              </a:spcBef>
              <a:spcAft>
                <a:spcPts val="0"/>
              </a:spcAft>
              <a:buClrTx/>
              <a:buSzTx/>
              <a:buFontTx/>
              <a:buNone/>
              <a:tabLst/>
              <a:defRPr/>
            </a:pPr>
            <a:endParaRPr kumimoji="0" lang="fr-FR" sz="78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Arial"/>
              <a:ea typeface="Segoe UI" pitchFamily="34" charset="0"/>
              <a:cs typeface="Segoe UI" pitchFamily="34" charset="0"/>
            </a:endParaRPr>
          </a:p>
        </p:txBody>
      </p:sp>
      <p:cxnSp>
        <p:nvCxnSpPr>
          <p:cNvPr id="41" name="Straight Connector 40"/>
          <p:cNvCxnSpPr/>
          <p:nvPr/>
        </p:nvCxnSpPr>
        <p:spPr>
          <a:xfrm>
            <a:off x="8675532" y="5207954"/>
            <a:ext cx="679205" cy="0"/>
          </a:xfrm>
          <a:prstGeom prst="line">
            <a:avLst/>
          </a:prstGeom>
          <a:noFill/>
          <a:ln w="38100" cap="flat" cmpd="sng" algn="ctr">
            <a:solidFill>
              <a:srgbClr val="0072C6">
                <a:lumMod val="75000"/>
              </a:srgbClr>
            </a:solidFill>
            <a:prstDash val="sysDot"/>
          </a:ln>
          <a:effectLst/>
        </p:spPr>
      </p:cxnSp>
      <p:sp>
        <p:nvSpPr>
          <p:cNvPr id="46" name="Can 45"/>
          <p:cNvSpPr/>
          <p:nvPr/>
        </p:nvSpPr>
        <p:spPr>
          <a:xfrm>
            <a:off x="8887929" y="3302977"/>
            <a:ext cx="598149" cy="571270"/>
          </a:xfrm>
          <a:prstGeom prst="can">
            <a:avLst/>
          </a:prstGeom>
          <a:solidFill>
            <a:srgbClr val="0072C6"/>
          </a:solidFill>
          <a:ln w="25400" cap="flat" cmpd="sng" algn="ctr">
            <a:solidFill>
              <a:srgbClr val="0072C6">
                <a:lumMod val="75000"/>
              </a:srgbClr>
            </a:solidFill>
            <a:prstDash val="solid"/>
          </a:ln>
          <a:effectLst/>
        </p:spPr>
        <p:txBody>
          <a:bodyPr lIns="0" rIns="0" rtlCol="0" anchor="ctr"/>
          <a:lstStyle/>
          <a:p>
            <a:pPr marL="0" marR="0" lvl="0" indent="0" algn="ctr" defTabSz="623863" eaLnBrk="1" fontAlgn="auto" latinLnBrk="0" hangingPunct="1">
              <a:lnSpc>
                <a:spcPct val="100000"/>
              </a:lnSpc>
              <a:spcBef>
                <a:spcPts val="0"/>
              </a:spcBef>
              <a:spcAft>
                <a:spcPts val="0"/>
              </a:spcAft>
              <a:buClrTx/>
              <a:buSzTx/>
              <a:buFontTx/>
              <a:buNone/>
              <a:tabLst/>
              <a:defRPr/>
            </a:pPr>
            <a:r>
              <a:rPr kumimoji="0" lang="fr-FR" sz="1176" b="0" i="0" u="none" strike="noStrike" kern="0" cap="none" spc="0" normalizeH="0" baseline="0" noProof="0" dirty="0" err="1" smtClean="0">
                <a:ln>
                  <a:noFill/>
                </a:ln>
                <a:solidFill>
                  <a:srgbClr val="FFFFFF"/>
                </a:solidFill>
                <a:effectLst/>
                <a:uLnTx/>
                <a:uFillTx/>
                <a:latin typeface="Arial"/>
                <a:ea typeface="+mn-ea"/>
                <a:cs typeface="+mn-cs"/>
              </a:rPr>
              <a:t>Catalog</a:t>
            </a:r>
            <a:endParaRPr kumimoji="0" lang="fr-FR" sz="1176"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47" name="Can 46"/>
          <p:cNvSpPr/>
          <p:nvPr/>
        </p:nvSpPr>
        <p:spPr>
          <a:xfrm>
            <a:off x="6708920" y="4813324"/>
            <a:ext cx="563401" cy="693644"/>
          </a:xfrm>
          <a:prstGeom prst="can">
            <a:avLst/>
          </a:prstGeom>
          <a:solidFill>
            <a:srgbClr val="0072C6"/>
          </a:solidFill>
          <a:ln w="25400" cap="flat" cmpd="sng" algn="ctr">
            <a:solidFill>
              <a:srgbClr val="0072C6">
                <a:lumMod val="75000"/>
              </a:srgbClr>
            </a:solidFill>
            <a:prstDash val="solid"/>
          </a:ln>
          <a:effectLst/>
        </p:spPr>
        <p:txBody>
          <a:bodyPr lIns="0" tIns="0" rIns="0" bIns="0" rtlCol="0" anchor="ctr"/>
          <a:lstStyle/>
          <a:p>
            <a:pPr marL="0" marR="0" lvl="0" indent="0" algn="ctr" defTabSz="623863" eaLnBrk="1" fontAlgn="auto" latinLnBrk="0" hangingPunct="1">
              <a:lnSpc>
                <a:spcPct val="100000"/>
              </a:lnSpc>
              <a:spcBef>
                <a:spcPts val="0"/>
              </a:spcBef>
              <a:spcAft>
                <a:spcPts val="0"/>
              </a:spcAft>
              <a:buClrTx/>
              <a:buSzTx/>
              <a:buFontTx/>
              <a:buNone/>
              <a:tabLst/>
              <a:defRPr/>
            </a:pPr>
            <a:r>
              <a:rPr kumimoji="0" lang="fr-FR" sz="1200" b="0" i="0" u="none" strike="noStrike" kern="0" cap="none" spc="0" normalizeH="0" baseline="0" noProof="0" dirty="0" err="1" smtClean="0">
                <a:ln>
                  <a:noFill/>
                </a:ln>
                <a:solidFill>
                  <a:srgbClr val="FFFFFF"/>
                </a:solidFill>
                <a:effectLst/>
                <a:uLnTx/>
                <a:uFillTx/>
                <a:latin typeface="Arial"/>
                <a:ea typeface="+mn-ea"/>
                <a:cs typeface="+mn-cs"/>
              </a:rPr>
              <a:t>Cli</a:t>
            </a:r>
            <a:r>
              <a:rPr kumimoji="0" lang="fr-FR" sz="1200" b="0" i="0" u="none" strike="noStrike" kern="0" cap="none" spc="0" normalizeH="0" baseline="0" noProof="0" dirty="0" smtClean="0">
                <a:ln>
                  <a:noFill/>
                </a:ln>
                <a:solidFill>
                  <a:srgbClr val="FFFFFF"/>
                </a:solidFill>
                <a:effectLst/>
                <a:uLnTx/>
                <a:uFillTx/>
                <a:latin typeface="Arial"/>
                <a:ea typeface="+mn-ea"/>
                <a:cs typeface="+mn-cs"/>
              </a:rPr>
              <a:t>. 1</a:t>
            </a:r>
          </a:p>
        </p:txBody>
      </p:sp>
      <p:sp>
        <p:nvSpPr>
          <p:cNvPr id="48" name="Can 47"/>
          <p:cNvSpPr/>
          <p:nvPr/>
        </p:nvSpPr>
        <p:spPr>
          <a:xfrm>
            <a:off x="7380338" y="4813324"/>
            <a:ext cx="546212" cy="693644"/>
          </a:xfrm>
          <a:prstGeom prst="can">
            <a:avLst/>
          </a:prstGeom>
          <a:solidFill>
            <a:srgbClr val="0072C6"/>
          </a:solidFill>
          <a:ln w="25400" cap="flat" cmpd="sng" algn="ctr">
            <a:solidFill>
              <a:srgbClr val="0072C6">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23863" eaLnBrk="1" fontAlgn="auto" latinLnBrk="0" hangingPunct="1">
              <a:lnSpc>
                <a:spcPct val="100000"/>
              </a:lnSpc>
              <a:spcBef>
                <a:spcPts val="0"/>
              </a:spcBef>
              <a:spcAft>
                <a:spcPts val="0"/>
              </a:spcAft>
              <a:buClrTx/>
              <a:buSzTx/>
              <a:buFontTx/>
              <a:buNone/>
              <a:tabLst/>
              <a:defRPr/>
            </a:pPr>
            <a:r>
              <a:rPr kumimoji="0" lang="fr-FR" sz="1200" b="0" i="0" u="none" strike="noStrike" kern="0" cap="none" spc="0" normalizeH="0" baseline="0" noProof="0" dirty="0" err="1" smtClean="0">
                <a:ln>
                  <a:noFill/>
                </a:ln>
                <a:solidFill>
                  <a:srgbClr val="FFFFFF"/>
                </a:solidFill>
                <a:effectLst/>
                <a:uLnTx/>
                <a:uFillTx/>
                <a:latin typeface="Arial"/>
                <a:ea typeface="+mn-ea"/>
                <a:cs typeface="+mn-cs"/>
              </a:rPr>
              <a:t>Cli</a:t>
            </a:r>
            <a:r>
              <a:rPr kumimoji="0" lang="fr-FR" sz="1200" b="0" i="0" u="none" strike="noStrike" kern="0" cap="none" spc="0" normalizeH="0" baseline="0" noProof="0" dirty="0" smtClean="0">
                <a:ln>
                  <a:noFill/>
                </a:ln>
                <a:solidFill>
                  <a:srgbClr val="FFFFFF"/>
                </a:solidFill>
                <a:effectLst/>
                <a:uLnTx/>
                <a:uFillTx/>
                <a:latin typeface="Arial"/>
                <a:ea typeface="+mn-ea"/>
                <a:cs typeface="+mn-cs"/>
              </a:rPr>
              <a:t>. 2</a:t>
            </a:r>
          </a:p>
        </p:txBody>
      </p:sp>
      <p:sp>
        <p:nvSpPr>
          <p:cNvPr id="49" name="Rectangle 48"/>
          <p:cNvSpPr/>
          <p:nvPr/>
        </p:nvSpPr>
        <p:spPr>
          <a:xfrm>
            <a:off x="7157994" y="2110192"/>
            <a:ext cx="2473786" cy="571270"/>
          </a:xfrm>
          <a:prstGeom prst="rect">
            <a:avLst/>
          </a:prstGeom>
          <a:solidFill>
            <a:srgbClr val="0072C6"/>
          </a:solidFill>
          <a:ln w="25400" cap="flat" cmpd="sng" algn="ctr">
            <a:solidFill>
              <a:srgbClr val="0072C6">
                <a:lumMod val="75000"/>
              </a:srgbClr>
            </a:solidFill>
            <a:prstDash val="solid"/>
          </a:ln>
          <a:effectLst/>
        </p:spPr>
        <p:txBody>
          <a:bodyPr rtlCol="0" anchor="ctr"/>
          <a:lstStyle/>
          <a:p>
            <a:pPr marL="0" marR="0" lvl="0" indent="0" algn="ctr" defTabSz="623863" eaLnBrk="1" fontAlgn="auto" latinLnBrk="0" hangingPunct="1">
              <a:lnSpc>
                <a:spcPct val="100000"/>
              </a:lnSpc>
              <a:spcBef>
                <a:spcPts val="0"/>
              </a:spcBef>
              <a:spcAft>
                <a:spcPts val="0"/>
              </a:spcAft>
              <a:buClrTx/>
              <a:buSzTx/>
              <a:buFontTx/>
              <a:buNone/>
              <a:tabLst/>
              <a:defRPr/>
            </a:pPr>
            <a:endParaRPr kumimoji="0" lang="fr-FR" sz="1799"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50" name="Rectangle 49"/>
          <p:cNvSpPr/>
          <p:nvPr/>
        </p:nvSpPr>
        <p:spPr>
          <a:xfrm>
            <a:off x="7082333" y="2201118"/>
            <a:ext cx="2403745" cy="571270"/>
          </a:xfrm>
          <a:prstGeom prst="rect">
            <a:avLst/>
          </a:prstGeom>
          <a:solidFill>
            <a:srgbClr val="0072C6"/>
          </a:solidFill>
          <a:ln w="25400" cap="flat" cmpd="sng" algn="ctr">
            <a:solidFill>
              <a:srgbClr val="0072C6">
                <a:lumMod val="75000"/>
              </a:srgbClr>
            </a:solidFill>
            <a:prstDash val="solid"/>
          </a:ln>
          <a:effectLst/>
        </p:spPr>
        <p:txBody>
          <a:bodyPr rtlCol="0" anchor="ctr"/>
          <a:lstStyle/>
          <a:p>
            <a:pPr marL="0" marR="0" lvl="0" indent="0" algn="ctr" defTabSz="623863" eaLnBrk="1" fontAlgn="auto" latinLnBrk="0" hangingPunct="1">
              <a:lnSpc>
                <a:spcPct val="100000"/>
              </a:lnSpc>
              <a:spcBef>
                <a:spcPts val="0"/>
              </a:spcBef>
              <a:spcAft>
                <a:spcPts val="0"/>
              </a:spcAft>
              <a:buClrTx/>
              <a:buSzTx/>
              <a:buFontTx/>
              <a:buNone/>
              <a:tabLst/>
              <a:defRPr/>
            </a:pPr>
            <a:r>
              <a:rPr kumimoji="0" lang="fr-FR" sz="2450" b="1" i="0" u="none" strike="noStrike" kern="0" cap="none" spc="0" normalizeH="0" baseline="0" noProof="0" dirty="0" smtClean="0">
                <a:ln>
                  <a:noFill/>
                </a:ln>
                <a:solidFill>
                  <a:srgbClr val="FFFFFF"/>
                </a:solidFill>
                <a:effectLst/>
                <a:uLnTx/>
                <a:uFillTx/>
                <a:latin typeface="Arial"/>
                <a:ea typeface="+mn-ea"/>
                <a:cs typeface="+mn-cs"/>
              </a:rPr>
              <a:t>Service Cloud</a:t>
            </a:r>
          </a:p>
        </p:txBody>
      </p:sp>
      <p:cxnSp>
        <p:nvCxnSpPr>
          <p:cNvPr id="51" name="Straight Arrow Connector 50"/>
          <p:cNvCxnSpPr/>
          <p:nvPr/>
        </p:nvCxnSpPr>
        <p:spPr>
          <a:xfrm>
            <a:off x="8972591" y="2863315"/>
            <a:ext cx="149365" cy="413558"/>
          </a:xfrm>
          <a:prstGeom prst="straightConnector1">
            <a:avLst/>
          </a:prstGeom>
          <a:noFill/>
          <a:ln w="28575" cap="flat" cmpd="sng" algn="ctr">
            <a:solidFill>
              <a:srgbClr val="0072C6">
                <a:lumMod val="75000"/>
              </a:srgbClr>
            </a:solidFill>
            <a:prstDash val="solid"/>
            <a:tailEnd type="triangle" w="lg" len="lg"/>
          </a:ln>
          <a:effectLst/>
        </p:spPr>
      </p:cxnSp>
      <p:cxnSp>
        <p:nvCxnSpPr>
          <p:cNvPr id="52" name="Straight Arrow Connector 51"/>
          <p:cNvCxnSpPr/>
          <p:nvPr/>
        </p:nvCxnSpPr>
        <p:spPr>
          <a:xfrm flipH="1">
            <a:off x="7157993" y="2863315"/>
            <a:ext cx="768557" cy="1877012"/>
          </a:xfrm>
          <a:prstGeom prst="straightConnector1">
            <a:avLst/>
          </a:prstGeom>
          <a:noFill/>
          <a:ln w="28575" cap="flat" cmpd="sng" algn="ctr">
            <a:solidFill>
              <a:srgbClr val="0072C6">
                <a:lumMod val="75000"/>
              </a:srgbClr>
            </a:solidFill>
            <a:prstDash val="solid"/>
            <a:tailEnd type="triangle" w="lg" len="lg"/>
          </a:ln>
          <a:effectLst/>
        </p:spPr>
      </p:cxnSp>
      <p:sp>
        <p:nvSpPr>
          <p:cNvPr id="53" name="TextBox 52"/>
          <p:cNvSpPr txBox="1"/>
          <p:nvPr/>
        </p:nvSpPr>
        <p:spPr>
          <a:xfrm>
            <a:off x="6094272" y="6006648"/>
            <a:ext cx="4124730" cy="469359"/>
          </a:xfrm>
          <a:prstGeom prst="rect">
            <a:avLst/>
          </a:prstGeom>
          <a:noFill/>
        </p:spPr>
        <p:txBody>
          <a:bodyPr wrap="square" rtlCol="0">
            <a:spAutoFit/>
          </a:bodyPr>
          <a:lstStyle/>
          <a:p>
            <a:pPr algn="ctr" defTabSz="623863"/>
            <a:r>
              <a:rPr lang="fr-FR" sz="2450" b="1" dirty="0" smtClean="0">
                <a:solidFill>
                  <a:srgbClr val="0072C6"/>
                </a:solidFill>
                <a:latin typeface="Arial"/>
              </a:rPr>
              <a:t>Bases de données client</a:t>
            </a:r>
            <a:endParaRPr lang="fr-FR" sz="2450" b="1" dirty="0">
              <a:solidFill>
                <a:srgbClr val="0072C6"/>
              </a:solidFill>
              <a:latin typeface="Arial"/>
            </a:endParaRPr>
          </a:p>
        </p:txBody>
      </p:sp>
      <p:cxnSp>
        <p:nvCxnSpPr>
          <p:cNvPr id="54" name="Straight Arrow Connector 53"/>
          <p:cNvCxnSpPr/>
          <p:nvPr/>
        </p:nvCxnSpPr>
        <p:spPr>
          <a:xfrm>
            <a:off x="7455746" y="1341362"/>
            <a:ext cx="0" cy="712221"/>
          </a:xfrm>
          <a:prstGeom prst="straightConnector1">
            <a:avLst/>
          </a:prstGeom>
          <a:noFill/>
          <a:ln w="28575" cap="flat" cmpd="sng" algn="ctr">
            <a:solidFill>
              <a:srgbClr val="0072C6">
                <a:lumMod val="75000"/>
              </a:srgbClr>
            </a:solidFill>
            <a:prstDash val="solid"/>
            <a:tailEnd type="triangle" w="lg" len="lg"/>
          </a:ln>
          <a:effectLst/>
        </p:spPr>
      </p:cxnSp>
      <p:sp>
        <p:nvSpPr>
          <p:cNvPr id="55" name="Can 54"/>
          <p:cNvSpPr/>
          <p:nvPr/>
        </p:nvSpPr>
        <p:spPr>
          <a:xfrm>
            <a:off x="8015680" y="4813324"/>
            <a:ext cx="546212" cy="693644"/>
          </a:xfrm>
          <a:prstGeom prst="can">
            <a:avLst/>
          </a:prstGeom>
          <a:solidFill>
            <a:srgbClr val="0072C6"/>
          </a:solidFill>
          <a:ln w="25400" cap="flat" cmpd="sng" algn="ctr">
            <a:solidFill>
              <a:srgbClr val="0072C6">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23863" eaLnBrk="1" fontAlgn="auto" latinLnBrk="0" hangingPunct="1">
              <a:lnSpc>
                <a:spcPct val="100000"/>
              </a:lnSpc>
              <a:spcBef>
                <a:spcPts val="0"/>
              </a:spcBef>
              <a:spcAft>
                <a:spcPts val="0"/>
              </a:spcAft>
              <a:buClrTx/>
              <a:buSzTx/>
              <a:buFontTx/>
              <a:buNone/>
              <a:tabLst/>
              <a:defRPr/>
            </a:pPr>
            <a:r>
              <a:rPr kumimoji="0" lang="fr-FR" sz="1200" b="0" i="0" u="none" strike="noStrike" kern="0" cap="none" spc="0" normalizeH="0" baseline="0" noProof="0" dirty="0" err="1" smtClean="0">
                <a:ln>
                  <a:noFill/>
                </a:ln>
                <a:solidFill>
                  <a:srgbClr val="FFFFFF"/>
                </a:solidFill>
                <a:effectLst/>
                <a:uLnTx/>
                <a:uFillTx/>
                <a:latin typeface="Arial"/>
                <a:ea typeface="+mn-ea"/>
                <a:cs typeface="+mn-cs"/>
              </a:rPr>
              <a:t>Cli</a:t>
            </a:r>
            <a:r>
              <a:rPr kumimoji="0" lang="fr-FR" sz="1200" b="0" i="0" u="none" strike="noStrike" kern="0" cap="none" spc="0" normalizeH="0" baseline="0" noProof="0" dirty="0" smtClean="0">
                <a:ln>
                  <a:noFill/>
                </a:ln>
                <a:solidFill>
                  <a:srgbClr val="FFFFFF"/>
                </a:solidFill>
                <a:effectLst/>
                <a:uLnTx/>
                <a:uFillTx/>
                <a:latin typeface="Arial"/>
                <a:ea typeface="+mn-ea"/>
                <a:cs typeface="+mn-cs"/>
              </a:rPr>
              <a:t>. 3</a:t>
            </a:r>
          </a:p>
        </p:txBody>
      </p:sp>
      <p:sp>
        <p:nvSpPr>
          <p:cNvPr id="56" name="Can 55"/>
          <p:cNvSpPr/>
          <p:nvPr/>
        </p:nvSpPr>
        <p:spPr>
          <a:xfrm>
            <a:off x="9441856" y="4813324"/>
            <a:ext cx="546212" cy="693644"/>
          </a:xfrm>
          <a:prstGeom prst="can">
            <a:avLst/>
          </a:prstGeom>
          <a:solidFill>
            <a:srgbClr val="0072C6"/>
          </a:solidFill>
          <a:ln w="25400" cap="flat" cmpd="sng" algn="ctr">
            <a:solidFill>
              <a:srgbClr val="0072C6">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23863" eaLnBrk="1" fontAlgn="auto" latinLnBrk="0" hangingPunct="1">
              <a:lnSpc>
                <a:spcPct val="100000"/>
              </a:lnSpc>
              <a:spcBef>
                <a:spcPts val="0"/>
              </a:spcBef>
              <a:spcAft>
                <a:spcPts val="0"/>
              </a:spcAft>
              <a:buClrTx/>
              <a:buSzTx/>
              <a:buFontTx/>
              <a:buNone/>
              <a:tabLst/>
              <a:defRPr/>
            </a:pPr>
            <a:r>
              <a:rPr kumimoji="0" lang="fr-FR" sz="1200" b="0" i="0" u="none" strike="noStrike" kern="0" cap="none" spc="0" normalizeH="0" baseline="0" noProof="0" dirty="0" err="1" smtClean="0">
                <a:ln>
                  <a:noFill/>
                </a:ln>
                <a:solidFill>
                  <a:srgbClr val="FFFFFF"/>
                </a:solidFill>
                <a:effectLst/>
                <a:uLnTx/>
                <a:uFillTx/>
                <a:latin typeface="Arial"/>
                <a:ea typeface="+mn-ea"/>
                <a:cs typeface="+mn-cs"/>
              </a:rPr>
              <a:t>Cli</a:t>
            </a:r>
            <a:r>
              <a:rPr kumimoji="0" lang="fr-FR" sz="1200" b="0" i="0" u="none" strike="noStrike" kern="0" cap="none" spc="0" normalizeH="0" baseline="0" noProof="0" dirty="0" smtClean="0">
                <a:ln>
                  <a:noFill/>
                </a:ln>
                <a:solidFill>
                  <a:srgbClr val="FFFFFF"/>
                </a:solidFill>
                <a:effectLst/>
                <a:uLnTx/>
                <a:uFillTx/>
                <a:latin typeface="Arial"/>
                <a:ea typeface="+mn-ea"/>
                <a:cs typeface="+mn-cs"/>
              </a:rPr>
              <a:t>. N</a:t>
            </a:r>
          </a:p>
        </p:txBody>
      </p:sp>
      <p:cxnSp>
        <p:nvCxnSpPr>
          <p:cNvPr id="57" name="Straight Arrow Connector 56"/>
          <p:cNvCxnSpPr/>
          <p:nvPr/>
        </p:nvCxnSpPr>
        <p:spPr>
          <a:xfrm>
            <a:off x="9098763" y="1341362"/>
            <a:ext cx="0" cy="712221"/>
          </a:xfrm>
          <a:prstGeom prst="straightConnector1">
            <a:avLst/>
          </a:prstGeom>
          <a:noFill/>
          <a:ln w="28575" cap="flat" cmpd="sng" algn="ctr">
            <a:solidFill>
              <a:srgbClr val="0072C6">
                <a:lumMod val="75000"/>
              </a:srgbClr>
            </a:solidFill>
            <a:prstDash val="solid"/>
            <a:tailEnd type="triangle" w="lg" len="lg"/>
          </a:ln>
          <a:effectLst/>
        </p:spPr>
      </p:cxnSp>
      <p:cxnSp>
        <p:nvCxnSpPr>
          <p:cNvPr id="58" name="Straight Arrow Connector 57"/>
          <p:cNvCxnSpPr/>
          <p:nvPr/>
        </p:nvCxnSpPr>
        <p:spPr>
          <a:xfrm>
            <a:off x="8277255" y="1341362"/>
            <a:ext cx="0" cy="712221"/>
          </a:xfrm>
          <a:prstGeom prst="straightConnector1">
            <a:avLst/>
          </a:prstGeom>
          <a:noFill/>
          <a:ln w="28575" cap="flat" cmpd="sng" algn="ctr">
            <a:solidFill>
              <a:srgbClr val="0072C6">
                <a:lumMod val="75000"/>
              </a:srgbClr>
            </a:solidFill>
            <a:prstDash val="solid"/>
            <a:tailEnd type="triangle" w="lg" len="lg"/>
          </a:ln>
          <a:effectLst/>
        </p:spPr>
      </p:cxnSp>
      <p:cxnSp>
        <p:nvCxnSpPr>
          <p:cNvPr id="59" name="Straight Arrow Connector 58"/>
          <p:cNvCxnSpPr/>
          <p:nvPr/>
        </p:nvCxnSpPr>
        <p:spPr>
          <a:xfrm flipH="1">
            <a:off x="8277254" y="2863315"/>
            <a:ext cx="41107" cy="1877012"/>
          </a:xfrm>
          <a:prstGeom prst="straightConnector1">
            <a:avLst/>
          </a:prstGeom>
          <a:noFill/>
          <a:ln w="28575" cap="flat" cmpd="sng" algn="ctr">
            <a:solidFill>
              <a:srgbClr val="0072C6">
                <a:lumMod val="75000"/>
              </a:srgbClr>
            </a:solidFill>
            <a:prstDash val="solid"/>
            <a:tailEnd type="triangle" w="lg" len="lg"/>
          </a:ln>
          <a:effectLst/>
        </p:spPr>
      </p:cxnSp>
      <p:pic>
        <p:nvPicPr>
          <p:cNvPr id="60" name="Picture 5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22846" y="2131588"/>
            <a:ext cx="961567" cy="938506"/>
          </a:xfrm>
          <a:prstGeom prst="rect">
            <a:avLst/>
          </a:prstGeom>
          <a:noFill/>
          <a:ln>
            <a:noFill/>
          </a:ln>
        </p:spPr>
      </p:pic>
      <p:sp>
        <p:nvSpPr>
          <p:cNvPr id="61" name="TextBox 60"/>
          <p:cNvSpPr txBox="1"/>
          <p:nvPr/>
        </p:nvSpPr>
        <p:spPr>
          <a:xfrm>
            <a:off x="4551206" y="2948936"/>
            <a:ext cx="1620957" cy="523220"/>
          </a:xfrm>
          <a:prstGeom prst="rect">
            <a:avLst/>
          </a:prstGeom>
          <a:solidFill>
            <a:srgbClr val="0072C6">
              <a:lumMod val="50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rtlCol="0">
            <a:spAutoFit/>
          </a:bodyPr>
          <a:lstStyle/>
          <a:p>
            <a:pPr marL="0" marR="0" lvl="0" indent="0" defTabSz="623863" eaLnBrk="1" fontAlgn="auto" latinLnBrk="0" hangingPunct="1">
              <a:lnSpc>
                <a:spcPct val="100000"/>
              </a:lnSpc>
              <a:spcBef>
                <a:spcPts val="0"/>
              </a:spcBef>
              <a:spcAft>
                <a:spcPts val="0"/>
              </a:spcAft>
              <a:buClrTx/>
              <a:buSzTx/>
              <a:buFontTx/>
              <a:buNone/>
              <a:tabLst/>
              <a:defRPr/>
            </a:pPr>
            <a:r>
              <a:rPr kumimoji="0" lang="fr-FR" sz="2800" b="1" i="0" u="none" strike="noStrike" kern="0" cap="none" spc="0" normalizeH="0" baseline="0" noProof="0" dirty="0" err="1" smtClean="0">
                <a:ln>
                  <a:noFill/>
                </a:ln>
                <a:solidFill>
                  <a:srgbClr val="FFFFFF"/>
                </a:solidFill>
                <a:effectLst/>
                <a:uLnTx/>
                <a:uFillTx/>
                <a:latin typeface="Arial"/>
                <a:ea typeface="+mn-ea"/>
                <a:cs typeface="+mn-cs"/>
              </a:rPr>
              <a:t>PowerBI</a:t>
            </a:r>
            <a:endParaRPr kumimoji="0" lang="fr-FR" sz="2800" b="1" i="0" u="none" strike="noStrike" kern="0" cap="none" spc="0" normalizeH="0" baseline="0" noProof="0" dirty="0" smtClean="0">
              <a:ln>
                <a:noFill/>
              </a:ln>
              <a:solidFill>
                <a:srgbClr val="FFFFFF"/>
              </a:solidFill>
              <a:effectLst/>
              <a:uLnTx/>
              <a:uFillTx/>
              <a:latin typeface="Arial"/>
              <a:ea typeface="+mn-ea"/>
              <a:cs typeface="+mn-cs"/>
            </a:endParaRPr>
          </a:p>
        </p:txBody>
      </p:sp>
      <p:pic>
        <p:nvPicPr>
          <p:cNvPr id="62" name="Picture 61"/>
          <p:cNvPicPr>
            <a:picLocks noChangeAspect="1"/>
          </p:cNvPicPr>
          <p:nvPr/>
        </p:nvPicPr>
        <p:blipFill rotWithShape="1">
          <a:blip r:embed="rId3"/>
          <a:srcRect l="3668"/>
          <a:stretch/>
        </p:blipFill>
        <p:spPr>
          <a:xfrm>
            <a:off x="1546316" y="2868907"/>
            <a:ext cx="1201149" cy="785141"/>
          </a:xfrm>
          <a:prstGeom prst="rect">
            <a:avLst/>
          </a:prstGeom>
          <a:noFill/>
          <a:ln>
            <a:noFill/>
          </a:ln>
        </p:spPr>
      </p:pic>
      <p:sp>
        <p:nvSpPr>
          <p:cNvPr id="63" name="Left Arrow 62"/>
          <p:cNvSpPr/>
          <p:nvPr/>
        </p:nvSpPr>
        <p:spPr bwMode="auto">
          <a:xfrm>
            <a:off x="5051300" y="5043448"/>
            <a:ext cx="894607" cy="369021"/>
          </a:xfrm>
          <a:prstGeom prst="leftArrow">
            <a:avLst/>
          </a:prstGeom>
          <a:solidFill>
            <a:srgbClr val="0072C6"/>
          </a:solidFill>
          <a:ln w="9525" cap="flat" cmpd="sng" algn="ctr">
            <a:solidFill>
              <a:srgbClr val="0072C6">
                <a:lumMod val="75000"/>
              </a:srgbClr>
            </a:solidFill>
            <a:prstDash val="solid"/>
            <a:headEnd type="none" w="med" len="med"/>
            <a:tailEnd type="none" w="med" len="med"/>
          </a:ln>
          <a:effectLst/>
        </p:spPr>
        <p:txBody>
          <a:bodyPr lIns="89619" tIns="89619" rIns="33611" bIns="33611" rtlCol="0" anchor="b" anchorCtr="0"/>
          <a:lstStyle/>
          <a:p>
            <a:pPr marL="0" marR="0" lvl="0" indent="0" algn="ctr" defTabSz="913851" eaLnBrk="1" fontAlgn="auto" latinLnBrk="0" hangingPunct="1">
              <a:lnSpc>
                <a:spcPct val="100000"/>
              </a:lnSpc>
              <a:spcBef>
                <a:spcPts val="0"/>
              </a:spcBef>
              <a:spcAft>
                <a:spcPts val="0"/>
              </a:spcAft>
              <a:buClrTx/>
              <a:buSzTx/>
              <a:buFontTx/>
              <a:buNone/>
              <a:tabLst/>
              <a:defRPr/>
            </a:pPr>
            <a:endParaRPr kumimoji="0" lang="fr-FR" sz="78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Arial"/>
              <a:ea typeface="Segoe UI" pitchFamily="34" charset="0"/>
              <a:cs typeface="Segoe UI" pitchFamily="34" charset="0"/>
            </a:endParaRPr>
          </a:p>
        </p:txBody>
      </p:sp>
      <p:sp>
        <p:nvSpPr>
          <p:cNvPr id="64" name="TextBox 63"/>
          <p:cNvSpPr txBox="1"/>
          <p:nvPr/>
        </p:nvSpPr>
        <p:spPr>
          <a:xfrm>
            <a:off x="9715323" y="3210546"/>
            <a:ext cx="2793657" cy="469359"/>
          </a:xfrm>
          <a:prstGeom prst="rect">
            <a:avLst/>
          </a:prstGeom>
          <a:noFill/>
        </p:spPr>
        <p:txBody>
          <a:bodyPr wrap="square" rtlCol="0">
            <a:spAutoFit/>
          </a:bodyPr>
          <a:lstStyle/>
          <a:p>
            <a:pPr algn="ctr" defTabSz="623863"/>
            <a:r>
              <a:rPr lang="fr-FR" sz="2450" b="1" dirty="0" smtClean="0">
                <a:solidFill>
                  <a:srgbClr val="0072C6"/>
                </a:solidFill>
                <a:latin typeface="Arial"/>
              </a:rPr>
              <a:t>Catalogue clients</a:t>
            </a:r>
            <a:endParaRPr lang="fr-FR" sz="2450" b="1" dirty="0">
              <a:solidFill>
                <a:srgbClr val="0072C6"/>
              </a:solidFill>
              <a:latin typeface="Arial"/>
            </a:endParaRPr>
          </a:p>
        </p:txBody>
      </p:sp>
      <p:pic>
        <p:nvPicPr>
          <p:cNvPr id="66" name="Picture 65"/>
          <p:cNvPicPr>
            <a:picLocks noChangeAspect="1"/>
          </p:cNvPicPr>
          <p:nvPr/>
        </p:nvPicPr>
        <p:blipFill rotWithShape="1">
          <a:blip r:embed="rId4"/>
          <a:srcRect l="2597" r="5063" b="6635"/>
          <a:stretch/>
        </p:blipFill>
        <p:spPr>
          <a:xfrm>
            <a:off x="661585" y="4160036"/>
            <a:ext cx="1140317" cy="826312"/>
          </a:xfrm>
          <a:prstGeom prst="rect">
            <a:avLst/>
          </a:prstGeom>
          <a:noFill/>
          <a:ln>
            <a:noFill/>
          </a:ln>
        </p:spPr>
      </p:pic>
      <p:sp>
        <p:nvSpPr>
          <p:cNvPr id="70" name="Can 69"/>
          <p:cNvSpPr/>
          <p:nvPr/>
        </p:nvSpPr>
        <p:spPr>
          <a:xfrm>
            <a:off x="2402495" y="4684310"/>
            <a:ext cx="2107904" cy="1000346"/>
          </a:xfrm>
          <a:prstGeom prst="can">
            <a:avLst/>
          </a:prstGeom>
          <a:solidFill>
            <a:srgbClr val="0072C6"/>
          </a:solidFill>
          <a:ln w="25400" cap="flat" cmpd="sng" algn="ctr">
            <a:solidFill>
              <a:srgbClr val="0072C6">
                <a:lumMod val="75000"/>
              </a:srgbClr>
            </a:solidFill>
            <a:prstDash val="solid"/>
          </a:ln>
          <a:effectLst/>
        </p:spPr>
        <p:txBody>
          <a:bodyPr lIns="0" rIns="0" rtlCol="0" anchor="ctr"/>
          <a:lstStyle/>
          <a:p>
            <a:pPr marL="0" marR="0" lvl="0" indent="0" algn="ctr" defTabSz="623863" eaLnBrk="1" fontAlgn="auto" latinLnBrk="0" hangingPunct="1">
              <a:lnSpc>
                <a:spcPct val="100000"/>
              </a:lnSpc>
              <a:spcBef>
                <a:spcPts val="0"/>
              </a:spcBef>
              <a:spcAft>
                <a:spcPts val="0"/>
              </a:spcAft>
              <a:buClrTx/>
              <a:buSzTx/>
              <a:buFontTx/>
              <a:buNone/>
              <a:tabLst/>
              <a:defRPr/>
            </a:pPr>
            <a:r>
              <a:rPr kumimoji="0" lang="fr-FR" sz="1176" b="0" i="0" u="none" strike="noStrike" kern="0" cap="none" spc="0" normalizeH="0" baseline="0" noProof="0" dirty="0" err="1" smtClean="0">
                <a:ln>
                  <a:noFill/>
                </a:ln>
                <a:solidFill>
                  <a:srgbClr val="FFFFFF"/>
                </a:solidFill>
                <a:effectLst/>
                <a:uLnTx/>
                <a:uFillTx/>
                <a:latin typeface="Arial"/>
                <a:ea typeface="+mn-ea"/>
                <a:cs typeface="+mn-cs"/>
              </a:rPr>
              <a:t>Elastic</a:t>
            </a:r>
            <a:r>
              <a:rPr kumimoji="0" lang="fr-FR" sz="1176" b="0" i="0" u="none" strike="noStrike" kern="0" cap="none" spc="0" normalizeH="0" baseline="0" noProof="0" dirty="0" smtClean="0">
                <a:ln>
                  <a:noFill/>
                </a:ln>
                <a:solidFill>
                  <a:srgbClr val="FFFFFF"/>
                </a:solidFill>
                <a:effectLst/>
                <a:uLnTx/>
                <a:uFillTx/>
                <a:latin typeface="Arial"/>
                <a:ea typeface="+mn-ea"/>
                <a:cs typeface="+mn-cs"/>
              </a:rPr>
              <a:t> </a:t>
            </a:r>
          </a:p>
          <a:p>
            <a:pPr marL="0" marR="0" lvl="0" indent="0" algn="ctr" defTabSz="623863" eaLnBrk="1" fontAlgn="auto" latinLnBrk="0" hangingPunct="1">
              <a:lnSpc>
                <a:spcPct val="100000"/>
              </a:lnSpc>
              <a:spcBef>
                <a:spcPts val="0"/>
              </a:spcBef>
              <a:spcAft>
                <a:spcPts val="0"/>
              </a:spcAft>
              <a:buClrTx/>
              <a:buSzTx/>
              <a:buFontTx/>
              <a:buNone/>
              <a:tabLst/>
              <a:defRPr/>
            </a:pPr>
            <a:r>
              <a:rPr kumimoji="0" lang="fr-FR" sz="1176" b="0" i="0" u="none" strike="noStrike" kern="0" cap="none" spc="0" normalizeH="0" baseline="0" noProof="0" dirty="0" err="1" smtClean="0">
                <a:ln>
                  <a:noFill/>
                </a:ln>
                <a:solidFill>
                  <a:srgbClr val="FFFFFF"/>
                </a:solidFill>
                <a:effectLst/>
                <a:uLnTx/>
                <a:uFillTx/>
                <a:latin typeface="Arial"/>
                <a:ea typeface="+mn-ea"/>
                <a:cs typeface="+mn-cs"/>
              </a:rPr>
              <a:t>Query</a:t>
            </a:r>
            <a:endParaRPr kumimoji="0" lang="fr-FR" sz="1176"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72" name="Left Arrow 71"/>
          <p:cNvSpPr/>
          <p:nvPr/>
        </p:nvSpPr>
        <p:spPr bwMode="auto">
          <a:xfrm rot="16200000">
            <a:off x="3241564" y="3793699"/>
            <a:ext cx="608312" cy="329011"/>
          </a:xfrm>
          <a:prstGeom prst="leftArrow">
            <a:avLst/>
          </a:prstGeom>
          <a:solidFill>
            <a:srgbClr val="0072C6"/>
          </a:solidFill>
          <a:ln w="9525" cap="flat" cmpd="sng" algn="ctr">
            <a:solidFill>
              <a:srgbClr val="0072C6">
                <a:lumMod val="75000"/>
              </a:srgbClr>
            </a:solidFill>
            <a:prstDash val="solid"/>
            <a:headEnd type="none" w="med" len="med"/>
            <a:tailEnd type="none" w="med" len="med"/>
          </a:ln>
          <a:effectLst/>
        </p:spPr>
        <p:txBody>
          <a:bodyPr lIns="89619" tIns="89619" rIns="33611" bIns="33611" rtlCol="0" anchor="b" anchorCtr="0"/>
          <a:lstStyle/>
          <a:p>
            <a:pPr marL="0" marR="0" lvl="0" indent="0" algn="ctr" defTabSz="913851" eaLnBrk="1" fontAlgn="auto" latinLnBrk="0" hangingPunct="1">
              <a:lnSpc>
                <a:spcPct val="100000"/>
              </a:lnSpc>
              <a:spcBef>
                <a:spcPts val="0"/>
              </a:spcBef>
              <a:spcAft>
                <a:spcPts val="0"/>
              </a:spcAft>
              <a:buClrTx/>
              <a:buSzTx/>
              <a:buFontTx/>
              <a:buNone/>
              <a:tabLst/>
              <a:defRPr/>
            </a:pPr>
            <a:endParaRPr kumimoji="0" lang="fr-FR" sz="78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Arial"/>
              <a:ea typeface="Segoe UI" pitchFamily="34" charset="0"/>
              <a:cs typeface="Segoe UI" pitchFamily="34" charset="0"/>
            </a:endParaRPr>
          </a:p>
        </p:txBody>
      </p:sp>
      <p:sp>
        <p:nvSpPr>
          <p:cNvPr id="73" name="Left Arrow 72"/>
          <p:cNvSpPr/>
          <p:nvPr/>
        </p:nvSpPr>
        <p:spPr bwMode="auto">
          <a:xfrm rot="18156902">
            <a:off x="4374703" y="4079101"/>
            <a:ext cx="608312" cy="329011"/>
          </a:xfrm>
          <a:prstGeom prst="leftArrow">
            <a:avLst/>
          </a:prstGeom>
          <a:solidFill>
            <a:srgbClr val="0072C6"/>
          </a:solidFill>
          <a:ln w="9525" cap="flat" cmpd="sng" algn="ctr">
            <a:solidFill>
              <a:srgbClr val="0072C6">
                <a:lumMod val="75000"/>
              </a:srgbClr>
            </a:solidFill>
            <a:prstDash val="solid"/>
            <a:headEnd type="none" w="med" len="med"/>
            <a:tailEnd type="none" w="med" len="med"/>
          </a:ln>
          <a:effectLst/>
        </p:spPr>
        <p:txBody>
          <a:bodyPr lIns="89619" tIns="89619" rIns="33611" bIns="33611" rtlCol="0" anchor="b" anchorCtr="0"/>
          <a:lstStyle/>
          <a:p>
            <a:pPr marL="0" marR="0" lvl="0" indent="0" algn="ctr" defTabSz="913851" eaLnBrk="1" fontAlgn="auto" latinLnBrk="0" hangingPunct="1">
              <a:lnSpc>
                <a:spcPct val="100000"/>
              </a:lnSpc>
              <a:spcBef>
                <a:spcPts val="0"/>
              </a:spcBef>
              <a:spcAft>
                <a:spcPts val="0"/>
              </a:spcAft>
              <a:buClrTx/>
              <a:buSzTx/>
              <a:buFontTx/>
              <a:buNone/>
              <a:tabLst/>
              <a:defRPr/>
            </a:pPr>
            <a:endParaRPr kumimoji="0" lang="fr-FR" sz="78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Arial"/>
              <a:ea typeface="Segoe UI" pitchFamily="34" charset="0"/>
              <a:cs typeface="Segoe UI" pitchFamily="34" charset="0"/>
            </a:endParaRPr>
          </a:p>
        </p:txBody>
      </p:sp>
      <p:sp>
        <p:nvSpPr>
          <p:cNvPr id="74" name="Left Arrow 73"/>
          <p:cNvSpPr/>
          <p:nvPr/>
        </p:nvSpPr>
        <p:spPr bwMode="auto">
          <a:xfrm rot="13777447">
            <a:off x="2002450" y="4133606"/>
            <a:ext cx="608312" cy="329011"/>
          </a:xfrm>
          <a:prstGeom prst="leftArrow">
            <a:avLst/>
          </a:prstGeom>
          <a:solidFill>
            <a:srgbClr val="0072C6"/>
          </a:solidFill>
          <a:ln w="9525" cap="flat" cmpd="sng" algn="ctr">
            <a:solidFill>
              <a:srgbClr val="0072C6">
                <a:lumMod val="75000"/>
              </a:srgbClr>
            </a:solidFill>
            <a:prstDash val="solid"/>
            <a:headEnd type="none" w="med" len="med"/>
            <a:tailEnd type="none" w="med" len="med"/>
          </a:ln>
          <a:effectLst/>
        </p:spPr>
        <p:txBody>
          <a:bodyPr lIns="89619" tIns="89619" rIns="33611" bIns="33611" rtlCol="0" anchor="b" anchorCtr="0"/>
          <a:lstStyle/>
          <a:p>
            <a:pPr marL="0" marR="0" lvl="0" indent="0" algn="ctr" defTabSz="913851" eaLnBrk="1" fontAlgn="auto" latinLnBrk="0" hangingPunct="1">
              <a:lnSpc>
                <a:spcPct val="100000"/>
              </a:lnSpc>
              <a:spcBef>
                <a:spcPts val="0"/>
              </a:spcBef>
              <a:spcAft>
                <a:spcPts val="0"/>
              </a:spcAft>
              <a:buClrTx/>
              <a:buSzTx/>
              <a:buFontTx/>
              <a:buNone/>
              <a:tabLst/>
              <a:defRPr/>
            </a:pPr>
            <a:endParaRPr kumimoji="0" lang="fr-FR" sz="78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Arial"/>
              <a:ea typeface="Segoe UI" pitchFamily="34" charset="0"/>
              <a:cs typeface="Segoe UI" pitchFamily="34" charset="0"/>
            </a:endParaRPr>
          </a:p>
        </p:txBody>
      </p:sp>
    </p:spTree>
    <p:extLst>
      <p:ext uri="{BB962C8B-B14F-4D97-AF65-F5344CB8AC3E}">
        <p14:creationId xmlns:p14="http://schemas.microsoft.com/office/powerpoint/2010/main" val="1664716149"/>
      </p:ext>
    </p:extLst>
  </p:cSld>
  <p:clrMapOvr>
    <a:masterClrMapping/>
  </p:clrMapOvr>
  <p:transition>
    <p:fade/>
  </p:transition>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fr-FR" dirty="0" smtClean="0"/>
              <a:t>Une nouvelle solution : </a:t>
            </a:r>
            <a:r>
              <a:rPr lang="fr-FR" dirty="0" err="1" smtClean="0"/>
              <a:t>Elastic</a:t>
            </a:r>
            <a:r>
              <a:rPr lang="fr-FR" dirty="0" smtClean="0"/>
              <a:t> </a:t>
            </a:r>
            <a:r>
              <a:rPr lang="fr-FR" dirty="0" smtClean="0"/>
              <a:t>Database </a:t>
            </a:r>
            <a:r>
              <a:rPr lang="fr-FR" dirty="0" err="1" smtClean="0"/>
              <a:t>Query</a:t>
            </a:r>
            <a:endParaRPr lang="fr-FR" dirty="0"/>
          </a:p>
        </p:txBody>
      </p:sp>
      <p:sp>
        <p:nvSpPr>
          <p:cNvPr id="8" name="Rounded Rectangle 7"/>
          <p:cNvSpPr/>
          <p:nvPr/>
        </p:nvSpPr>
        <p:spPr bwMode="auto">
          <a:xfrm>
            <a:off x="10162540" y="1586683"/>
            <a:ext cx="2001663" cy="571270"/>
          </a:xfrm>
          <a:prstGeom prst="round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3704" rIns="0" bIns="43704" numCol="1" rtlCol="0" anchor="ctr" anchorCtr="0" compatLnSpc="1">
            <a:prstTxWarp prst="textNoShape">
              <a:avLst/>
            </a:prstTxWarp>
          </a:bodyPr>
          <a:lstStyle/>
          <a:p>
            <a:pPr algn="ctr" defTabSz="873886" fontAlgn="base">
              <a:spcBef>
                <a:spcPct val="0"/>
              </a:spcBef>
              <a:spcAft>
                <a:spcPct val="0"/>
              </a:spcAft>
            </a:pPr>
            <a:r>
              <a:rPr lang="fr-FR" sz="2249" b="1" dirty="0" err="1">
                <a:gradFill>
                  <a:gsLst>
                    <a:gs pos="0">
                      <a:srgbClr val="FFFFFF"/>
                    </a:gs>
                    <a:gs pos="100000">
                      <a:srgbClr val="FFFFFF"/>
                    </a:gs>
                  </a:gsLst>
                  <a:lin ang="5400000" scaled="0"/>
                </a:gradFill>
              </a:rPr>
              <a:t>Preview</a:t>
            </a:r>
            <a:endParaRPr lang="fr-FR" sz="2343" b="1" dirty="0">
              <a:gradFill>
                <a:gsLst>
                  <a:gs pos="0">
                    <a:srgbClr val="FFFFFF"/>
                  </a:gs>
                  <a:gs pos="100000">
                    <a:srgbClr val="FFFFFF"/>
                  </a:gs>
                </a:gsLst>
                <a:lin ang="5400000" scaled="0"/>
              </a:gradFill>
            </a:endParaRPr>
          </a:p>
        </p:txBody>
      </p:sp>
      <p:sp>
        <p:nvSpPr>
          <p:cNvPr id="2" name="Text Placeholder 1"/>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sp>
        <p:nvSpPr>
          <p:cNvPr id="9" name="Text Placeholder 4"/>
          <p:cNvSpPr txBox="1">
            <a:spLocks/>
          </p:cNvSpPr>
          <p:nvPr/>
        </p:nvSpPr>
        <p:spPr>
          <a:xfrm>
            <a:off x="1333153" y="1586683"/>
            <a:ext cx="10246233" cy="4947893"/>
          </a:xfrm>
          <a:prstGeom prst="rect">
            <a:avLst/>
          </a:prstGeom>
        </p:spPr>
        <p:txBody>
          <a:bodyPr>
            <a:normAutofit fontScale="92500"/>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fr-FR" dirty="0"/>
              <a:t>Requêtes</a:t>
            </a:r>
            <a:r>
              <a:rPr lang="fr-FR"/>
              <a:t> transparentes vers </a:t>
            </a:r>
            <a:r>
              <a:rPr lang="fr-FR" dirty="0"/>
              <a:t>de multiples </a:t>
            </a:r>
            <a:r>
              <a:rPr lang="fr-FR" dirty="0" err="1"/>
              <a:t>databases</a:t>
            </a:r>
            <a:r>
              <a:rPr lang="fr-FR" dirty="0"/>
              <a:t> depuis une simple </a:t>
            </a:r>
            <a:r>
              <a:rPr lang="fr-FR" dirty="0" err="1"/>
              <a:t>database</a:t>
            </a:r>
            <a:r>
              <a:rPr lang="fr-FR" dirty="0"/>
              <a:t> </a:t>
            </a:r>
          </a:p>
          <a:p>
            <a:r>
              <a:rPr lang="fr-FR" dirty="0"/>
              <a:t>Solution</a:t>
            </a:r>
            <a:r>
              <a:rPr lang="fr-FR"/>
              <a:t> conçue pour </a:t>
            </a:r>
            <a:r>
              <a:rPr lang="fr-FR" dirty="0"/>
              <a:t>les </a:t>
            </a:r>
            <a:r>
              <a:rPr lang="fr-FR"/>
              <a:t>requêtes interactives</a:t>
            </a:r>
            <a:endParaRPr lang="fr-FR" dirty="0"/>
          </a:p>
          <a:p>
            <a:r>
              <a:rPr lang="fr-FR"/>
              <a:t>Capitaliser </a:t>
            </a:r>
            <a:r>
              <a:rPr lang="fr-FR" dirty="0"/>
              <a:t>sur les compétences et les outils existants </a:t>
            </a:r>
            <a:r>
              <a:rPr lang="fr-FR"/>
              <a:t>:</a:t>
            </a:r>
            <a:endParaRPr lang="fr-FR" dirty="0"/>
          </a:p>
          <a:p>
            <a:pPr lvl="1"/>
            <a:r>
              <a:rPr lang="fr-FR" dirty="0"/>
              <a:t>Connexion vers une simple base SQL DB avec une chaîne de connexion traditionnelle</a:t>
            </a:r>
          </a:p>
          <a:p>
            <a:pPr lvl="1"/>
            <a:r>
              <a:rPr lang="fr-FR" dirty="0"/>
              <a:t>Simple setup avec un script T-SQL DDL</a:t>
            </a:r>
          </a:p>
          <a:p>
            <a:pPr lvl="1"/>
            <a:r>
              <a:rPr lang="fr-FR" dirty="0"/>
              <a:t>Support des environnements de développements habituels : T-SQL, ADO. NET </a:t>
            </a:r>
            <a:r>
              <a:rPr lang="fr-FR" dirty="0" err="1"/>
              <a:t>Linq</a:t>
            </a:r>
            <a:r>
              <a:rPr lang="fr-FR" dirty="0"/>
              <a:t>, EF etc.</a:t>
            </a:r>
          </a:p>
          <a:p>
            <a:pPr lvl="1"/>
            <a:r>
              <a:rPr lang="fr-FR" dirty="0"/>
              <a:t>Utilisation des outils BI : Excel, </a:t>
            </a:r>
            <a:r>
              <a:rPr lang="fr-FR" dirty="0" err="1"/>
              <a:t>PowerBI</a:t>
            </a:r>
            <a:endParaRPr lang="fr-FR" dirty="0"/>
          </a:p>
        </p:txBody>
      </p:sp>
    </p:spTree>
    <p:extLst>
      <p:ext uri="{BB962C8B-B14F-4D97-AF65-F5344CB8AC3E}">
        <p14:creationId xmlns:p14="http://schemas.microsoft.com/office/powerpoint/2010/main" val="1279570675"/>
      </p:ext>
    </p:extLst>
  </p:cSld>
  <p:clrMapOvr>
    <a:masterClrMapping/>
  </p:clrMapOvr>
  <p:transition>
    <p:fade/>
  </p:transition>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sp>
        <p:nvSpPr>
          <p:cNvPr id="71" name="Title 1"/>
          <p:cNvSpPr>
            <a:spLocks noGrp="1"/>
          </p:cNvSpPr>
          <p:nvPr>
            <p:ph type="title"/>
          </p:nvPr>
        </p:nvSpPr>
        <p:spPr/>
        <p:txBody>
          <a:bodyPr>
            <a:normAutofit fontScale="90000"/>
          </a:bodyPr>
          <a:lstStyle/>
          <a:p>
            <a:r>
              <a:rPr lang="en-US" dirty="0" err="1" smtClean="0"/>
              <a:t>Problématique</a:t>
            </a:r>
            <a:r>
              <a:rPr lang="en-US" dirty="0" smtClean="0"/>
              <a:t> #6 : Administration multi-database</a:t>
            </a:r>
            <a:endParaRPr lang="en-US" dirty="0"/>
          </a:p>
        </p:txBody>
      </p:sp>
      <p:sp>
        <p:nvSpPr>
          <p:cNvPr id="61" name="Rectangle 60"/>
          <p:cNvSpPr/>
          <p:nvPr/>
        </p:nvSpPr>
        <p:spPr bwMode="auto">
          <a:xfrm>
            <a:off x="4197468" y="4076832"/>
            <a:ext cx="3857641" cy="1810676"/>
          </a:xfrm>
          <a:prstGeom prst="rect">
            <a:avLst/>
          </a:prstGeom>
          <a:solidFill>
            <a:srgbClr val="0072C6">
              <a:lumMod val="60000"/>
              <a:lumOff val="40000"/>
            </a:srgbClr>
          </a:solidFill>
          <a:ln w="9525" cap="flat" cmpd="sng" algn="ctr">
            <a:noFill/>
            <a:prstDash val="solid"/>
            <a:headEnd type="none" w="med" len="med"/>
            <a:tailEnd type="none" w="med" len="med"/>
          </a:ln>
          <a:effectLst/>
        </p:spPr>
        <p:txBody>
          <a:bodyPr lIns="89619" tIns="89619" rIns="33611" bIns="33611" rtlCol="0" anchor="b" anchorCtr="0"/>
          <a:lstStyle/>
          <a:p>
            <a:pPr marL="0" marR="0" lvl="0" indent="0" algn="ctr" defTabSz="913851"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Arial"/>
              <a:ea typeface="Segoe UI" pitchFamily="34" charset="0"/>
              <a:cs typeface="Segoe UI" pitchFamily="34" charset="0"/>
            </a:endParaRPr>
          </a:p>
        </p:txBody>
      </p:sp>
      <p:sp>
        <p:nvSpPr>
          <p:cNvPr id="62" name="Left Arrow 61"/>
          <p:cNvSpPr/>
          <p:nvPr/>
        </p:nvSpPr>
        <p:spPr bwMode="auto">
          <a:xfrm rot="10800000">
            <a:off x="2080500" y="4879496"/>
            <a:ext cx="1726669" cy="329011"/>
          </a:xfrm>
          <a:prstGeom prst="leftArrow">
            <a:avLst/>
          </a:prstGeom>
          <a:solidFill>
            <a:srgbClr val="0072C6"/>
          </a:solidFill>
          <a:ln w="9525" cap="flat" cmpd="sng" algn="ctr">
            <a:solidFill>
              <a:srgbClr val="0072C6">
                <a:lumMod val="75000"/>
              </a:srgbClr>
            </a:solidFill>
            <a:prstDash val="solid"/>
            <a:headEnd type="none" w="med" len="med"/>
            <a:tailEnd type="none" w="med" len="med"/>
          </a:ln>
          <a:effectLst/>
        </p:spPr>
        <p:txBody>
          <a:bodyPr lIns="89619" tIns="89619" rIns="33611" bIns="33611" rtlCol="0" anchor="b" anchorCtr="0"/>
          <a:lstStyle/>
          <a:p>
            <a:pPr marL="0" marR="0" lvl="0" indent="0" algn="ctr" defTabSz="913851"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dirty="0" smtClean="0">
              <a:ln>
                <a:noFill/>
              </a:ln>
              <a:solidFill>
                <a:prstClr val="white"/>
              </a:solidFill>
              <a:effectLst/>
              <a:uLnTx/>
              <a:uFillTx/>
              <a:latin typeface="Arial"/>
              <a:ea typeface="Segoe UI" pitchFamily="34" charset="0"/>
              <a:cs typeface="Segoe UI" pitchFamily="34" charset="0"/>
            </a:endParaRPr>
          </a:p>
        </p:txBody>
      </p:sp>
      <p:cxnSp>
        <p:nvCxnSpPr>
          <p:cNvPr id="63" name="Straight Connector 62"/>
          <p:cNvCxnSpPr>
            <a:cxnSpLocks noChangeAspect="1"/>
          </p:cNvCxnSpPr>
          <p:nvPr/>
        </p:nvCxnSpPr>
        <p:spPr>
          <a:xfrm>
            <a:off x="6511635" y="5010848"/>
            <a:ext cx="747122" cy="0"/>
          </a:xfrm>
          <a:prstGeom prst="line">
            <a:avLst/>
          </a:prstGeom>
          <a:noFill/>
          <a:ln w="38100" cap="flat" cmpd="sng" algn="ctr">
            <a:solidFill>
              <a:srgbClr val="0072C6">
                <a:lumMod val="75000"/>
              </a:srgbClr>
            </a:solidFill>
            <a:prstDash val="sysDot"/>
          </a:ln>
          <a:effectLst/>
        </p:spPr>
      </p:cxnSp>
      <p:sp>
        <p:nvSpPr>
          <p:cNvPr id="64" name="Can 63"/>
          <p:cNvSpPr/>
          <p:nvPr/>
        </p:nvSpPr>
        <p:spPr>
          <a:xfrm>
            <a:off x="6724036" y="3105871"/>
            <a:ext cx="598149" cy="571270"/>
          </a:xfrm>
          <a:prstGeom prst="can">
            <a:avLst/>
          </a:prstGeom>
          <a:solidFill>
            <a:srgbClr val="0072C6"/>
          </a:solidFill>
          <a:ln w="25400" cap="flat" cmpd="sng" algn="ctr">
            <a:solidFill>
              <a:srgbClr val="0072C6">
                <a:lumMod val="75000"/>
              </a:srgbClr>
            </a:solidFill>
            <a:prstDash val="solid"/>
          </a:ln>
          <a:effectLst/>
        </p:spPr>
        <p:txBody>
          <a:bodyPr lIns="0" rIns="0" rtlCol="0" anchor="ctr"/>
          <a:lstStyle/>
          <a:p>
            <a:pPr marL="0" marR="0" lvl="0" indent="0" algn="ctr" defTabSz="623863" eaLnBrk="1" fontAlgn="auto" latinLnBrk="0" hangingPunct="1">
              <a:lnSpc>
                <a:spcPct val="100000"/>
              </a:lnSpc>
              <a:spcBef>
                <a:spcPts val="0"/>
              </a:spcBef>
              <a:spcAft>
                <a:spcPts val="0"/>
              </a:spcAft>
              <a:buClrTx/>
              <a:buSzTx/>
              <a:buFontTx/>
              <a:buNone/>
              <a:tabLst/>
              <a:defRPr/>
            </a:pPr>
            <a:r>
              <a:rPr kumimoji="0" lang="en-US" sz="1176" b="0" i="0" u="none" strike="noStrike" kern="0" cap="none" spc="0" normalizeH="0" baseline="0" noProof="0" dirty="0" smtClean="0">
                <a:ln>
                  <a:noFill/>
                </a:ln>
                <a:solidFill>
                  <a:prstClr val="white"/>
                </a:solidFill>
                <a:effectLst/>
                <a:uLnTx/>
                <a:uFillTx/>
                <a:latin typeface="Arial"/>
                <a:ea typeface="+mn-ea"/>
                <a:cs typeface="+mn-cs"/>
              </a:rPr>
              <a:t>Catalog</a:t>
            </a:r>
          </a:p>
        </p:txBody>
      </p:sp>
      <p:sp>
        <p:nvSpPr>
          <p:cNvPr id="66" name="Can 65"/>
          <p:cNvSpPr/>
          <p:nvPr/>
        </p:nvSpPr>
        <p:spPr>
          <a:xfrm>
            <a:off x="4545027" y="4616218"/>
            <a:ext cx="563401" cy="693644"/>
          </a:xfrm>
          <a:prstGeom prst="can">
            <a:avLst/>
          </a:prstGeom>
          <a:solidFill>
            <a:srgbClr val="0072C6"/>
          </a:solidFill>
          <a:ln w="25400" cap="flat" cmpd="sng" algn="ctr">
            <a:solidFill>
              <a:srgbClr val="0072C6">
                <a:lumMod val="75000"/>
              </a:srgbClr>
            </a:solidFill>
            <a:prstDash val="solid"/>
          </a:ln>
          <a:effectLst/>
        </p:spPr>
        <p:txBody>
          <a:bodyPr lIns="0" tIns="0" rIns="0" bIns="0" rtlCol="0" anchor="ctr"/>
          <a:lstStyle/>
          <a:p>
            <a:pPr marL="0" marR="0" lvl="0" indent="0" algn="ctr" defTabSz="623863"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err="1" smtClean="0">
                <a:ln>
                  <a:noFill/>
                </a:ln>
                <a:solidFill>
                  <a:prstClr val="white"/>
                </a:solidFill>
                <a:effectLst/>
                <a:uLnTx/>
                <a:uFillTx/>
                <a:latin typeface="Arial"/>
                <a:ea typeface="+mn-ea"/>
                <a:cs typeface="+mn-cs"/>
              </a:rPr>
              <a:t>Cli</a:t>
            </a:r>
            <a:r>
              <a:rPr kumimoji="0" lang="en-US" sz="1200" b="0" i="0" u="none" strike="noStrike" kern="0" cap="none" spc="0" normalizeH="0" baseline="0" noProof="0" dirty="0" smtClean="0">
                <a:ln>
                  <a:noFill/>
                </a:ln>
                <a:solidFill>
                  <a:prstClr val="white"/>
                </a:solidFill>
                <a:effectLst/>
                <a:uLnTx/>
                <a:uFillTx/>
                <a:latin typeface="Arial"/>
                <a:ea typeface="+mn-ea"/>
                <a:cs typeface="+mn-cs"/>
              </a:rPr>
              <a:t>. 1</a:t>
            </a:r>
          </a:p>
        </p:txBody>
      </p:sp>
      <p:sp>
        <p:nvSpPr>
          <p:cNvPr id="70" name="Can 69"/>
          <p:cNvSpPr/>
          <p:nvPr/>
        </p:nvSpPr>
        <p:spPr>
          <a:xfrm>
            <a:off x="5216445" y="4616218"/>
            <a:ext cx="546212" cy="693644"/>
          </a:xfrm>
          <a:prstGeom prst="can">
            <a:avLst/>
          </a:prstGeom>
          <a:solidFill>
            <a:srgbClr val="0072C6"/>
          </a:solidFill>
          <a:ln w="25400" cap="flat" cmpd="sng" algn="ctr">
            <a:solidFill>
              <a:srgbClr val="0072C6">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23863"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err="1" smtClean="0">
                <a:ln>
                  <a:noFill/>
                </a:ln>
                <a:solidFill>
                  <a:prstClr val="white"/>
                </a:solidFill>
                <a:effectLst/>
                <a:uLnTx/>
                <a:uFillTx/>
                <a:latin typeface="Arial"/>
                <a:ea typeface="+mn-ea"/>
                <a:cs typeface="+mn-cs"/>
              </a:rPr>
              <a:t>Cli</a:t>
            </a:r>
            <a:r>
              <a:rPr kumimoji="0" lang="en-US" sz="1200" b="0" i="0" u="none" strike="noStrike" kern="0" cap="none" spc="0" normalizeH="0" baseline="0" noProof="0" dirty="0" smtClean="0">
                <a:ln>
                  <a:noFill/>
                </a:ln>
                <a:solidFill>
                  <a:prstClr val="white"/>
                </a:solidFill>
                <a:effectLst/>
                <a:uLnTx/>
                <a:uFillTx/>
                <a:latin typeface="Arial"/>
                <a:ea typeface="+mn-ea"/>
                <a:cs typeface="+mn-cs"/>
              </a:rPr>
              <a:t>. 2</a:t>
            </a:r>
          </a:p>
        </p:txBody>
      </p:sp>
      <p:sp>
        <p:nvSpPr>
          <p:cNvPr id="72" name="Rectangle 71"/>
          <p:cNvSpPr/>
          <p:nvPr/>
        </p:nvSpPr>
        <p:spPr>
          <a:xfrm>
            <a:off x="4994101" y="1913086"/>
            <a:ext cx="2473786" cy="571270"/>
          </a:xfrm>
          <a:prstGeom prst="rect">
            <a:avLst/>
          </a:prstGeom>
          <a:solidFill>
            <a:srgbClr val="0072C6"/>
          </a:solidFill>
          <a:ln w="25400" cap="flat" cmpd="sng" algn="ctr">
            <a:solidFill>
              <a:srgbClr val="0072C6">
                <a:lumMod val="75000"/>
              </a:srgbClr>
            </a:solidFill>
            <a:prstDash val="solid"/>
          </a:ln>
          <a:effectLst/>
        </p:spPr>
        <p:txBody>
          <a:bodyPr rtlCol="0" anchor="ctr"/>
          <a:lstStyle/>
          <a:p>
            <a:pPr marL="0" marR="0" lvl="0" indent="0" algn="ctr" defTabSz="623863"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smtClean="0">
              <a:ln>
                <a:noFill/>
              </a:ln>
              <a:solidFill>
                <a:prstClr val="white"/>
              </a:solidFill>
              <a:effectLst/>
              <a:uLnTx/>
              <a:uFillTx/>
              <a:latin typeface="Arial"/>
              <a:ea typeface="+mn-ea"/>
              <a:cs typeface="+mn-cs"/>
            </a:endParaRPr>
          </a:p>
        </p:txBody>
      </p:sp>
      <p:sp>
        <p:nvSpPr>
          <p:cNvPr id="73" name="Rectangle 72"/>
          <p:cNvSpPr/>
          <p:nvPr/>
        </p:nvSpPr>
        <p:spPr>
          <a:xfrm>
            <a:off x="4918440" y="2004012"/>
            <a:ext cx="2403745" cy="571270"/>
          </a:xfrm>
          <a:prstGeom prst="rect">
            <a:avLst/>
          </a:prstGeom>
          <a:solidFill>
            <a:srgbClr val="0072C6"/>
          </a:solidFill>
          <a:ln w="25400" cap="flat" cmpd="sng" algn="ctr">
            <a:solidFill>
              <a:srgbClr val="0072C6">
                <a:lumMod val="75000"/>
              </a:srgbClr>
            </a:solidFill>
            <a:prstDash val="solid"/>
          </a:ln>
          <a:effectLst/>
        </p:spPr>
        <p:txBody>
          <a:bodyPr rtlCol="0" anchor="ctr"/>
          <a:lstStyle/>
          <a:p>
            <a:pPr marL="0" marR="0" lvl="0" indent="0" algn="ctr" defTabSz="623863" eaLnBrk="1" fontAlgn="auto" latinLnBrk="0" hangingPunct="1">
              <a:lnSpc>
                <a:spcPct val="100000"/>
              </a:lnSpc>
              <a:spcBef>
                <a:spcPts val="0"/>
              </a:spcBef>
              <a:spcAft>
                <a:spcPts val="0"/>
              </a:spcAft>
              <a:buClrTx/>
              <a:buSzTx/>
              <a:buFontTx/>
              <a:buNone/>
              <a:tabLst/>
              <a:defRPr/>
            </a:pPr>
            <a:r>
              <a:rPr kumimoji="0" lang="en-US" sz="2450" b="1" i="0" u="none" strike="noStrike" kern="0" cap="none" spc="0" normalizeH="0" baseline="0" noProof="0" dirty="0" smtClean="0">
                <a:ln>
                  <a:noFill/>
                </a:ln>
                <a:solidFill>
                  <a:prstClr val="white"/>
                </a:solidFill>
                <a:effectLst/>
                <a:uLnTx/>
                <a:uFillTx/>
                <a:latin typeface="Arial"/>
                <a:ea typeface="+mn-ea"/>
                <a:cs typeface="+mn-cs"/>
              </a:rPr>
              <a:t>Service Cloud</a:t>
            </a:r>
          </a:p>
        </p:txBody>
      </p:sp>
      <p:cxnSp>
        <p:nvCxnSpPr>
          <p:cNvPr id="74" name="Straight Arrow Connector 73"/>
          <p:cNvCxnSpPr/>
          <p:nvPr/>
        </p:nvCxnSpPr>
        <p:spPr>
          <a:xfrm>
            <a:off x="6808698" y="2666209"/>
            <a:ext cx="149365" cy="413558"/>
          </a:xfrm>
          <a:prstGeom prst="straightConnector1">
            <a:avLst/>
          </a:prstGeom>
          <a:noFill/>
          <a:ln w="28575" cap="flat" cmpd="sng" algn="ctr">
            <a:solidFill>
              <a:srgbClr val="0072C6">
                <a:lumMod val="75000"/>
              </a:srgbClr>
            </a:solidFill>
            <a:prstDash val="solid"/>
            <a:tailEnd type="triangle" w="lg" len="lg"/>
          </a:ln>
          <a:effectLst/>
        </p:spPr>
      </p:cxnSp>
      <p:cxnSp>
        <p:nvCxnSpPr>
          <p:cNvPr id="75" name="Straight Arrow Connector 74"/>
          <p:cNvCxnSpPr/>
          <p:nvPr/>
        </p:nvCxnSpPr>
        <p:spPr>
          <a:xfrm flipH="1">
            <a:off x="4994100" y="2666209"/>
            <a:ext cx="768557" cy="1877012"/>
          </a:xfrm>
          <a:prstGeom prst="straightConnector1">
            <a:avLst/>
          </a:prstGeom>
          <a:noFill/>
          <a:ln w="28575" cap="flat" cmpd="sng" algn="ctr">
            <a:solidFill>
              <a:srgbClr val="0072C6">
                <a:lumMod val="75000"/>
              </a:srgbClr>
            </a:solidFill>
            <a:prstDash val="solid"/>
            <a:tailEnd type="triangle" w="lg" len="lg"/>
          </a:ln>
          <a:effectLst/>
        </p:spPr>
      </p:cxnSp>
      <p:sp>
        <p:nvSpPr>
          <p:cNvPr id="76" name="TextBox 75"/>
          <p:cNvSpPr txBox="1"/>
          <p:nvPr/>
        </p:nvSpPr>
        <p:spPr>
          <a:xfrm>
            <a:off x="4229134" y="5907489"/>
            <a:ext cx="4212267" cy="469359"/>
          </a:xfrm>
          <a:prstGeom prst="rect">
            <a:avLst/>
          </a:prstGeom>
          <a:noFill/>
        </p:spPr>
        <p:txBody>
          <a:bodyPr wrap="square" rtlCol="0">
            <a:spAutoFit/>
          </a:bodyPr>
          <a:lstStyle/>
          <a:p>
            <a:pPr algn="ctr" defTabSz="623863"/>
            <a:r>
              <a:rPr lang="en-US" sz="2450" b="1" dirty="0" smtClean="0">
                <a:solidFill>
                  <a:srgbClr val="0072C6">
                    <a:lumMod val="75000"/>
                  </a:srgbClr>
                </a:solidFill>
                <a:latin typeface="Arial"/>
              </a:rPr>
              <a:t>Bases de </a:t>
            </a:r>
            <a:r>
              <a:rPr lang="en-US" sz="2450" b="1" dirty="0" err="1" smtClean="0">
                <a:solidFill>
                  <a:srgbClr val="0072C6">
                    <a:lumMod val="75000"/>
                  </a:srgbClr>
                </a:solidFill>
                <a:latin typeface="Arial"/>
              </a:rPr>
              <a:t>données</a:t>
            </a:r>
            <a:r>
              <a:rPr lang="en-US" sz="2450" b="1" dirty="0" smtClean="0">
                <a:solidFill>
                  <a:srgbClr val="0072C6">
                    <a:lumMod val="75000"/>
                  </a:srgbClr>
                </a:solidFill>
                <a:latin typeface="Arial"/>
              </a:rPr>
              <a:t> client</a:t>
            </a:r>
            <a:endParaRPr lang="en-US" sz="2450" b="1" dirty="0">
              <a:solidFill>
                <a:srgbClr val="0072C6">
                  <a:lumMod val="75000"/>
                </a:srgbClr>
              </a:solidFill>
              <a:latin typeface="Arial"/>
            </a:endParaRPr>
          </a:p>
        </p:txBody>
      </p:sp>
      <p:sp>
        <p:nvSpPr>
          <p:cNvPr id="77" name="TextBox 76"/>
          <p:cNvSpPr txBox="1"/>
          <p:nvPr/>
        </p:nvSpPr>
        <p:spPr>
          <a:xfrm>
            <a:off x="7467887" y="3091378"/>
            <a:ext cx="2793657" cy="469359"/>
          </a:xfrm>
          <a:prstGeom prst="rect">
            <a:avLst/>
          </a:prstGeom>
          <a:noFill/>
        </p:spPr>
        <p:txBody>
          <a:bodyPr wrap="square" rtlCol="0">
            <a:spAutoFit/>
          </a:bodyPr>
          <a:lstStyle/>
          <a:p>
            <a:pPr algn="ctr" defTabSz="623863"/>
            <a:r>
              <a:rPr lang="en-US" sz="2450" b="1" dirty="0" smtClean="0">
                <a:solidFill>
                  <a:srgbClr val="0072C6">
                    <a:lumMod val="75000"/>
                  </a:srgbClr>
                </a:solidFill>
                <a:latin typeface="Arial"/>
              </a:rPr>
              <a:t>Catalogue clients</a:t>
            </a:r>
            <a:endParaRPr lang="en-US" sz="2450" b="1" dirty="0">
              <a:solidFill>
                <a:srgbClr val="0072C6">
                  <a:lumMod val="75000"/>
                </a:srgbClr>
              </a:solidFill>
              <a:latin typeface="Arial"/>
            </a:endParaRPr>
          </a:p>
        </p:txBody>
      </p:sp>
      <p:cxnSp>
        <p:nvCxnSpPr>
          <p:cNvPr id="78" name="Straight Arrow Connector 77"/>
          <p:cNvCxnSpPr/>
          <p:nvPr/>
        </p:nvCxnSpPr>
        <p:spPr>
          <a:xfrm>
            <a:off x="5291853" y="1144256"/>
            <a:ext cx="0" cy="712221"/>
          </a:xfrm>
          <a:prstGeom prst="straightConnector1">
            <a:avLst/>
          </a:prstGeom>
          <a:noFill/>
          <a:ln w="28575" cap="flat" cmpd="sng" algn="ctr">
            <a:solidFill>
              <a:srgbClr val="0072C6">
                <a:lumMod val="75000"/>
              </a:srgbClr>
            </a:solidFill>
            <a:prstDash val="solid"/>
            <a:tailEnd type="triangle" w="lg" len="lg"/>
          </a:ln>
          <a:effectLst/>
        </p:spPr>
      </p:cxnSp>
      <p:sp>
        <p:nvSpPr>
          <p:cNvPr id="79" name="Can 78"/>
          <p:cNvSpPr/>
          <p:nvPr/>
        </p:nvSpPr>
        <p:spPr>
          <a:xfrm>
            <a:off x="5851787" y="4616218"/>
            <a:ext cx="546212" cy="693644"/>
          </a:xfrm>
          <a:prstGeom prst="can">
            <a:avLst/>
          </a:prstGeom>
          <a:solidFill>
            <a:srgbClr val="0072C6"/>
          </a:solidFill>
          <a:ln w="25400" cap="flat" cmpd="sng" algn="ctr">
            <a:solidFill>
              <a:srgbClr val="0072C6">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23863"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err="1" smtClean="0">
                <a:ln>
                  <a:noFill/>
                </a:ln>
                <a:solidFill>
                  <a:prstClr val="white"/>
                </a:solidFill>
                <a:effectLst/>
                <a:uLnTx/>
                <a:uFillTx/>
                <a:latin typeface="Arial"/>
                <a:ea typeface="+mn-ea"/>
                <a:cs typeface="+mn-cs"/>
              </a:rPr>
              <a:t>Cli</a:t>
            </a:r>
            <a:r>
              <a:rPr kumimoji="0" lang="en-US" sz="1200" b="0" i="0" u="none" strike="noStrike" kern="0" cap="none" spc="0" normalizeH="0" baseline="0" noProof="0" dirty="0" smtClean="0">
                <a:ln>
                  <a:noFill/>
                </a:ln>
                <a:solidFill>
                  <a:prstClr val="white"/>
                </a:solidFill>
                <a:effectLst/>
                <a:uLnTx/>
                <a:uFillTx/>
                <a:latin typeface="Arial"/>
                <a:ea typeface="+mn-ea"/>
                <a:cs typeface="+mn-cs"/>
              </a:rPr>
              <a:t>. 3</a:t>
            </a:r>
          </a:p>
        </p:txBody>
      </p:sp>
      <p:sp>
        <p:nvSpPr>
          <p:cNvPr id="80" name="Can 79"/>
          <p:cNvSpPr/>
          <p:nvPr/>
        </p:nvSpPr>
        <p:spPr>
          <a:xfrm>
            <a:off x="7277963" y="4616218"/>
            <a:ext cx="546212" cy="693644"/>
          </a:xfrm>
          <a:prstGeom prst="can">
            <a:avLst/>
          </a:prstGeom>
          <a:solidFill>
            <a:srgbClr val="0072C6"/>
          </a:solidFill>
          <a:ln w="25400" cap="flat" cmpd="sng" algn="ctr">
            <a:solidFill>
              <a:srgbClr val="0072C6">
                <a:lumMod val="7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23863"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err="1" smtClean="0">
                <a:ln>
                  <a:noFill/>
                </a:ln>
                <a:solidFill>
                  <a:prstClr val="white"/>
                </a:solidFill>
                <a:effectLst/>
                <a:uLnTx/>
                <a:uFillTx/>
                <a:latin typeface="Arial"/>
                <a:ea typeface="+mn-ea"/>
                <a:cs typeface="+mn-cs"/>
              </a:rPr>
              <a:t>Cli</a:t>
            </a:r>
            <a:r>
              <a:rPr kumimoji="0" lang="en-US" sz="1200" b="0" i="0" u="none" strike="noStrike" kern="0" cap="none" spc="0" normalizeH="0" baseline="0" noProof="0" dirty="0" smtClean="0">
                <a:ln>
                  <a:noFill/>
                </a:ln>
                <a:solidFill>
                  <a:prstClr val="white"/>
                </a:solidFill>
                <a:effectLst/>
                <a:uLnTx/>
                <a:uFillTx/>
                <a:latin typeface="Arial"/>
                <a:ea typeface="+mn-ea"/>
                <a:cs typeface="+mn-cs"/>
              </a:rPr>
              <a:t>. N</a:t>
            </a:r>
          </a:p>
        </p:txBody>
      </p:sp>
      <p:cxnSp>
        <p:nvCxnSpPr>
          <p:cNvPr id="81" name="Straight Arrow Connector 80"/>
          <p:cNvCxnSpPr/>
          <p:nvPr/>
        </p:nvCxnSpPr>
        <p:spPr>
          <a:xfrm>
            <a:off x="6934870" y="1144256"/>
            <a:ext cx="0" cy="712221"/>
          </a:xfrm>
          <a:prstGeom prst="straightConnector1">
            <a:avLst/>
          </a:prstGeom>
          <a:noFill/>
          <a:ln w="28575" cap="flat" cmpd="sng" algn="ctr">
            <a:solidFill>
              <a:srgbClr val="0072C6">
                <a:lumMod val="75000"/>
              </a:srgbClr>
            </a:solidFill>
            <a:prstDash val="solid"/>
            <a:tailEnd type="triangle" w="lg" len="lg"/>
          </a:ln>
          <a:effectLst/>
        </p:spPr>
      </p:cxnSp>
      <p:cxnSp>
        <p:nvCxnSpPr>
          <p:cNvPr id="82" name="Straight Arrow Connector 81"/>
          <p:cNvCxnSpPr/>
          <p:nvPr/>
        </p:nvCxnSpPr>
        <p:spPr>
          <a:xfrm>
            <a:off x="6113362" y="1144256"/>
            <a:ext cx="0" cy="712221"/>
          </a:xfrm>
          <a:prstGeom prst="straightConnector1">
            <a:avLst/>
          </a:prstGeom>
          <a:noFill/>
          <a:ln w="28575" cap="flat" cmpd="sng" algn="ctr">
            <a:solidFill>
              <a:srgbClr val="0072C6">
                <a:lumMod val="75000"/>
              </a:srgbClr>
            </a:solidFill>
            <a:prstDash val="solid"/>
            <a:tailEnd type="triangle" w="lg" len="lg"/>
          </a:ln>
          <a:effectLst/>
        </p:spPr>
      </p:cxnSp>
      <p:cxnSp>
        <p:nvCxnSpPr>
          <p:cNvPr id="83" name="Straight Arrow Connector 82"/>
          <p:cNvCxnSpPr/>
          <p:nvPr/>
        </p:nvCxnSpPr>
        <p:spPr>
          <a:xfrm flipH="1">
            <a:off x="6113361" y="2666209"/>
            <a:ext cx="41107" cy="1877012"/>
          </a:xfrm>
          <a:prstGeom prst="straightConnector1">
            <a:avLst/>
          </a:prstGeom>
          <a:noFill/>
          <a:ln w="28575" cap="flat" cmpd="sng" algn="ctr">
            <a:solidFill>
              <a:srgbClr val="0072C6">
                <a:lumMod val="75000"/>
              </a:srgbClr>
            </a:solidFill>
            <a:prstDash val="solid"/>
            <a:tailEnd type="triangle" w="lg" len="lg"/>
          </a:ln>
          <a:effectLst/>
        </p:spPr>
      </p:cxnSp>
      <p:sp>
        <p:nvSpPr>
          <p:cNvPr id="84" name="Vertical Scroll 83"/>
          <p:cNvSpPr>
            <a:spLocks noChangeAspect="1"/>
          </p:cNvSpPr>
          <p:nvPr/>
        </p:nvSpPr>
        <p:spPr bwMode="auto">
          <a:xfrm>
            <a:off x="3005480" y="5093849"/>
            <a:ext cx="413804" cy="420246"/>
          </a:xfrm>
          <a:prstGeom prst="verticalScroll">
            <a:avLst/>
          </a:prstGeom>
          <a:solidFill>
            <a:srgbClr val="0072C6"/>
          </a:solidFill>
          <a:ln w="9525" cap="flat" cmpd="sng" algn="ctr">
            <a:solidFill>
              <a:srgbClr val="0072C6">
                <a:lumMod val="75000"/>
              </a:srgbClr>
            </a:solidFill>
            <a:prstDash val="solid"/>
            <a:headEnd type="none" w="med" len="med"/>
            <a:tailEnd type="none" w="med" len="med"/>
          </a:ln>
          <a:effectLst/>
        </p:spPr>
        <p:txBody>
          <a:bodyPr lIns="89619" tIns="89619" rIns="33611" bIns="33611" rtlCol="0" anchor="ctr" anchorCtr="0"/>
          <a:lstStyle/>
          <a:p>
            <a:pPr marL="0" marR="0" lvl="0" indent="0" algn="ctr" defTabSz="913851" eaLnBrk="1" fontAlgn="auto" latinLnBrk="0" hangingPunct="1">
              <a:lnSpc>
                <a:spcPct val="100000"/>
              </a:lnSpc>
              <a:spcBef>
                <a:spcPts val="0"/>
              </a:spcBef>
              <a:spcAft>
                <a:spcPts val="0"/>
              </a:spcAft>
              <a:buClrTx/>
              <a:buSzTx/>
              <a:buFontTx/>
              <a:buNone/>
              <a:tabLst/>
              <a:defRPr/>
            </a:pPr>
            <a:endParaRPr kumimoji="0" lang="en-US" sz="100" b="1" i="0" u="none" strike="noStrike" kern="0" cap="none" spc="0" normalizeH="0" baseline="0" noProof="0" dirty="0" smtClean="0">
              <a:ln>
                <a:noFill/>
              </a:ln>
              <a:solidFill>
                <a:prstClr val="white"/>
              </a:solidFill>
              <a:effectLst/>
              <a:uLnTx/>
              <a:uFillTx/>
              <a:latin typeface="Arial"/>
              <a:ea typeface="Segoe UI" pitchFamily="34" charset="0"/>
              <a:cs typeface="Segoe UI" pitchFamily="34" charset="0"/>
            </a:endParaRPr>
          </a:p>
        </p:txBody>
      </p:sp>
      <p:sp>
        <p:nvSpPr>
          <p:cNvPr id="85" name="Vertical Scroll 84"/>
          <p:cNvSpPr>
            <a:spLocks noChangeAspect="1"/>
          </p:cNvSpPr>
          <p:nvPr/>
        </p:nvSpPr>
        <p:spPr bwMode="auto">
          <a:xfrm>
            <a:off x="2775459" y="5094752"/>
            <a:ext cx="413804" cy="420246"/>
          </a:xfrm>
          <a:prstGeom prst="verticalScroll">
            <a:avLst/>
          </a:prstGeom>
          <a:solidFill>
            <a:srgbClr val="0072C6"/>
          </a:solidFill>
          <a:ln w="9525" cap="flat" cmpd="sng" algn="ctr">
            <a:solidFill>
              <a:srgbClr val="0072C6">
                <a:lumMod val="75000"/>
              </a:srgbClr>
            </a:solidFill>
            <a:prstDash val="solid"/>
            <a:headEnd type="none" w="med" len="med"/>
            <a:tailEnd type="none" w="med" len="med"/>
          </a:ln>
          <a:effectLst/>
        </p:spPr>
        <p:txBody>
          <a:bodyPr lIns="89619" tIns="89619" rIns="33611" bIns="33611" rtlCol="0" anchor="ctr" anchorCtr="0"/>
          <a:lstStyle/>
          <a:p>
            <a:pPr marL="0" marR="0" lvl="0" indent="0" algn="ctr" defTabSz="913851" eaLnBrk="1" fontAlgn="auto" latinLnBrk="0" hangingPunct="1">
              <a:lnSpc>
                <a:spcPct val="100000"/>
              </a:lnSpc>
              <a:spcBef>
                <a:spcPts val="0"/>
              </a:spcBef>
              <a:spcAft>
                <a:spcPts val="0"/>
              </a:spcAft>
              <a:buClrTx/>
              <a:buSzTx/>
              <a:buFontTx/>
              <a:buNone/>
              <a:tabLst/>
              <a:defRPr/>
            </a:pPr>
            <a:endParaRPr kumimoji="0" lang="en-US" sz="100" b="1" i="0" u="none" strike="noStrike" kern="0" cap="none" spc="0" normalizeH="0" baseline="0" noProof="0" dirty="0" smtClean="0">
              <a:ln>
                <a:noFill/>
              </a:ln>
              <a:solidFill>
                <a:prstClr val="white"/>
              </a:solidFill>
              <a:effectLst/>
              <a:uLnTx/>
              <a:uFillTx/>
              <a:latin typeface="Arial"/>
              <a:ea typeface="Segoe UI" pitchFamily="34" charset="0"/>
              <a:cs typeface="Segoe UI" pitchFamily="34" charset="0"/>
            </a:endParaRPr>
          </a:p>
        </p:txBody>
      </p:sp>
      <p:sp>
        <p:nvSpPr>
          <p:cNvPr id="86" name="Vertical Scroll 85"/>
          <p:cNvSpPr>
            <a:spLocks noChangeAspect="1"/>
          </p:cNvSpPr>
          <p:nvPr/>
        </p:nvSpPr>
        <p:spPr bwMode="auto">
          <a:xfrm>
            <a:off x="2636706" y="5094752"/>
            <a:ext cx="413804" cy="420246"/>
          </a:xfrm>
          <a:prstGeom prst="verticalScroll">
            <a:avLst/>
          </a:prstGeom>
          <a:solidFill>
            <a:srgbClr val="0072C6"/>
          </a:solidFill>
          <a:ln w="9525" cap="flat" cmpd="sng" algn="ctr">
            <a:solidFill>
              <a:srgbClr val="0072C6">
                <a:lumMod val="75000"/>
              </a:srgbClr>
            </a:solidFill>
            <a:prstDash val="solid"/>
            <a:headEnd type="none" w="med" len="med"/>
            <a:tailEnd type="none" w="med" len="med"/>
          </a:ln>
          <a:effectLst/>
        </p:spPr>
        <p:txBody>
          <a:bodyPr lIns="89619" tIns="89619" rIns="33611" bIns="33611" rtlCol="0" anchor="ctr" anchorCtr="0"/>
          <a:lstStyle/>
          <a:p>
            <a:pPr marL="0" marR="0" lvl="0" indent="0" algn="ctr" defTabSz="913851" eaLnBrk="1" fontAlgn="auto" latinLnBrk="0" hangingPunct="1">
              <a:lnSpc>
                <a:spcPct val="100000"/>
              </a:lnSpc>
              <a:spcBef>
                <a:spcPts val="0"/>
              </a:spcBef>
              <a:spcAft>
                <a:spcPts val="0"/>
              </a:spcAft>
              <a:buClrTx/>
              <a:buSzTx/>
              <a:buFontTx/>
              <a:buNone/>
              <a:tabLst/>
              <a:defRPr/>
            </a:pPr>
            <a:endParaRPr kumimoji="0" lang="en-US" sz="100" b="1" i="0" u="none" strike="noStrike" kern="0" cap="none" spc="0" normalizeH="0" baseline="0" noProof="0" dirty="0" smtClean="0">
              <a:ln>
                <a:noFill/>
              </a:ln>
              <a:solidFill>
                <a:prstClr val="white"/>
              </a:solidFill>
              <a:effectLst/>
              <a:uLnTx/>
              <a:uFillTx/>
              <a:latin typeface="Arial"/>
              <a:ea typeface="Segoe UI" pitchFamily="34" charset="0"/>
              <a:cs typeface="Segoe UI" pitchFamily="34" charset="0"/>
            </a:endParaRPr>
          </a:p>
        </p:txBody>
      </p:sp>
      <p:sp>
        <p:nvSpPr>
          <p:cNvPr id="87" name="Vertical Scroll 86"/>
          <p:cNvSpPr>
            <a:spLocks noChangeAspect="1"/>
          </p:cNvSpPr>
          <p:nvPr/>
        </p:nvSpPr>
        <p:spPr bwMode="auto">
          <a:xfrm>
            <a:off x="3116599" y="5093849"/>
            <a:ext cx="413804" cy="420246"/>
          </a:xfrm>
          <a:prstGeom prst="verticalScroll">
            <a:avLst/>
          </a:prstGeom>
          <a:solidFill>
            <a:srgbClr val="0072C6"/>
          </a:solidFill>
          <a:ln w="9525" cap="flat" cmpd="sng" algn="ctr">
            <a:solidFill>
              <a:srgbClr val="0072C6">
                <a:lumMod val="75000"/>
              </a:srgbClr>
            </a:solidFill>
            <a:prstDash val="solid"/>
            <a:headEnd type="none" w="med" len="med"/>
            <a:tailEnd type="none" w="med" len="med"/>
          </a:ln>
          <a:effectLst/>
        </p:spPr>
        <p:txBody>
          <a:bodyPr lIns="89619" tIns="89619" rIns="33611" bIns="33611" rtlCol="0" anchor="ctr" anchorCtr="0"/>
          <a:lstStyle/>
          <a:p>
            <a:pPr marL="0" marR="0" lvl="0" indent="0" algn="ctr" defTabSz="913851" eaLnBrk="1" fontAlgn="auto" latinLnBrk="0" hangingPunct="1">
              <a:lnSpc>
                <a:spcPct val="100000"/>
              </a:lnSpc>
              <a:spcBef>
                <a:spcPts val="0"/>
              </a:spcBef>
              <a:spcAft>
                <a:spcPts val="0"/>
              </a:spcAft>
              <a:buClrTx/>
              <a:buSzTx/>
              <a:buFontTx/>
              <a:buNone/>
              <a:tabLst/>
              <a:defRPr/>
            </a:pPr>
            <a:endParaRPr kumimoji="0" lang="en-US" sz="100" b="1" i="0" u="none" strike="noStrike" kern="0" cap="none" spc="0" normalizeH="0" baseline="0" noProof="0" dirty="0" smtClean="0">
              <a:ln>
                <a:noFill/>
              </a:ln>
              <a:solidFill>
                <a:prstClr val="white"/>
              </a:solidFill>
              <a:effectLst/>
              <a:uLnTx/>
              <a:uFillTx/>
              <a:latin typeface="Arial"/>
              <a:ea typeface="Segoe UI" pitchFamily="34" charset="0"/>
              <a:cs typeface="Segoe UI" pitchFamily="34" charset="0"/>
            </a:endParaRPr>
          </a:p>
        </p:txBody>
      </p:sp>
      <p:sp>
        <p:nvSpPr>
          <p:cNvPr id="88" name="Vertical Scroll 87"/>
          <p:cNvSpPr/>
          <p:nvPr/>
        </p:nvSpPr>
        <p:spPr bwMode="auto">
          <a:xfrm>
            <a:off x="2246407" y="4543221"/>
            <a:ext cx="1257901" cy="1254869"/>
          </a:xfrm>
          <a:prstGeom prst="verticalScroll">
            <a:avLst/>
          </a:prstGeom>
          <a:solidFill>
            <a:srgbClr val="0072C6"/>
          </a:solidFill>
          <a:ln w="9525" cap="flat" cmpd="sng" algn="ctr">
            <a:solidFill>
              <a:srgbClr val="0072C6">
                <a:lumMod val="75000"/>
              </a:srgbClr>
            </a:solidFill>
            <a:prstDash val="solid"/>
            <a:headEnd type="none" w="med" len="med"/>
            <a:tailEnd type="none" w="med" len="med"/>
          </a:ln>
          <a:effectLst/>
        </p:spPr>
        <p:txBody>
          <a:bodyPr lIns="89619" tIns="89619" rIns="33611" bIns="33611" rtlCol="0" anchor="ctr" anchorCtr="0"/>
          <a:lstStyle/>
          <a:p>
            <a:pPr marL="0" marR="0" lvl="0" indent="0" algn="ctr" defTabSz="913851" eaLnBrk="1" fontAlgn="auto" latinLnBrk="0" hangingPunct="1">
              <a:lnSpc>
                <a:spcPct val="100000"/>
              </a:lnSpc>
              <a:spcBef>
                <a:spcPts val="0"/>
              </a:spcBef>
              <a:spcAft>
                <a:spcPts val="0"/>
              </a:spcAft>
              <a:buClrTx/>
              <a:buSzTx/>
              <a:buFontTx/>
              <a:buNone/>
              <a:tabLst/>
              <a:defRPr/>
            </a:pPr>
            <a:r>
              <a:rPr kumimoji="0" lang="en-US" sz="1960" b="1" i="0" u="none" strike="noStrike" kern="0" cap="none" spc="0" normalizeH="0" baseline="0" noProof="0" dirty="0" smtClean="0">
                <a:ln>
                  <a:noFill/>
                </a:ln>
                <a:solidFill>
                  <a:prstClr val="white"/>
                </a:solidFill>
                <a:effectLst/>
                <a:uLnTx/>
                <a:uFillTx/>
                <a:latin typeface="Arial"/>
                <a:ea typeface="Segoe UI" pitchFamily="34" charset="0"/>
                <a:cs typeface="Segoe UI" pitchFamily="34" charset="0"/>
              </a:rPr>
              <a:t>T-SQL</a:t>
            </a:r>
            <a:endParaRPr kumimoji="0" lang="en-US" sz="882" b="1" i="0" u="none" strike="noStrike" kern="0" cap="none" spc="0" normalizeH="0" baseline="0" noProof="0" dirty="0" smtClean="0">
              <a:ln>
                <a:noFill/>
              </a:ln>
              <a:solidFill>
                <a:prstClr val="white"/>
              </a:solidFill>
              <a:effectLst/>
              <a:uLnTx/>
              <a:uFillTx/>
              <a:latin typeface="Arial"/>
              <a:ea typeface="Segoe UI" pitchFamily="34" charset="0"/>
              <a:cs typeface="Segoe UI" pitchFamily="34" charset="0"/>
            </a:endParaRPr>
          </a:p>
        </p:txBody>
      </p:sp>
    </p:spTree>
    <p:extLst>
      <p:ext uri="{BB962C8B-B14F-4D97-AF65-F5344CB8AC3E}">
        <p14:creationId xmlns:p14="http://schemas.microsoft.com/office/powerpoint/2010/main" val="17523498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path" presetSubtype="0" accel="35000" decel="65000" fill="hold" grpId="0" nodeType="clickEffect">
                                  <p:stCondLst>
                                    <p:cond delay="0"/>
                                  </p:stCondLst>
                                  <p:childTnLst>
                                    <p:animMotion origin="layout" path="M 3.39801E-6 1.80663E-6 L 0.13416 -0.00091 " pathEditMode="relative" rAng="0" ptsTypes="AA">
                                      <p:cBhvr>
                                        <p:cTn id="6" dur="750" fill="hold"/>
                                        <p:tgtEl>
                                          <p:spTgt spid="84"/>
                                        </p:tgtEl>
                                        <p:attrNameLst>
                                          <p:attrName>ppt_x</p:attrName>
                                          <p:attrName>ppt_y</p:attrName>
                                        </p:attrNameLst>
                                      </p:cBhvr>
                                      <p:rCtr x="6702" y="-45"/>
                                    </p:animMotion>
                                  </p:childTnLst>
                                </p:cTn>
                              </p:par>
                            </p:childTnLst>
                          </p:cTn>
                        </p:par>
                        <p:par>
                          <p:cTn id="7" fill="hold">
                            <p:stCondLst>
                              <p:cond delay="750"/>
                            </p:stCondLst>
                            <p:childTnLst>
                              <p:par>
                                <p:cTn id="8" presetID="42" presetClass="path" presetSubtype="0" accel="50000" decel="50000" fill="hold" grpId="0" nodeType="afterEffect">
                                  <p:stCondLst>
                                    <p:cond delay="0"/>
                                  </p:stCondLst>
                                  <p:childTnLst>
                                    <p:animMotion origin="layout" path="M -2.24151E-6 1.80663E-6 L 0.20743 -0.0025 " pathEditMode="relative" rAng="0" ptsTypes="AA">
                                      <p:cBhvr>
                                        <p:cTn id="9" dur="750" fill="hold"/>
                                        <p:tgtEl>
                                          <p:spTgt spid="85"/>
                                        </p:tgtEl>
                                        <p:attrNameLst>
                                          <p:attrName>ppt_x</p:attrName>
                                          <p:attrName>ppt_y</p:attrName>
                                        </p:attrNameLst>
                                      </p:cBhvr>
                                      <p:rCtr x="10365" y="-136"/>
                                    </p:animMotion>
                                  </p:childTnLst>
                                </p:cTn>
                              </p:par>
                            </p:childTnLst>
                          </p:cTn>
                        </p:par>
                        <p:par>
                          <p:cTn id="10" fill="hold">
                            <p:stCondLst>
                              <p:cond delay="1500"/>
                            </p:stCondLst>
                            <p:childTnLst>
                              <p:par>
                                <p:cTn id="11" presetID="42" presetClass="path" presetSubtype="0" accel="50000" decel="50000" fill="hold" grpId="0" nodeType="afterEffect">
                                  <p:stCondLst>
                                    <p:cond delay="0"/>
                                  </p:stCondLst>
                                  <p:childTnLst>
                                    <p:animMotion origin="layout" path="M -3.85754E-6 1.80663E-6 L 0.27087 -0.00091 " pathEditMode="relative" rAng="0" ptsTypes="AA">
                                      <p:cBhvr>
                                        <p:cTn id="12" dur="750" fill="hold"/>
                                        <p:tgtEl>
                                          <p:spTgt spid="86"/>
                                        </p:tgtEl>
                                        <p:attrNameLst>
                                          <p:attrName>ppt_x</p:attrName>
                                          <p:attrName>ppt_y</p:attrName>
                                        </p:attrNameLst>
                                      </p:cBhvr>
                                      <p:rCtr x="13544" y="-45"/>
                                    </p:animMotion>
                                  </p:childTnLst>
                                </p:cTn>
                              </p:par>
                            </p:childTnLst>
                          </p:cTn>
                        </p:par>
                        <p:par>
                          <p:cTn id="13" fill="hold">
                            <p:stCondLst>
                              <p:cond delay="2250"/>
                            </p:stCondLst>
                            <p:childTnLst>
                              <p:par>
                                <p:cTn id="14" presetID="42" presetClass="path" presetSubtype="0" accel="50000" decel="50000" fill="hold" grpId="0" nodeType="afterEffect">
                                  <p:stCondLst>
                                    <p:cond delay="0"/>
                                  </p:stCondLst>
                                  <p:childTnLst>
                                    <p:animMotion origin="layout" path="M 2.69083E-6 1.80663E-6 L 0.34963 0.00068 " pathEditMode="relative" rAng="0" ptsTypes="AA">
                                      <p:cBhvr>
                                        <p:cTn id="15" dur="750" fill="hold"/>
                                        <p:tgtEl>
                                          <p:spTgt spid="87"/>
                                        </p:tgtEl>
                                        <p:attrNameLst>
                                          <p:attrName>ppt_x</p:attrName>
                                          <p:attrName>ppt_y</p:attrName>
                                        </p:attrNameLst>
                                      </p:cBhvr>
                                      <p:rCtr x="17475"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4" grpId="0" animBg="1"/>
      <p:bldP spid="85" grpId="0" animBg="1"/>
      <p:bldP spid="86" grpId="0" animBg="1"/>
      <p:bldP spid="87" grpId="0" animBg="1"/>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fr-FR" dirty="0" smtClean="0"/>
              <a:t>Une nouvelle solution : </a:t>
            </a:r>
            <a:r>
              <a:rPr lang="fr-FR" dirty="0" err="1" smtClean="0"/>
              <a:t>Elastic</a:t>
            </a:r>
            <a:r>
              <a:rPr lang="fr-FR" dirty="0" smtClean="0"/>
              <a:t> Database Jobs</a:t>
            </a:r>
            <a:endParaRPr lang="fr-FR" dirty="0"/>
          </a:p>
        </p:txBody>
      </p:sp>
      <p:sp>
        <p:nvSpPr>
          <p:cNvPr id="8" name="Rounded Rectangle 7"/>
          <p:cNvSpPr/>
          <p:nvPr/>
        </p:nvSpPr>
        <p:spPr bwMode="auto">
          <a:xfrm>
            <a:off x="10162540" y="2201118"/>
            <a:ext cx="2001663" cy="571270"/>
          </a:xfrm>
          <a:prstGeom prst="round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3704" rIns="0" bIns="43704" numCol="1" rtlCol="0" anchor="ctr" anchorCtr="0" compatLnSpc="1">
            <a:prstTxWarp prst="textNoShape">
              <a:avLst/>
            </a:prstTxWarp>
          </a:bodyPr>
          <a:lstStyle/>
          <a:p>
            <a:pPr algn="ctr" defTabSz="873886" fontAlgn="base">
              <a:spcBef>
                <a:spcPct val="0"/>
              </a:spcBef>
              <a:spcAft>
                <a:spcPct val="0"/>
              </a:spcAft>
            </a:pPr>
            <a:r>
              <a:rPr lang="fr-FR" sz="2249" b="1" dirty="0" err="1">
                <a:gradFill>
                  <a:gsLst>
                    <a:gs pos="0">
                      <a:srgbClr val="FFFFFF"/>
                    </a:gs>
                    <a:gs pos="100000">
                      <a:srgbClr val="FFFFFF"/>
                    </a:gs>
                  </a:gsLst>
                  <a:lin ang="5400000" scaled="0"/>
                </a:gradFill>
              </a:rPr>
              <a:t>Preview</a:t>
            </a:r>
            <a:endParaRPr lang="fr-FR" sz="2343" b="1" dirty="0">
              <a:gradFill>
                <a:gsLst>
                  <a:gs pos="0">
                    <a:srgbClr val="FFFFFF"/>
                  </a:gs>
                  <a:gs pos="100000">
                    <a:srgbClr val="FFFFFF"/>
                  </a:gs>
                </a:gsLst>
                <a:lin ang="5400000" scaled="0"/>
              </a:gradFill>
            </a:endParaRPr>
          </a:p>
        </p:txBody>
      </p:sp>
      <p:sp>
        <p:nvSpPr>
          <p:cNvPr id="2" name="Text Placeholder 1"/>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sp>
        <p:nvSpPr>
          <p:cNvPr id="6" name="Text Placeholder 4"/>
          <p:cNvSpPr txBox="1">
            <a:spLocks/>
          </p:cNvSpPr>
          <p:nvPr/>
        </p:nvSpPr>
        <p:spPr>
          <a:xfrm>
            <a:off x="1333153" y="1586683"/>
            <a:ext cx="10246233" cy="4947893"/>
          </a:xfrm>
          <a:prstGeom prst="rect">
            <a:avLst/>
          </a:prstGeom>
        </p:spPr>
        <p:txBody>
          <a:bodyPr>
            <a:normAutofit fontScale="92500" lnSpcReduction="20000"/>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fr-FR" dirty="0"/>
              <a:t>Mise</a:t>
            </a:r>
            <a:r>
              <a:rPr lang="fr-FR"/>
              <a:t> </a:t>
            </a:r>
            <a:r>
              <a:rPr lang="fr-FR" dirty="0"/>
              <a:t>en </a:t>
            </a:r>
            <a:r>
              <a:rPr lang="fr-FR"/>
              <a:t>œuvre de changements ou </a:t>
            </a:r>
            <a:r>
              <a:rPr lang="fr-FR" dirty="0"/>
              <a:t>application</a:t>
            </a:r>
            <a:r>
              <a:rPr lang="fr-FR"/>
              <a:t> d’opérations </a:t>
            </a:r>
            <a:r>
              <a:rPr lang="fr-FR" dirty="0"/>
              <a:t>administratives à de multiples </a:t>
            </a:r>
            <a:r>
              <a:rPr lang="fr-FR" dirty="0" err="1"/>
              <a:t>databases</a:t>
            </a:r>
            <a:r>
              <a:rPr lang="fr-FR" dirty="0"/>
              <a:t> </a:t>
            </a:r>
          </a:p>
          <a:p>
            <a:r>
              <a:rPr lang="fr-FR" dirty="0"/>
              <a:t>Utilisation de scripts </a:t>
            </a:r>
            <a:r>
              <a:rPr lang="fr-FR"/>
              <a:t>T-SQL </a:t>
            </a:r>
            <a:r>
              <a:rPr lang="fr-FR" dirty="0"/>
              <a:t>«</a:t>
            </a:r>
            <a:r>
              <a:rPr lang="fr-FR"/>
              <a:t> classiques</a:t>
            </a:r>
            <a:r>
              <a:rPr lang="fr-FR" dirty="0"/>
              <a:t>»</a:t>
            </a:r>
            <a:r>
              <a:rPr lang="fr-FR"/>
              <a:t> </a:t>
            </a:r>
            <a:r>
              <a:rPr lang="fr-FR" dirty="0"/>
              <a:t>pour définir les jobs</a:t>
            </a:r>
          </a:p>
          <a:p>
            <a:r>
              <a:rPr lang="fr-FR" dirty="0"/>
              <a:t>Intégration native d’une logique de « </a:t>
            </a:r>
            <a:r>
              <a:rPr lang="fr-FR" dirty="0" err="1"/>
              <a:t>retry</a:t>
            </a:r>
            <a:r>
              <a:rPr lang="fr-FR" dirty="0"/>
              <a:t> » pour la gestion des erreurs de transition</a:t>
            </a:r>
          </a:p>
          <a:p>
            <a:r>
              <a:rPr lang="fr-FR" dirty="0"/>
              <a:t>Forte intégration avec les </a:t>
            </a:r>
            <a:r>
              <a:rPr lang="fr-FR" dirty="0" err="1"/>
              <a:t>Elastic</a:t>
            </a:r>
            <a:r>
              <a:rPr lang="fr-FR" dirty="0"/>
              <a:t> Pools depuis le nouveau portail Azure</a:t>
            </a:r>
          </a:p>
          <a:p>
            <a:r>
              <a:rPr lang="fr-FR" dirty="0"/>
              <a:t>Solution</a:t>
            </a:r>
            <a:r>
              <a:rPr lang="fr-FR"/>
              <a:t> </a:t>
            </a:r>
            <a:r>
              <a:rPr lang="fr-FR" dirty="0"/>
              <a:t>conçu </a:t>
            </a:r>
            <a:r>
              <a:rPr lang="fr-FR"/>
              <a:t>epour le </a:t>
            </a:r>
            <a:r>
              <a:rPr lang="fr-FR" dirty="0"/>
              <a:t>traitement batch</a:t>
            </a:r>
          </a:p>
        </p:txBody>
      </p:sp>
    </p:spTree>
    <p:extLst>
      <p:ext uri="{BB962C8B-B14F-4D97-AF65-F5344CB8AC3E}">
        <p14:creationId xmlns:p14="http://schemas.microsoft.com/office/powerpoint/2010/main" val="1221898084"/>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sp>
        <p:nvSpPr>
          <p:cNvPr id="3" name="Title 2"/>
          <p:cNvSpPr>
            <a:spLocks noGrp="1"/>
          </p:cNvSpPr>
          <p:nvPr>
            <p:ph type="title"/>
          </p:nvPr>
        </p:nvSpPr>
        <p:spPr/>
        <p:txBody>
          <a:bodyPr/>
          <a:lstStyle/>
          <a:p>
            <a:r>
              <a:rPr lang="fr-FR" dirty="0" smtClean="0"/>
              <a:t>La base du </a:t>
            </a:r>
            <a:r>
              <a:rPr lang="fr-FR" dirty="0" err="1" smtClean="0"/>
              <a:t>noSQL</a:t>
            </a:r>
            <a:endParaRPr lang="fr-FR" dirty="0"/>
          </a:p>
        </p:txBody>
      </p:sp>
      <p:grpSp>
        <p:nvGrpSpPr>
          <p:cNvPr id="45" name="Group 44"/>
          <p:cNvGrpSpPr/>
          <p:nvPr/>
        </p:nvGrpSpPr>
        <p:grpSpPr>
          <a:xfrm>
            <a:off x="6401356" y="4932020"/>
            <a:ext cx="4874509" cy="934364"/>
            <a:chOff x="6597106" y="4404142"/>
            <a:chExt cx="4779364" cy="916125"/>
          </a:xfrm>
        </p:grpSpPr>
        <p:pic>
          <p:nvPicPr>
            <p:cNvPr id="83" name="Picture 82"/>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6597106" y="4429732"/>
              <a:ext cx="1444739" cy="8905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4" name="Picture 83"/>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8237738" y="4411869"/>
              <a:ext cx="1444739" cy="8905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5" name="Picture 84"/>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9931731" y="4404142"/>
              <a:ext cx="1444739" cy="8905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46" name="Group 45"/>
          <p:cNvGrpSpPr/>
          <p:nvPr/>
        </p:nvGrpSpPr>
        <p:grpSpPr>
          <a:xfrm>
            <a:off x="6318636" y="2283545"/>
            <a:ext cx="5335175" cy="3029409"/>
            <a:chOff x="6516001" y="1807368"/>
            <a:chExt cx="5231039" cy="2970278"/>
          </a:xfrm>
        </p:grpSpPr>
        <p:sp>
          <p:nvSpPr>
            <p:cNvPr id="64" name="Rectangle 63"/>
            <p:cNvSpPr/>
            <p:nvPr/>
          </p:nvSpPr>
          <p:spPr bwMode="auto">
            <a:xfrm>
              <a:off x="6516001" y="2246887"/>
              <a:ext cx="5231039" cy="1913337"/>
            </a:xfrm>
            <a:prstGeom prst="rect">
              <a:avLst/>
            </a:prstGeom>
            <a:solidFill>
              <a:srgbClr val="002050">
                <a:shade val="80000"/>
                <a:satMod val="180000"/>
              </a:srgbClr>
            </a:solidFill>
            <a:ln>
              <a:noFill/>
              <a:headEnd type="none" w="med" len="med"/>
              <a:tailEnd type="none" w="med" len="med"/>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p:spPr>
          <p:txBody>
            <a:bodyPr vert="horz" wrap="square" lIns="124320" tIns="62160" rIns="124320" bIns="62160"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251" rtl="0" eaLnBrk="1" fontAlgn="base" latinLnBrk="0" hangingPunct="1">
                <a:lnSpc>
                  <a:spcPct val="100000"/>
                </a:lnSpc>
                <a:spcBef>
                  <a:spcPct val="0"/>
                </a:spcBef>
                <a:spcAft>
                  <a:spcPct val="0"/>
                </a:spcAft>
                <a:buClrTx/>
                <a:buSzTx/>
                <a:buFontTx/>
                <a:buNone/>
                <a:tabLst/>
                <a:defRPr/>
              </a:pPr>
              <a:endParaRPr kumimoji="0" lang="en-US" sz="2346" b="0" i="0" u="none" strike="noStrike" kern="1200" cap="none" spc="0" normalizeH="0" baseline="0" noProof="0" dirty="0">
                <a:ln>
                  <a:noFill/>
                </a:ln>
                <a:solidFill>
                  <a:srgbClr val="FFFFFF"/>
                </a:solidFill>
                <a:effectLst/>
                <a:uLnTx/>
                <a:uFillTx/>
                <a:latin typeface="Segoe UI" pitchFamily="34" charset="0"/>
                <a:ea typeface="Segoe UI" pitchFamily="34" charset="0"/>
                <a:cs typeface="Segoe UI" pitchFamily="34" charset="0"/>
              </a:endParaRPr>
            </a:p>
          </p:txBody>
        </p:sp>
        <p:sp>
          <p:nvSpPr>
            <p:cNvPr id="65" name="Rectangle 64"/>
            <p:cNvSpPr/>
            <p:nvPr/>
          </p:nvSpPr>
          <p:spPr bwMode="auto">
            <a:xfrm>
              <a:off x="6688707" y="2755679"/>
              <a:ext cx="1414892" cy="1265921"/>
            </a:xfrm>
            <a:prstGeom prst="rect">
              <a:avLst/>
            </a:prstGeom>
            <a:noFill/>
            <a:ln w="19050" cap="flat" cmpd="sng" algn="ctr">
              <a:solidFill>
                <a:srgbClr val="FFFFFF"/>
              </a:solidFill>
              <a:prstDash val="solid"/>
              <a:round/>
              <a:headEnd type="none" w="med" len="med"/>
              <a:tailEnd type="none" w="med" len="med"/>
            </a:ln>
            <a:effectLst/>
          </p:spPr>
          <p:txBody>
            <a:bodyPr vert="horz" wrap="none" lIns="124326" tIns="62162" rIns="124326" bIns="62162"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518" rtl="0" eaLnBrk="1" fontAlgn="base" latinLnBrk="0" hangingPunct="1">
                <a:lnSpc>
                  <a:spcPct val="100000"/>
                </a:lnSpc>
                <a:spcBef>
                  <a:spcPct val="0"/>
                </a:spcBef>
                <a:spcAft>
                  <a:spcPct val="0"/>
                </a:spcAft>
                <a:buClrTx/>
                <a:buSzTx/>
                <a:buFontTx/>
                <a:buNone/>
                <a:tabLst/>
                <a:defRPr/>
              </a:pPr>
              <a:r>
                <a:rPr kumimoji="0" lang="en-US" sz="2142" b="0" i="0" u="none" strike="noStrike" kern="1200" cap="none" spc="0" normalizeH="0" baseline="0" noProof="0" dirty="0">
                  <a:ln>
                    <a:noFill/>
                  </a:ln>
                  <a:solidFill>
                    <a:srgbClr val="FFFFFF"/>
                  </a:solidFill>
                  <a:effectLst/>
                  <a:uLnTx/>
                  <a:uFillTx/>
                  <a:latin typeface="Segoe UI" pitchFamily="34" charset="0"/>
                  <a:ea typeface="+mn-ea"/>
                  <a:cs typeface="Segoe UI" pitchFamily="34" charset="0"/>
                </a:rPr>
                <a:t> </a:t>
              </a:r>
            </a:p>
          </p:txBody>
        </p:sp>
        <p:sp>
          <p:nvSpPr>
            <p:cNvPr id="66" name="TextBox 80"/>
            <p:cNvSpPr txBox="1"/>
            <p:nvPr/>
          </p:nvSpPr>
          <p:spPr>
            <a:xfrm>
              <a:off x="6688707" y="2364669"/>
              <a:ext cx="1414892" cy="391917"/>
            </a:xfrm>
            <a:prstGeom prst="rect">
              <a:avLst/>
            </a:prstGeom>
            <a:noFill/>
          </p:spPr>
          <p:txBody>
            <a:bodyPr wrap="none" lIns="124326" tIns="62162" rIns="124326" bIns="62162" rtlCol="0">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
                  <a:srgbClr val="FFFFFF"/>
                </a:buClr>
                <a:buSzTx/>
                <a:buFontTx/>
                <a:buNone/>
                <a:tabLst/>
                <a:defRPr/>
              </a:pPr>
              <a:r>
                <a:rPr kumimoji="0" lang="en-US" sz="1836" b="1" i="1" u="none" strike="noStrike" kern="1200" cap="none" spc="0" normalizeH="0" baseline="0" noProof="0" dirty="0" smtClean="0">
                  <a:ln>
                    <a:noFill/>
                  </a:ln>
                  <a:solidFill>
                    <a:srgbClr val="FFFFFF"/>
                  </a:solidFill>
                  <a:effectLst/>
                  <a:uLnTx/>
                  <a:uFillTx/>
                  <a:latin typeface="Segoe UI" pitchFamily="34" charset="0"/>
                  <a:ea typeface="+mn-ea"/>
                  <a:cs typeface="Segoe UI" pitchFamily="34" charset="0"/>
                </a:rPr>
                <a:t>Shard 1 </a:t>
              </a:r>
              <a:endParaRPr kumimoji="0" lang="en-US" sz="1836" b="1" i="1" u="none" strike="noStrike" kern="1200" cap="none" spc="0" normalizeH="0" baseline="0" noProof="0" dirty="0">
                <a:ln>
                  <a:noFill/>
                </a:ln>
                <a:solidFill>
                  <a:srgbClr val="FFFFFF"/>
                </a:solidFill>
                <a:effectLst/>
                <a:uLnTx/>
                <a:uFillTx/>
                <a:latin typeface="Segoe UI" pitchFamily="34" charset="0"/>
                <a:ea typeface="+mn-ea"/>
                <a:cs typeface="Segoe UI" pitchFamily="34" charset="0"/>
              </a:endParaRPr>
            </a:p>
          </p:txBody>
        </p:sp>
        <p:sp>
          <p:nvSpPr>
            <p:cNvPr id="67" name="Trapezoid 3"/>
            <p:cNvSpPr/>
            <p:nvPr/>
          </p:nvSpPr>
          <p:spPr>
            <a:xfrm rot="10800000">
              <a:off x="6665017" y="4050561"/>
              <a:ext cx="1438582" cy="727085"/>
            </a:xfrm>
            <a:custGeom>
              <a:avLst/>
              <a:gdLst>
                <a:gd name="connsiteX0" fmla="*/ 0 w 2873363"/>
                <a:gd name="connsiteY0" fmla="*/ 2254723 h 2254723"/>
                <a:gd name="connsiteX1" fmla="*/ 1275001 w 2873363"/>
                <a:gd name="connsiteY1" fmla="*/ 0 h 2254723"/>
                <a:gd name="connsiteX2" fmla="*/ 1598362 w 2873363"/>
                <a:gd name="connsiteY2" fmla="*/ 0 h 2254723"/>
                <a:gd name="connsiteX3" fmla="*/ 2873363 w 2873363"/>
                <a:gd name="connsiteY3" fmla="*/ 2254723 h 2254723"/>
                <a:gd name="connsiteX4" fmla="*/ 0 w 2873363"/>
                <a:gd name="connsiteY4" fmla="*/ 2254723 h 2254723"/>
                <a:gd name="connsiteX0" fmla="*/ 0 w 2781326"/>
                <a:gd name="connsiteY0" fmla="*/ 2254723 h 3471665"/>
                <a:gd name="connsiteX1" fmla="*/ 1275001 w 2781326"/>
                <a:gd name="connsiteY1" fmla="*/ 0 h 3471665"/>
                <a:gd name="connsiteX2" fmla="*/ 1598362 w 2781326"/>
                <a:gd name="connsiteY2" fmla="*/ 0 h 3471665"/>
                <a:gd name="connsiteX3" fmla="*/ 2781326 w 2781326"/>
                <a:gd name="connsiteY3" fmla="*/ 3471665 h 3471665"/>
                <a:gd name="connsiteX4" fmla="*/ 0 w 2781326"/>
                <a:gd name="connsiteY4" fmla="*/ 2254723 h 3471665"/>
                <a:gd name="connsiteX0" fmla="*/ 0 w 2781326"/>
                <a:gd name="connsiteY0" fmla="*/ 2585015 h 3801957"/>
                <a:gd name="connsiteX1" fmla="*/ 1275001 w 2781326"/>
                <a:gd name="connsiteY1" fmla="*/ 330292 h 3801957"/>
                <a:gd name="connsiteX2" fmla="*/ 1926292 w 2781326"/>
                <a:gd name="connsiteY2" fmla="*/ 0 h 3801957"/>
                <a:gd name="connsiteX3" fmla="*/ 2781326 w 2781326"/>
                <a:gd name="connsiteY3" fmla="*/ 3801957 h 3801957"/>
                <a:gd name="connsiteX4" fmla="*/ 0 w 2781326"/>
                <a:gd name="connsiteY4" fmla="*/ 2585015 h 3801957"/>
                <a:gd name="connsiteX0" fmla="*/ 0 w 2781326"/>
                <a:gd name="connsiteY0" fmla="*/ 2585015 h 3801957"/>
                <a:gd name="connsiteX1" fmla="*/ 628002 w 2781326"/>
                <a:gd name="connsiteY1" fmla="*/ 355906 h 3801957"/>
                <a:gd name="connsiteX2" fmla="*/ 1926292 w 2781326"/>
                <a:gd name="connsiteY2" fmla="*/ 0 h 3801957"/>
                <a:gd name="connsiteX3" fmla="*/ 2781326 w 2781326"/>
                <a:gd name="connsiteY3" fmla="*/ 3801957 h 3801957"/>
                <a:gd name="connsiteX4" fmla="*/ 0 w 2781326"/>
                <a:gd name="connsiteY4" fmla="*/ 2585015 h 3801957"/>
                <a:gd name="connsiteX0" fmla="*/ 54973 w 2153324"/>
                <a:gd name="connsiteY0" fmla="*/ 1636130 h 3801957"/>
                <a:gd name="connsiteX1" fmla="*/ 0 w 2153324"/>
                <a:gd name="connsiteY1" fmla="*/ 355906 h 3801957"/>
                <a:gd name="connsiteX2" fmla="*/ 1298290 w 2153324"/>
                <a:gd name="connsiteY2" fmla="*/ 0 h 3801957"/>
                <a:gd name="connsiteX3" fmla="*/ 2153324 w 2153324"/>
                <a:gd name="connsiteY3" fmla="*/ 3801957 h 3801957"/>
                <a:gd name="connsiteX4" fmla="*/ 54973 w 2153324"/>
                <a:gd name="connsiteY4" fmla="*/ 1636130 h 3801957"/>
                <a:gd name="connsiteX0" fmla="*/ 0 w 3489111"/>
                <a:gd name="connsiteY0" fmla="*/ 2829177 h 3801957"/>
                <a:gd name="connsiteX1" fmla="*/ 1335787 w 3489111"/>
                <a:gd name="connsiteY1" fmla="*/ 355906 h 3801957"/>
                <a:gd name="connsiteX2" fmla="*/ 2634077 w 3489111"/>
                <a:gd name="connsiteY2" fmla="*/ 0 h 3801957"/>
                <a:gd name="connsiteX3" fmla="*/ 3489111 w 3489111"/>
                <a:gd name="connsiteY3" fmla="*/ 3801957 h 3801957"/>
                <a:gd name="connsiteX4" fmla="*/ 0 w 3489111"/>
                <a:gd name="connsiteY4" fmla="*/ 2829177 h 3801957"/>
                <a:gd name="connsiteX0" fmla="*/ 0 w 3217787"/>
                <a:gd name="connsiteY0" fmla="*/ 3077213 h 3801957"/>
                <a:gd name="connsiteX1" fmla="*/ 1064463 w 3217787"/>
                <a:gd name="connsiteY1" fmla="*/ 355906 h 3801957"/>
                <a:gd name="connsiteX2" fmla="*/ 2362753 w 3217787"/>
                <a:gd name="connsiteY2" fmla="*/ 0 h 3801957"/>
                <a:gd name="connsiteX3" fmla="*/ 3217787 w 3217787"/>
                <a:gd name="connsiteY3" fmla="*/ 3801957 h 3801957"/>
                <a:gd name="connsiteX4" fmla="*/ 0 w 3217787"/>
                <a:gd name="connsiteY4" fmla="*/ 3077213 h 3801957"/>
                <a:gd name="connsiteX0" fmla="*/ 0 w 3217787"/>
                <a:gd name="connsiteY0" fmla="*/ 3077213 h 3801957"/>
                <a:gd name="connsiteX1" fmla="*/ 1679138 w 3217787"/>
                <a:gd name="connsiteY1" fmla="*/ 287222 h 3801957"/>
                <a:gd name="connsiteX2" fmla="*/ 2362753 w 3217787"/>
                <a:gd name="connsiteY2" fmla="*/ 0 h 3801957"/>
                <a:gd name="connsiteX3" fmla="*/ 3217787 w 3217787"/>
                <a:gd name="connsiteY3" fmla="*/ 3801957 h 3801957"/>
                <a:gd name="connsiteX4" fmla="*/ 0 w 3217787"/>
                <a:gd name="connsiteY4" fmla="*/ 3077213 h 3801957"/>
                <a:gd name="connsiteX0" fmla="*/ 0 w 3217787"/>
                <a:gd name="connsiteY0" fmla="*/ 3106287 h 3831031"/>
                <a:gd name="connsiteX1" fmla="*/ 2340052 w 3217787"/>
                <a:gd name="connsiteY1" fmla="*/ 0 h 3831031"/>
                <a:gd name="connsiteX2" fmla="*/ 2362753 w 3217787"/>
                <a:gd name="connsiteY2" fmla="*/ 29074 h 3831031"/>
                <a:gd name="connsiteX3" fmla="*/ 3217787 w 3217787"/>
                <a:gd name="connsiteY3" fmla="*/ 3831031 h 3831031"/>
                <a:gd name="connsiteX4" fmla="*/ 0 w 3217787"/>
                <a:gd name="connsiteY4" fmla="*/ 3106287 h 3831031"/>
                <a:gd name="connsiteX0" fmla="*/ 0 w 3107634"/>
                <a:gd name="connsiteY0" fmla="*/ 3106287 h 3106287"/>
                <a:gd name="connsiteX1" fmla="*/ 2340052 w 3107634"/>
                <a:gd name="connsiteY1" fmla="*/ 0 h 3106287"/>
                <a:gd name="connsiteX2" fmla="*/ 2362753 w 3107634"/>
                <a:gd name="connsiteY2" fmla="*/ 29074 h 3106287"/>
                <a:gd name="connsiteX3" fmla="*/ 3107634 w 3107634"/>
                <a:gd name="connsiteY3" fmla="*/ 2841328 h 3106287"/>
                <a:gd name="connsiteX4" fmla="*/ 0 w 3107634"/>
                <a:gd name="connsiteY4" fmla="*/ 3106287 h 3106287"/>
                <a:gd name="connsiteX0" fmla="*/ 0 w 3107634"/>
                <a:gd name="connsiteY0" fmla="*/ 3106287 h 3114225"/>
                <a:gd name="connsiteX1" fmla="*/ 2340052 w 3107634"/>
                <a:gd name="connsiteY1" fmla="*/ 0 h 3114225"/>
                <a:gd name="connsiteX2" fmla="*/ 2362753 w 3107634"/>
                <a:gd name="connsiteY2" fmla="*/ 29074 h 3114225"/>
                <a:gd name="connsiteX3" fmla="*/ 3107634 w 3107634"/>
                <a:gd name="connsiteY3" fmla="*/ 3114225 h 3114225"/>
                <a:gd name="connsiteX4" fmla="*/ 0 w 3107634"/>
                <a:gd name="connsiteY4" fmla="*/ 3106287 h 3114225"/>
                <a:gd name="connsiteX0" fmla="*/ 0 w 3107634"/>
                <a:gd name="connsiteY0" fmla="*/ 3106287 h 3114225"/>
                <a:gd name="connsiteX1" fmla="*/ 2340052 w 3107634"/>
                <a:gd name="connsiteY1" fmla="*/ 0 h 3114225"/>
                <a:gd name="connsiteX2" fmla="*/ 1258390 w 3107634"/>
                <a:gd name="connsiteY2" fmla="*/ 120043 h 3114225"/>
                <a:gd name="connsiteX3" fmla="*/ 3107634 w 3107634"/>
                <a:gd name="connsiteY3" fmla="*/ 3114225 h 3114225"/>
                <a:gd name="connsiteX4" fmla="*/ 0 w 3107634"/>
                <a:gd name="connsiteY4" fmla="*/ 3106287 h 3114225"/>
                <a:gd name="connsiteX0" fmla="*/ 0 w 3107634"/>
                <a:gd name="connsiteY0" fmla="*/ 2986244 h 2994182"/>
                <a:gd name="connsiteX1" fmla="*/ 1196247 w 3107634"/>
                <a:gd name="connsiteY1" fmla="*/ 16406 h 2994182"/>
                <a:gd name="connsiteX2" fmla="*/ 1258390 w 3107634"/>
                <a:gd name="connsiteY2" fmla="*/ 0 h 2994182"/>
                <a:gd name="connsiteX3" fmla="*/ 3107634 w 3107634"/>
                <a:gd name="connsiteY3" fmla="*/ 2994182 h 2994182"/>
                <a:gd name="connsiteX4" fmla="*/ 0 w 3107634"/>
                <a:gd name="connsiteY4" fmla="*/ 2986244 h 2994182"/>
                <a:gd name="connsiteX0" fmla="*/ 0 w 3107634"/>
                <a:gd name="connsiteY0" fmla="*/ 2969838 h 2977776"/>
                <a:gd name="connsiteX1" fmla="*/ 1196247 w 3107634"/>
                <a:gd name="connsiteY1" fmla="*/ 0 h 2977776"/>
                <a:gd name="connsiteX2" fmla="*/ 922227 w 3107634"/>
                <a:gd name="connsiteY2" fmla="*/ 134 h 2977776"/>
                <a:gd name="connsiteX3" fmla="*/ 3107634 w 3107634"/>
                <a:gd name="connsiteY3" fmla="*/ 2977776 h 2977776"/>
                <a:gd name="connsiteX4" fmla="*/ 0 w 3107634"/>
                <a:gd name="connsiteY4" fmla="*/ 2969838 h 2977776"/>
                <a:gd name="connsiteX0" fmla="*/ 0 w 3107634"/>
                <a:gd name="connsiteY0" fmla="*/ 2986378 h 2994316"/>
                <a:gd name="connsiteX1" fmla="*/ 927320 w 3107634"/>
                <a:gd name="connsiteY1" fmla="*/ 0 h 2994316"/>
                <a:gd name="connsiteX2" fmla="*/ 922227 w 3107634"/>
                <a:gd name="connsiteY2" fmla="*/ 16674 h 2994316"/>
                <a:gd name="connsiteX3" fmla="*/ 3107634 w 3107634"/>
                <a:gd name="connsiteY3" fmla="*/ 2994316 h 2994316"/>
                <a:gd name="connsiteX4" fmla="*/ 0 w 3107634"/>
                <a:gd name="connsiteY4" fmla="*/ 2986378 h 2994316"/>
                <a:gd name="connsiteX0" fmla="*/ 0 w 3107634"/>
                <a:gd name="connsiteY0" fmla="*/ 3020300 h 3028238"/>
                <a:gd name="connsiteX1" fmla="*/ 927320 w 3107634"/>
                <a:gd name="connsiteY1" fmla="*/ 33922 h 3028238"/>
                <a:gd name="connsiteX2" fmla="*/ 899376 w 3107634"/>
                <a:gd name="connsiteY2" fmla="*/ 0 h 3028238"/>
                <a:gd name="connsiteX3" fmla="*/ 3107634 w 3107634"/>
                <a:gd name="connsiteY3" fmla="*/ 3028238 h 3028238"/>
                <a:gd name="connsiteX4" fmla="*/ 0 w 3107634"/>
                <a:gd name="connsiteY4" fmla="*/ 3020300 h 3028238"/>
                <a:gd name="connsiteX0" fmla="*/ 0 w 3107634"/>
                <a:gd name="connsiteY0" fmla="*/ 2986377 h 2994315"/>
                <a:gd name="connsiteX1" fmla="*/ 927320 w 3107634"/>
                <a:gd name="connsiteY1" fmla="*/ -1 h 2994315"/>
                <a:gd name="connsiteX2" fmla="*/ 1801044 w 3107634"/>
                <a:gd name="connsiteY2" fmla="*/ 770870 h 2994315"/>
                <a:gd name="connsiteX3" fmla="*/ 3107634 w 3107634"/>
                <a:gd name="connsiteY3" fmla="*/ 2994315 h 2994315"/>
                <a:gd name="connsiteX4" fmla="*/ 0 w 3107634"/>
                <a:gd name="connsiteY4" fmla="*/ 2986377 h 2994315"/>
                <a:gd name="connsiteX0" fmla="*/ 0 w 3107634"/>
                <a:gd name="connsiteY0" fmla="*/ 2215506 h 2223444"/>
                <a:gd name="connsiteX1" fmla="*/ 1726911 w 3107634"/>
                <a:gd name="connsiteY1" fmla="*/ 60747 h 2223444"/>
                <a:gd name="connsiteX2" fmla="*/ 1801044 w 3107634"/>
                <a:gd name="connsiteY2" fmla="*/ -1 h 2223444"/>
                <a:gd name="connsiteX3" fmla="*/ 3107634 w 3107634"/>
                <a:gd name="connsiteY3" fmla="*/ 2223444 h 2223444"/>
                <a:gd name="connsiteX4" fmla="*/ 0 w 3107634"/>
                <a:gd name="connsiteY4" fmla="*/ 2215506 h 2223444"/>
                <a:gd name="connsiteX0" fmla="*/ 0 w 3107634"/>
                <a:gd name="connsiteY0" fmla="*/ 2241089 h 2249027"/>
                <a:gd name="connsiteX1" fmla="*/ 1797302 w 3107634"/>
                <a:gd name="connsiteY1" fmla="*/ 0 h 2249027"/>
                <a:gd name="connsiteX2" fmla="*/ 1801044 w 3107634"/>
                <a:gd name="connsiteY2" fmla="*/ 25582 h 2249027"/>
                <a:gd name="connsiteX3" fmla="*/ 3107634 w 3107634"/>
                <a:gd name="connsiteY3" fmla="*/ 2249027 h 2249027"/>
                <a:gd name="connsiteX4" fmla="*/ 0 w 3107634"/>
                <a:gd name="connsiteY4" fmla="*/ 2241089 h 2249027"/>
                <a:gd name="connsiteX0" fmla="*/ 0 w 3138919"/>
                <a:gd name="connsiteY0" fmla="*/ 2241089 h 2241089"/>
                <a:gd name="connsiteX1" fmla="*/ 1797302 w 3138919"/>
                <a:gd name="connsiteY1" fmla="*/ 0 h 2241089"/>
                <a:gd name="connsiteX2" fmla="*/ 1801044 w 3138919"/>
                <a:gd name="connsiteY2" fmla="*/ 25582 h 2241089"/>
                <a:gd name="connsiteX3" fmla="*/ 3138919 w 3138919"/>
                <a:gd name="connsiteY3" fmla="*/ 2187363 h 2241089"/>
                <a:gd name="connsiteX4" fmla="*/ 0 w 3138919"/>
                <a:gd name="connsiteY4" fmla="*/ 2241089 h 2241089"/>
                <a:gd name="connsiteX0" fmla="*/ 0 w 3107634"/>
                <a:gd name="connsiteY0" fmla="*/ 2191761 h 2191761"/>
                <a:gd name="connsiteX1" fmla="*/ 1766017 w 3107634"/>
                <a:gd name="connsiteY1" fmla="*/ 0 h 2191761"/>
                <a:gd name="connsiteX2" fmla="*/ 1769759 w 3107634"/>
                <a:gd name="connsiteY2" fmla="*/ 25582 h 2191761"/>
                <a:gd name="connsiteX3" fmla="*/ 3107634 w 3107634"/>
                <a:gd name="connsiteY3" fmla="*/ 2187363 h 2191761"/>
                <a:gd name="connsiteX4" fmla="*/ 0 w 3107634"/>
                <a:gd name="connsiteY4" fmla="*/ 2191761 h 21917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7634" h="2191761">
                  <a:moveTo>
                    <a:pt x="0" y="2191761"/>
                  </a:moveTo>
                  <a:lnTo>
                    <a:pt x="1766017" y="0"/>
                  </a:lnTo>
                  <a:lnTo>
                    <a:pt x="1769759" y="25582"/>
                  </a:lnTo>
                  <a:lnTo>
                    <a:pt x="3107634" y="2187363"/>
                  </a:lnTo>
                  <a:lnTo>
                    <a:pt x="0" y="2191761"/>
                  </a:lnTo>
                  <a:close/>
                </a:path>
              </a:pathLst>
            </a:custGeom>
            <a:gradFill>
              <a:gsLst>
                <a:gs pos="0">
                  <a:srgbClr val="D83B01">
                    <a:tint val="66000"/>
                    <a:satMod val="160000"/>
                    <a:alpha val="52000"/>
                  </a:srgbClr>
                </a:gs>
                <a:gs pos="50000">
                  <a:srgbClr val="D83B01">
                    <a:tint val="44500"/>
                    <a:satMod val="160000"/>
                    <a:alpha val="80000"/>
                  </a:srgbClr>
                </a:gs>
                <a:gs pos="100000">
                  <a:srgbClr val="D83B01">
                    <a:tint val="23500"/>
                    <a:satMod val="160000"/>
                    <a:alpha val="0"/>
                  </a:srgbClr>
                </a:gs>
              </a:gsLst>
              <a:lin ang="5400000" scaled="0"/>
            </a:gradFill>
            <a:ln w="10795" cap="flat" cmpd="sng" algn="ctr">
              <a:noFill/>
              <a:prstDash val="solid"/>
            </a:ln>
            <a:effectLst/>
          </p:spPr>
          <p:txBody>
            <a:bodyPr lIns="124326" tIns="62162" rIns="124326" bIns="62162"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68" name="Rectangle 67"/>
            <p:cNvSpPr/>
            <p:nvPr/>
          </p:nvSpPr>
          <p:spPr bwMode="auto">
            <a:xfrm>
              <a:off x="8299492" y="2756706"/>
              <a:ext cx="1523473" cy="1265921"/>
            </a:xfrm>
            <a:prstGeom prst="rect">
              <a:avLst/>
            </a:prstGeom>
            <a:noFill/>
            <a:ln w="19050" cap="flat" cmpd="sng" algn="ctr">
              <a:solidFill>
                <a:srgbClr val="FFFFFF"/>
              </a:solidFill>
              <a:prstDash val="solid"/>
              <a:round/>
              <a:headEnd type="none" w="med" len="med"/>
              <a:tailEnd type="none" w="med" len="med"/>
            </a:ln>
            <a:effectLst/>
          </p:spPr>
          <p:txBody>
            <a:bodyPr vert="horz" wrap="none" lIns="124326" tIns="62162" rIns="124326" bIns="62162"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518" rtl="0" eaLnBrk="1" fontAlgn="base" latinLnBrk="0" hangingPunct="1">
                <a:lnSpc>
                  <a:spcPct val="100000"/>
                </a:lnSpc>
                <a:spcBef>
                  <a:spcPct val="0"/>
                </a:spcBef>
                <a:spcAft>
                  <a:spcPct val="0"/>
                </a:spcAft>
                <a:buClrTx/>
                <a:buSzTx/>
                <a:buFontTx/>
                <a:buNone/>
                <a:tabLst/>
                <a:defRPr/>
              </a:pPr>
              <a:r>
                <a:rPr kumimoji="0" lang="en-US" sz="2142" b="0" i="0" u="none" strike="noStrike" kern="1200" cap="none" spc="0" normalizeH="0" baseline="0" noProof="0" dirty="0">
                  <a:ln>
                    <a:noFill/>
                  </a:ln>
                  <a:solidFill>
                    <a:srgbClr val="FFFFFF"/>
                  </a:solidFill>
                  <a:effectLst/>
                  <a:uLnTx/>
                  <a:uFillTx/>
                  <a:latin typeface="Segoe UI" pitchFamily="34" charset="0"/>
                  <a:ea typeface="+mn-ea"/>
                  <a:cs typeface="Segoe UI" pitchFamily="34" charset="0"/>
                </a:rPr>
                <a:t> </a:t>
              </a:r>
            </a:p>
          </p:txBody>
        </p:sp>
        <p:sp>
          <p:nvSpPr>
            <p:cNvPr id="69" name="TextBox 87"/>
            <p:cNvSpPr txBox="1"/>
            <p:nvPr/>
          </p:nvSpPr>
          <p:spPr>
            <a:xfrm>
              <a:off x="8299492" y="2364669"/>
              <a:ext cx="1523473" cy="391917"/>
            </a:xfrm>
            <a:prstGeom prst="rect">
              <a:avLst/>
            </a:prstGeom>
            <a:noFill/>
          </p:spPr>
          <p:txBody>
            <a:bodyPr wrap="none" lIns="124326" tIns="62162" rIns="124326" bIns="62162" rtlCol="0">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
                  <a:srgbClr val="FFFFFF"/>
                </a:buClr>
                <a:buSzTx/>
                <a:buFontTx/>
                <a:buNone/>
                <a:tabLst/>
                <a:defRPr/>
              </a:pPr>
              <a:r>
                <a:rPr kumimoji="0" lang="en-US" sz="1836" b="1" i="1" u="none" strike="noStrike" kern="1200" cap="none" spc="0" normalizeH="0" baseline="0" noProof="0" dirty="0" smtClean="0">
                  <a:ln>
                    <a:noFill/>
                  </a:ln>
                  <a:solidFill>
                    <a:srgbClr val="FFFFFF"/>
                  </a:solidFill>
                  <a:effectLst/>
                  <a:uLnTx/>
                  <a:uFillTx/>
                  <a:latin typeface="Segoe UI" pitchFamily="34" charset="0"/>
                  <a:ea typeface="+mn-ea"/>
                  <a:cs typeface="Segoe UI" pitchFamily="34" charset="0"/>
                </a:rPr>
                <a:t>Shard 2</a:t>
              </a:r>
              <a:endParaRPr kumimoji="0" lang="en-US" sz="1836" b="1" i="1" u="none" strike="noStrike" kern="1200" cap="none" spc="0" normalizeH="0" baseline="0" noProof="0" dirty="0">
                <a:ln>
                  <a:noFill/>
                </a:ln>
                <a:solidFill>
                  <a:srgbClr val="FFFFFF"/>
                </a:solidFill>
                <a:effectLst/>
                <a:uLnTx/>
                <a:uFillTx/>
                <a:latin typeface="Segoe UI" pitchFamily="34" charset="0"/>
                <a:ea typeface="+mn-ea"/>
                <a:cs typeface="Segoe UI" pitchFamily="34" charset="0"/>
              </a:endParaRPr>
            </a:p>
          </p:txBody>
        </p:sp>
        <p:sp>
          <p:nvSpPr>
            <p:cNvPr id="70" name="Rectangle 69"/>
            <p:cNvSpPr/>
            <p:nvPr/>
          </p:nvSpPr>
          <p:spPr bwMode="auto">
            <a:xfrm>
              <a:off x="10040224" y="2756586"/>
              <a:ext cx="1505216" cy="1265921"/>
            </a:xfrm>
            <a:prstGeom prst="rect">
              <a:avLst/>
            </a:prstGeom>
            <a:noFill/>
            <a:ln w="19050" cap="flat" cmpd="sng" algn="ctr">
              <a:solidFill>
                <a:srgbClr val="FFFFFF"/>
              </a:solidFill>
              <a:prstDash val="solid"/>
              <a:round/>
              <a:headEnd type="none" w="med" len="med"/>
              <a:tailEnd type="none" w="med" len="med"/>
            </a:ln>
            <a:effectLst/>
          </p:spPr>
          <p:txBody>
            <a:bodyPr vert="horz" wrap="none" lIns="124326" tIns="62162" rIns="124326" bIns="62162"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518" rtl="0" eaLnBrk="1" fontAlgn="base" latinLnBrk="0" hangingPunct="1">
                <a:lnSpc>
                  <a:spcPct val="100000"/>
                </a:lnSpc>
                <a:spcBef>
                  <a:spcPct val="0"/>
                </a:spcBef>
                <a:spcAft>
                  <a:spcPct val="0"/>
                </a:spcAft>
                <a:buClrTx/>
                <a:buSzTx/>
                <a:buFontTx/>
                <a:buNone/>
                <a:tabLst/>
                <a:defRPr/>
              </a:pPr>
              <a:r>
                <a:rPr kumimoji="0" lang="en-US" sz="2142" b="0" i="0" u="none" strike="noStrike" kern="1200" cap="none" spc="0" normalizeH="0" baseline="0" noProof="0" dirty="0">
                  <a:ln>
                    <a:noFill/>
                  </a:ln>
                  <a:solidFill>
                    <a:srgbClr val="FFFFFF"/>
                  </a:solidFill>
                  <a:effectLst/>
                  <a:uLnTx/>
                  <a:uFillTx/>
                  <a:latin typeface="Segoe UI" pitchFamily="34" charset="0"/>
                  <a:ea typeface="+mn-ea"/>
                  <a:cs typeface="Segoe UI" pitchFamily="34" charset="0"/>
                </a:rPr>
                <a:t> </a:t>
              </a:r>
            </a:p>
          </p:txBody>
        </p:sp>
        <p:sp>
          <p:nvSpPr>
            <p:cNvPr id="71" name="TextBox 89"/>
            <p:cNvSpPr txBox="1"/>
            <p:nvPr/>
          </p:nvSpPr>
          <p:spPr>
            <a:xfrm>
              <a:off x="10040223" y="2367646"/>
              <a:ext cx="1476735" cy="391917"/>
            </a:xfrm>
            <a:prstGeom prst="rect">
              <a:avLst/>
            </a:prstGeom>
            <a:noFill/>
          </p:spPr>
          <p:txBody>
            <a:bodyPr wrap="none" lIns="124326" tIns="62162" rIns="124326" bIns="62162" rtlCol="0">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
                  <a:srgbClr val="FFFFFF"/>
                </a:buClr>
                <a:buSzTx/>
                <a:buFontTx/>
                <a:buNone/>
                <a:tabLst/>
                <a:defRPr/>
              </a:pPr>
              <a:r>
                <a:rPr kumimoji="0" lang="en-US" sz="1836" b="1" i="1" u="none" strike="noStrike" kern="1200" cap="none" spc="0" normalizeH="0" baseline="0" noProof="0" dirty="0" smtClean="0">
                  <a:ln>
                    <a:noFill/>
                  </a:ln>
                  <a:solidFill>
                    <a:srgbClr val="FFFFFF"/>
                  </a:solidFill>
                  <a:effectLst/>
                  <a:uLnTx/>
                  <a:uFillTx/>
                  <a:latin typeface="Segoe UI" pitchFamily="34" charset="0"/>
                  <a:ea typeface="+mn-ea"/>
                  <a:cs typeface="Segoe UI" pitchFamily="34" charset="0"/>
                </a:rPr>
                <a:t>Shard 3</a:t>
              </a:r>
              <a:endParaRPr kumimoji="0" lang="en-US" sz="1836" b="1" i="1" u="none" strike="noStrike" kern="1200" cap="none" spc="0" normalizeH="0" baseline="0" noProof="0" dirty="0">
                <a:ln>
                  <a:noFill/>
                </a:ln>
                <a:solidFill>
                  <a:srgbClr val="FFFFFF"/>
                </a:solidFill>
                <a:effectLst/>
                <a:uLnTx/>
                <a:uFillTx/>
                <a:latin typeface="Segoe UI" pitchFamily="34" charset="0"/>
                <a:ea typeface="+mn-ea"/>
                <a:cs typeface="Segoe UI" pitchFamily="34" charset="0"/>
              </a:endParaRPr>
            </a:p>
          </p:txBody>
        </p:sp>
        <p:sp>
          <p:nvSpPr>
            <p:cNvPr id="72" name="TextBox 90"/>
            <p:cNvSpPr txBox="1"/>
            <p:nvPr/>
          </p:nvSpPr>
          <p:spPr>
            <a:xfrm>
              <a:off x="6516001" y="1807368"/>
              <a:ext cx="5231039" cy="457200"/>
            </a:xfrm>
            <a:prstGeom prst="rect">
              <a:avLst/>
            </a:prstGeom>
            <a:noFill/>
          </p:spPr>
          <p:txBody>
            <a:bodyPr wrap="none" lIns="124326" tIns="62162" rIns="124326" bIns="62162" rtlCol="0">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
                  <a:srgbClr val="FFFFFF"/>
                </a:buClr>
                <a:buSzTx/>
                <a:buFontTx/>
                <a:buNone/>
                <a:tabLst/>
                <a:defRPr/>
              </a:pPr>
              <a:r>
                <a:rPr kumimoji="0" lang="en-US" sz="1836" b="1" i="0" u="none" strike="noStrike" kern="1200" cap="none" spc="0" normalizeH="0" baseline="0" noProof="0" dirty="0" err="1">
                  <a:ln>
                    <a:noFill/>
                  </a:ln>
                  <a:effectLst/>
                  <a:uLnTx/>
                  <a:uFillTx/>
                  <a:latin typeface="Segoe UI" pitchFamily="34" charset="0"/>
                  <a:ea typeface="+mn-ea"/>
                  <a:cs typeface="Segoe UI" pitchFamily="34" charset="0"/>
                </a:rPr>
                <a:t>Sharded</a:t>
              </a:r>
              <a:r>
                <a:rPr kumimoji="0" lang="en-US" sz="1836" b="1" i="0" u="none" strike="noStrike" kern="1200" cap="none" spc="0" normalizeH="0" baseline="0" noProof="0" dirty="0">
                  <a:ln>
                    <a:noFill/>
                  </a:ln>
                  <a:effectLst/>
                  <a:uLnTx/>
                  <a:uFillTx/>
                  <a:latin typeface="Segoe UI" pitchFamily="34" charset="0"/>
                  <a:ea typeface="+mn-ea"/>
                  <a:cs typeface="Segoe UI" pitchFamily="34" charset="0"/>
                </a:rPr>
                <a:t> Database</a:t>
              </a:r>
            </a:p>
          </p:txBody>
        </p:sp>
        <p:sp>
          <p:nvSpPr>
            <p:cNvPr id="73" name="Rectangle 72"/>
            <p:cNvSpPr/>
            <p:nvPr/>
          </p:nvSpPr>
          <p:spPr bwMode="auto">
            <a:xfrm>
              <a:off x="6821945" y="2814391"/>
              <a:ext cx="889412" cy="323960"/>
            </a:xfrm>
            <a:prstGeom prst="rect">
              <a:avLst/>
            </a:prstGeom>
            <a:solidFill>
              <a:srgbClr val="D83B01">
                <a:shade val="80000"/>
                <a:satMod val="180000"/>
              </a:srgbClr>
            </a:solidFill>
            <a:ln w="9525" cap="flat" cmpd="sng" algn="ctr">
              <a:solidFill>
                <a:srgbClr val="D83B01"/>
              </a:solidFill>
              <a:prstDash val="solid"/>
              <a:headEnd type="none" w="med" len="med"/>
              <a:tailEnd type="none" w="med" len="med"/>
            </a:ln>
            <a:effectLst/>
          </p:spPr>
          <p:txBody>
            <a:bodyPr vert="horz" wrap="none" lIns="124326" tIns="62162" rIns="124326" bIns="62162"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l" defTabSz="932518" rtl="0" eaLnBrk="1" fontAlgn="auto" latinLnBrk="0" hangingPunct="1">
                <a:lnSpc>
                  <a:spcPct val="100000"/>
                </a:lnSpc>
                <a:spcBef>
                  <a:spcPts val="0"/>
                </a:spcBef>
                <a:spcAft>
                  <a:spcPts val="0"/>
                </a:spcAft>
                <a:buClrTx/>
                <a:buSzTx/>
                <a:buFontTx/>
                <a:buNone/>
                <a:tabLst/>
                <a:defRPr/>
              </a:pPr>
              <a:r>
                <a:rPr kumimoji="0" lang="en-US" sz="1836" b="1" i="0" u="none" strike="noStrike" kern="1200" cap="none" spc="0" normalizeH="0" baseline="0" noProof="0" dirty="0">
                  <a:ln>
                    <a:noFill/>
                  </a:ln>
                  <a:solidFill>
                    <a:srgbClr val="FFFFFF"/>
                  </a:solidFill>
                  <a:effectLst/>
                  <a:uLnTx/>
                  <a:uFillTx/>
                  <a:latin typeface="Segoe UI" pitchFamily="34" charset="0"/>
                  <a:ea typeface="+mn-ea"/>
                  <a:cs typeface="Segoe UI" pitchFamily="34" charset="0"/>
                </a:rPr>
                <a:t>Adam</a:t>
              </a:r>
            </a:p>
          </p:txBody>
        </p:sp>
        <p:sp>
          <p:nvSpPr>
            <p:cNvPr id="74" name="Rectangle 73"/>
            <p:cNvSpPr/>
            <p:nvPr/>
          </p:nvSpPr>
          <p:spPr bwMode="auto">
            <a:xfrm>
              <a:off x="6821945" y="3238108"/>
              <a:ext cx="1072085" cy="324543"/>
            </a:xfrm>
            <a:prstGeom prst="rect">
              <a:avLst/>
            </a:prstGeom>
            <a:solidFill>
              <a:srgbClr val="D83B01">
                <a:shade val="80000"/>
                <a:satMod val="180000"/>
              </a:srgbClr>
            </a:solidFill>
            <a:ln w="9525" cap="flat" cmpd="sng" algn="ctr">
              <a:solidFill>
                <a:srgbClr val="D83B01"/>
              </a:solidFill>
              <a:prstDash val="solid"/>
              <a:headEnd type="none" w="med" len="med"/>
              <a:tailEnd type="none" w="med" len="med"/>
            </a:ln>
            <a:effectLst/>
          </p:spPr>
          <p:txBody>
            <a:bodyPr vert="horz" wrap="none" lIns="124326" tIns="62162" rIns="124326" bIns="62162"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l" defTabSz="932518" rtl="0" eaLnBrk="1" fontAlgn="auto" latinLnBrk="0" hangingPunct="1">
                <a:lnSpc>
                  <a:spcPct val="100000"/>
                </a:lnSpc>
                <a:spcBef>
                  <a:spcPts val="0"/>
                </a:spcBef>
                <a:spcAft>
                  <a:spcPts val="0"/>
                </a:spcAft>
                <a:buClrTx/>
                <a:buSzTx/>
                <a:buFontTx/>
                <a:buNone/>
                <a:tabLst/>
                <a:defRPr/>
              </a:pPr>
              <a:r>
                <a:rPr kumimoji="0" lang="en-US" sz="1836" b="1" i="0" u="none" strike="noStrike" kern="1200" cap="none" spc="0" normalizeH="0" baseline="0" noProof="0" dirty="0">
                  <a:ln>
                    <a:noFill/>
                  </a:ln>
                  <a:solidFill>
                    <a:srgbClr val="FFFFFF"/>
                  </a:solidFill>
                  <a:effectLst/>
                  <a:uLnTx/>
                  <a:uFillTx/>
                  <a:latin typeface="Segoe UI" pitchFamily="34" charset="0"/>
                  <a:ea typeface="+mn-ea"/>
                  <a:cs typeface="Segoe UI" pitchFamily="34" charset="0"/>
                </a:rPr>
                <a:t>Andrew</a:t>
              </a:r>
            </a:p>
          </p:txBody>
        </p:sp>
        <p:sp>
          <p:nvSpPr>
            <p:cNvPr id="75" name="Rectangle 74"/>
            <p:cNvSpPr/>
            <p:nvPr/>
          </p:nvSpPr>
          <p:spPr bwMode="auto">
            <a:xfrm>
              <a:off x="6821945" y="3645974"/>
              <a:ext cx="1072085" cy="283670"/>
            </a:xfrm>
            <a:prstGeom prst="rect">
              <a:avLst/>
            </a:prstGeom>
            <a:solidFill>
              <a:srgbClr val="D83B01">
                <a:shade val="80000"/>
                <a:satMod val="180000"/>
              </a:srgbClr>
            </a:solidFill>
            <a:ln w="9525" cap="flat" cmpd="sng" algn="ctr">
              <a:solidFill>
                <a:srgbClr val="D83B01"/>
              </a:solidFill>
              <a:prstDash val="solid"/>
              <a:headEnd type="none" w="med" len="med"/>
              <a:tailEnd type="none" w="med" len="med"/>
            </a:ln>
            <a:effectLst/>
          </p:spPr>
          <p:txBody>
            <a:bodyPr vert="horz" wrap="none" lIns="124326" tIns="62162" rIns="124326" bIns="62162"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l" defTabSz="932518" rtl="0" eaLnBrk="1" fontAlgn="auto" latinLnBrk="0" hangingPunct="1">
                <a:lnSpc>
                  <a:spcPct val="100000"/>
                </a:lnSpc>
                <a:spcBef>
                  <a:spcPts val="0"/>
                </a:spcBef>
                <a:spcAft>
                  <a:spcPts val="0"/>
                </a:spcAft>
                <a:buClrTx/>
                <a:buSzTx/>
                <a:buFontTx/>
                <a:buNone/>
                <a:tabLst/>
                <a:defRPr/>
              </a:pPr>
              <a:r>
                <a:rPr kumimoji="0" lang="en-US" sz="1836" b="1" i="0" u="none" strike="noStrike" kern="1200" cap="none" spc="0" normalizeH="0" baseline="0" noProof="0" dirty="0">
                  <a:ln>
                    <a:noFill/>
                  </a:ln>
                  <a:solidFill>
                    <a:srgbClr val="FFFFFF"/>
                  </a:solidFill>
                  <a:effectLst/>
                  <a:uLnTx/>
                  <a:uFillTx/>
                  <a:latin typeface="Segoe UI" pitchFamily="34" charset="0"/>
                  <a:ea typeface="+mn-ea"/>
                  <a:cs typeface="Segoe UI" pitchFamily="34" charset="0"/>
                </a:rPr>
                <a:t>Anusha</a:t>
              </a:r>
            </a:p>
          </p:txBody>
        </p:sp>
        <p:sp>
          <p:nvSpPr>
            <p:cNvPr id="76" name="Rectangle 75"/>
            <p:cNvSpPr/>
            <p:nvPr/>
          </p:nvSpPr>
          <p:spPr bwMode="auto">
            <a:xfrm>
              <a:off x="8443429" y="2819105"/>
              <a:ext cx="1196863" cy="310488"/>
            </a:xfrm>
            <a:prstGeom prst="rect">
              <a:avLst/>
            </a:prstGeom>
            <a:solidFill>
              <a:srgbClr val="D83B01">
                <a:shade val="80000"/>
                <a:satMod val="180000"/>
              </a:srgbClr>
            </a:solidFill>
            <a:ln w="9525" cap="flat" cmpd="sng" algn="ctr">
              <a:solidFill>
                <a:srgbClr val="D83B01"/>
              </a:solidFill>
              <a:prstDash val="solid"/>
              <a:headEnd type="none" w="med" len="med"/>
              <a:tailEnd type="none" w="med" len="med"/>
            </a:ln>
            <a:effectLst/>
          </p:spPr>
          <p:txBody>
            <a:bodyPr vert="horz" wrap="none" lIns="124326" tIns="62162" rIns="124326" bIns="62162"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l" defTabSz="932518" rtl="0" eaLnBrk="1" fontAlgn="auto" latinLnBrk="0" hangingPunct="1">
                <a:lnSpc>
                  <a:spcPct val="100000"/>
                </a:lnSpc>
                <a:spcBef>
                  <a:spcPts val="0"/>
                </a:spcBef>
                <a:spcAft>
                  <a:spcPts val="0"/>
                </a:spcAft>
                <a:buClrTx/>
                <a:buSzTx/>
                <a:buFontTx/>
                <a:buNone/>
                <a:tabLst/>
                <a:defRPr/>
              </a:pPr>
              <a:r>
                <a:rPr kumimoji="0" lang="en-US" sz="1836" b="1" i="0" u="none" strike="noStrike" kern="1200" cap="none" spc="0" normalizeH="0" baseline="0" noProof="0" dirty="0">
                  <a:ln>
                    <a:noFill/>
                  </a:ln>
                  <a:solidFill>
                    <a:srgbClr val="FFFFFF"/>
                  </a:solidFill>
                  <a:effectLst/>
                  <a:uLnTx/>
                  <a:uFillTx/>
                  <a:latin typeface="Segoe UI" pitchFamily="34" charset="0"/>
                  <a:ea typeface="+mn-ea"/>
                  <a:cs typeface="Segoe UI" pitchFamily="34" charset="0"/>
                </a:rPr>
                <a:t>Bertrand</a:t>
              </a:r>
            </a:p>
          </p:txBody>
        </p:sp>
        <p:sp>
          <p:nvSpPr>
            <p:cNvPr id="77" name="Rectangle 76"/>
            <p:cNvSpPr/>
            <p:nvPr/>
          </p:nvSpPr>
          <p:spPr bwMode="auto">
            <a:xfrm>
              <a:off x="8443430" y="3238108"/>
              <a:ext cx="664860" cy="319589"/>
            </a:xfrm>
            <a:prstGeom prst="rect">
              <a:avLst/>
            </a:prstGeom>
            <a:solidFill>
              <a:srgbClr val="D83B01">
                <a:shade val="80000"/>
                <a:satMod val="180000"/>
              </a:srgbClr>
            </a:solidFill>
            <a:ln w="9525" cap="flat" cmpd="sng" algn="ctr">
              <a:solidFill>
                <a:srgbClr val="D83B01"/>
              </a:solidFill>
              <a:prstDash val="solid"/>
              <a:headEnd type="none" w="med" len="med"/>
              <a:tailEnd type="none" w="med" len="med"/>
            </a:ln>
            <a:effectLst/>
          </p:spPr>
          <p:txBody>
            <a:bodyPr vert="horz" wrap="none" lIns="124326" tIns="62162" rIns="124326" bIns="62162"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l" defTabSz="932518" rtl="0" eaLnBrk="1" fontAlgn="auto" latinLnBrk="0" hangingPunct="1">
                <a:lnSpc>
                  <a:spcPct val="100000"/>
                </a:lnSpc>
                <a:spcBef>
                  <a:spcPts val="0"/>
                </a:spcBef>
                <a:spcAft>
                  <a:spcPts val="0"/>
                </a:spcAft>
                <a:buClrTx/>
                <a:buSzTx/>
                <a:buFontTx/>
                <a:buNone/>
                <a:tabLst/>
                <a:defRPr/>
              </a:pPr>
              <a:r>
                <a:rPr kumimoji="0" lang="en-US" sz="1836" b="1" i="0" u="none" strike="noStrike" kern="1200" cap="none" spc="0" normalizeH="0" baseline="0" noProof="0" dirty="0">
                  <a:ln>
                    <a:noFill/>
                  </a:ln>
                  <a:solidFill>
                    <a:srgbClr val="FFFFFF"/>
                  </a:solidFill>
                  <a:effectLst/>
                  <a:uLnTx/>
                  <a:uFillTx/>
                  <a:latin typeface="Segoe UI" pitchFamily="34" charset="0"/>
                  <a:ea typeface="+mn-ea"/>
                  <a:cs typeface="Segoe UI" pitchFamily="34" charset="0"/>
                </a:rPr>
                <a:t>Bill</a:t>
              </a:r>
            </a:p>
          </p:txBody>
        </p:sp>
        <p:sp>
          <p:nvSpPr>
            <p:cNvPr id="78" name="Rectangle 77"/>
            <p:cNvSpPr/>
            <p:nvPr/>
          </p:nvSpPr>
          <p:spPr bwMode="auto">
            <a:xfrm>
              <a:off x="10173462" y="2816260"/>
              <a:ext cx="1228309" cy="313925"/>
            </a:xfrm>
            <a:prstGeom prst="rect">
              <a:avLst/>
            </a:prstGeom>
            <a:solidFill>
              <a:srgbClr val="D83B01">
                <a:shade val="80000"/>
                <a:satMod val="180000"/>
              </a:srgbClr>
            </a:solidFill>
            <a:ln w="9525" cap="flat" cmpd="sng" algn="ctr">
              <a:solidFill>
                <a:srgbClr val="D83B01"/>
              </a:solidFill>
              <a:prstDash val="solid"/>
              <a:headEnd type="none" w="med" len="med"/>
              <a:tailEnd type="none" w="med" len="med"/>
            </a:ln>
            <a:effectLst/>
          </p:spPr>
          <p:txBody>
            <a:bodyPr vert="horz" wrap="none" lIns="124326" tIns="62162" rIns="124326" bIns="62162"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l" defTabSz="932518" rtl="0" eaLnBrk="1" fontAlgn="auto" latinLnBrk="0" hangingPunct="1">
                <a:lnSpc>
                  <a:spcPct val="100000"/>
                </a:lnSpc>
                <a:spcBef>
                  <a:spcPts val="0"/>
                </a:spcBef>
                <a:spcAft>
                  <a:spcPts val="0"/>
                </a:spcAft>
                <a:buClrTx/>
                <a:buSzTx/>
                <a:buFontTx/>
                <a:buNone/>
                <a:tabLst/>
                <a:defRPr/>
              </a:pPr>
              <a:r>
                <a:rPr kumimoji="0" lang="en-US" sz="1836" b="1" i="0" u="none" strike="noStrike" kern="1200" cap="none" spc="0" normalizeH="0" baseline="0" noProof="0" dirty="0">
                  <a:ln>
                    <a:noFill/>
                  </a:ln>
                  <a:solidFill>
                    <a:srgbClr val="FFFFFF"/>
                  </a:solidFill>
                  <a:effectLst/>
                  <a:uLnTx/>
                  <a:uFillTx/>
                  <a:latin typeface="Segoe UI" pitchFamily="34" charset="0"/>
                  <a:ea typeface="+mn-ea"/>
                  <a:cs typeface="Segoe UI" pitchFamily="34" charset="0"/>
                </a:rPr>
                <a:t>Carl</a:t>
              </a:r>
            </a:p>
          </p:txBody>
        </p:sp>
        <p:sp>
          <p:nvSpPr>
            <p:cNvPr id="79" name="Rectangle 78"/>
            <p:cNvSpPr/>
            <p:nvPr/>
          </p:nvSpPr>
          <p:spPr bwMode="auto">
            <a:xfrm>
              <a:off x="10170028" y="3221513"/>
              <a:ext cx="1231396" cy="324542"/>
            </a:xfrm>
            <a:prstGeom prst="rect">
              <a:avLst/>
            </a:prstGeom>
            <a:solidFill>
              <a:srgbClr val="D83B01">
                <a:shade val="80000"/>
                <a:satMod val="180000"/>
              </a:srgbClr>
            </a:solidFill>
            <a:ln w="9525" cap="flat" cmpd="sng" algn="ctr">
              <a:solidFill>
                <a:srgbClr val="D83B01"/>
              </a:solidFill>
              <a:prstDash val="solid"/>
              <a:headEnd type="none" w="med" len="med"/>
              <a:tailEnd type="none" w="med" len="med"/>
            </a:ln>
            <a:effectLst/>
          </p:spPr>
          <p:txBody>
            <a:bodyPr vert="horz" wrap="none" lIns="124326" tIns="62162" rIns="124326" bIns="62162"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l" defTabSz="932518" rtl="0" eaLnBrk="1" fontAlgn="auto" latinLnBrk="0" hangingPunct="1">
                <a:lnSpc>
                  <a:spcPct val="100000"/>
                </a:lnSpc>
                <a:spcBef>
                  <a:spcPts val="0"/>
                </a:spcBef>
                <a:spcAft>
                  <a:spcPts val="0"/>
                </a:spcAft>
                <a:buClrTx/>
                <a:buSzTx/>
                <a:buFontTx/>
                <a:buNone/>
                <a:tabLst/>
                <a:defRPr/>
              </a:pPr>
              <a:r>
                <a:rPr kumimoji="0" lang="en-US" sz="1836" b="1" i="0" u="none" strike="noStrike" kern="1200" cap="none" spc="0" normalizeH="0" baseline="0" noProof="0" dirty="0">
                  <a:ln>
                    <a:noFill/>
                  </a:ln>
                  <a:solidFill>
                    <a:srgbClr val="FFFFFF"/>
                  </a:solidFill>
                  <a:effectLst/>
                  <a:uLnTx/>
                  <a:uFillTx/>
                  <a:latin typeface="Segoe UI" pitchFamily="34" charset="0"/>
                  <a:ea typeface="+mn-ea"/>
                  <a:cs typeface="Segoe UI" pitchFamily="34" charset="0"/>
                </a:rPr>
                <a:t>Catherine</a:t>
              </a:r>
            </a:p>
          </p:txBody>
        </p:sp>
        <p:sp>
          <p:nvSpPr>
            <p:cNvPr id="80" name="Rectangle 79"/>
            <p:cNvSpPr/>
            <p:nvPr/>
          </p:nvSpPr>
          <p:spPr bwMode="auto">
            <a:xfrm>
              <a:off x="10164194" y="3635794"/>
              <a:ext cx="1241877" cy="283670"/>
            </a:xfrm>
            <a:prstGeom prst="rect">
              <a:avLst/>
            </a:prstGeom>
            <a:solidFill>
              <a:srgbClr val="D83B01">
                <a:shade val="80000"/>
                <a:satMod val="180000"/>
              </a:srgbClr>
            </a:solidFill>
            <a:ln w="9525" cap="flat" cmpd="sng" algn="ctr">
              <a:solidFill>
                <a:srgbClr val="D83B01"/>
              </a:solidFill>
              <a:prstDash val="solid"/>
              <a:headEnd type="none" w="med" len="med"/>
              <a:tailEnd type="none" w="med" len="med"/>
            </a:ln>
            <a:effectLst/>
          </p:spPr>
          <p:txBody>
            <a:bodyPr vert="horz" wrap="none" lIns="124326" tIns="62162" rIns="124326" bIns="62162"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l" defTabSz="932518" rtl="0" eaLnBrk="1" fontAlgn="auto" latinLnBrk="0" hangingPunct="1">
                <a:lnSpc>
                  <a:spcPct val="100000"/>
                </a:lnSpc>
                <a:spcBef>
                  <a:spcPts val="0"/>
                </a:spcBef>
                <a:spcAft>
                  <a:spcPts val="0"/>
                </a:spcAft>
                <a:buClrTx/>
                <a:buSzTx/>
                <a:buFontTx/>
                <a:buNone/>
                <a:tabLst/>
                <a:defRPr/>
              </a:pPr>
              <a:r>
                <a:rPr kumimoji="0" lang="en-US" sz="1836" b="1" i="0" u="none" strike="noStrike" kern="1200" cap="none" spc="0" normalizeH="0" baseline="0" noProof="0" dirty="0">
                  <a:ln>
                    <a:noFill/>
                  </a:ln>
                  <a:solidFill>
                    <a:srgbClr val="FFFFFF"/>
                  </a:solidFill>
                  <a:effectLst/>
                  <a:uLnTx/>
                  <a:uFillTx/>
                  <a:latin typeface="Segoe UI" pitchFamily="34" charset="0"/>
                  <a:ea typeface="+mn-ea"/>
                  <a:cs typeface="Segoe UI" pitchFamily="34" charset="0"/>
                </a:rPr>
                <a:t>Cynthia</a:t>
              </a:r>
            </a:p>
          </p:txBody>
        </p:sp>
        <p:sp>
          <p:nvSpPr>
            <p:cNvPr id="81" name="Trapezoid 3"/>
            <p:cNvSpPr/>
            <p:nvPr/>
          </p:nvSpPr>
          <p:spPr>
            <a:xfrm rot="10800000">
              <a:off x="8305649" y="4032697"/>
              <a:ext cx="1517316" cy="727085"/>
            </a:xfrm>
            <a:custGeom>
              <a:avLst/>
              <a:gdLst>
                <a:gd name="connsiteX0" fmla="*/ 0 w 2873363"/>
                <a:gd name="connsiteY0" fmla="*/ 2254723 h 2254723"/>
                <a:gd name="connsiteX1" fmla="*/ 1275001 w 2873363"/>
                <a:gd name="connsiteY1" fmla="*/ 0 h 2254723"/>
                <a:gd name="connsiteX2" fmla="*/ 1598362 w 2873363"/>
                <a:gd name="connsiteY2" fmla="*/ 0 h 2254723"/>
                <a:gd name="connsiteX3" fmla="*/ 2873363 w 2873363"/>
                <a:gd name="connsiteY3" fmla="*/ 2254723 h 2254723"/>
                <a:gd name="connsiteX4" fmla="*/ 0 w 2873363"/>
                <a:gd name="connsiteY4" fmla="*/ 2254723 h 2254723"/>
                <a:gd name="connsiteX0" fmla="*/ 0 w 2781326"/>
                <a:gd name="connsiteY0" fmla="*/ 2254723 h 3471665"/>
                <a:gd name="connsiteX1" fmla="*/ 1275001 w 2781326"/>
                <a:gd name="connsiteY1" fmla="*/ 0 h 3471665"/>
                <a:gd name="connsiteX2" fmla="*/ 1598362 w 2781326"/>
                <a:gd name="connsiteY2" fmla="*/ 0 h 3471665"/>
                <a:gd name="connsiteX3" fmla="*/ 2781326 w 2781326"/>
                <a:gd name="connsiteY3" fmla="*/ 3471665 h 3471665"/>
                <a:gd name="connsiteX4" fmla="*/ 0 w 2781326"/>
                <a:gd name="connsiteY4" fmla="*/ 2254723 h 3471665"/>
                <a:gd name="connsiteX0" fmla="*/ 0 w 2781326"/>
                <a:gd name="connsiteY0" fmla="*/ 2585015 h 3801957"/>
                <a:gd name="connsiteX1" fmla="*/ 1275001 w 2781326"/>
                <a:gd name="connsiteY1" fmla="*/ 330292 h 3801957"/>
                <a:gd name="connsiteX2" fmla="*/ 1926292 w 2781326"/>
                <a:gd name="connsiteY2" fmla="*/ 0 h 3801957"/>
                <a:gd name="connsiteX3" fmla="*/ 2781326 w 2781326"/>
                <a:gd name="connsiteY3" fmla="*/ 3801957 h 3801957"/>
                <a:gd name="connsiteX4" fmla="*/ 0 w 2781326"/>
                <a:gd name="connsiteY4" fmla="*/ 2585015 h 3801957"/>
                <a:gd name="connsiteX0" fmla="*/ 0 w 2781326"/>
                <a:gd name="connsiteY0" fmla="*/ 2585015 h 3801957"/>
                <a:gd name="connsiteX1" fmla="*/ 628002 w 2781326"/>
                <a:gd name="connsiteY1" fmla="*/ 355906 h 3801957"/>
                <a:gd name="connsiteX2" fmla="*/ 1926292 w 2781326"/>
                <a:gd name="connsiteY2" fmla="*/ 0 h 3801957"/>
                <a:gd name="connsiteX3" fmla="*/ 2781326 w 2781326"/>
                <a:gd name="connsiteY3" fmla="*/ 3801957 h 3801957"/>
                <a:gd name="connsiteX4" fmla="*/ 0 w 2781326"/>
                <a:gd name="connsiteY4" fmla="*/ 2585015 h 3801957"/>
                <a:gd name="connsiteX0" fmla="*/ 54973 w 2153324"/>
                <a:gd name="connsiteY0" fmla="*/ 1636130 h 3801957"/>
                <a:gd name="connsiteX1" fmla="*/ 0 w 2153324"/>
                <a:gd name="connsiteY1" fmla="*/ 355906 h 3801957"/>
                <a:gd name="connsiteX2" fmla="*/ 1298290 w 2153324"/>
                <a:gd name="connsiteY2" fmla="*/ 0 h 3801957"/>
                <a:gd name="connsiteX3" fmla="*/ 2153324 w 2153324"/>
                <a:gd name="connsiteY3" fmla="*/ 3801957 h 3801957"/>
                <a:gd name="connsiteX4" fmla="*/ 54973 w 2153324"/>
                <a:gd name="connsiteY4" fmla="*/ 1636130 h 3801957"/>
                <a:gd name="connsiteX0" fmla="*/ 0 w 3489111"/>
                <a:gd name="connsiteY0" fmla="*/ 2829177 h 3801957"/>
                <a:gd name="connsiteX1" fmla="*/ 1335787 w 3489111"/>
                <a:gd name="connsiteY1" fmla="*/ 355906 h 3801957"/>
                <a:gd name="connsiteX2" fmla="*/ 2634077 w 3489111"/>
                <a:gd name="connsiteY2" fmla="*/ 0 h 3801957"/>
                <a:gd name="connsiteX3" fmla="*/ 3489111 w 3489111"/>
                <a:gd name="connsiteY3" fmla="*/ 3801957 h 3801957"/>
                <a:gd name="connsiteX4" fmla="*/ 0 w 3489111"/>
                <a:gd name="connsiteY4" fmla="*/ 2829177 h 3801957"/>
                <a:gd name="connsiteX0" fmla="*/ 0 w 3217787"/>
                <a:gd name="connsiteY0" fmla="*/ 3077213 h 3801957"/>
                <a:gd name="connsiteX1" fmla="*/ 1064463 w 3217787"/>
                <a:gd name="connsiteY1" fmla="*/ 355906 h 3801957"/>
                <a:gd name="connsiteX2" fmla="*/ 2362753 w 3217787"/>
                <a:gd name="connsiteY2" fmla="*/ 0 h 3801957"/>
                <a:gd name="connsiteX3" fmla="*/ 3217787 w 3217787"/>
                <a:gd name="connsiteY3" fmla="*/ 3801957 h 3801957"/>
                <a:gd name="connsiteX4" fmla="*/ 0 w 3217787"/>
                <a:gd name="connsiteY4" fmla="*/ 3077213 h 3801957"/>
                <a:gd name="connsiteX0" fmla="*/ 0 w 3217787"/>
                <a:gd name="connsiteY0" fmla="*/ 3077213 h 3801957"/>
                <a:gd name="connsiteX1" fmla="*/ 1679138 w 3217787"/>
                <a:gd name="connsiteY1" fmla="*/ 287222 h 3801957"/>
                <a:gd name="connsiteX2" fmla="*/ 2362753 w 3217787"/>
                <a:gd name="connsiteY2" fmla="*/ 0 h 3801957"/>
                <a:gd name="connsiteX3" fmla="*/ 3217787 w 3217787"/>
                <a:gd name="connsiteY3" fmla="*/ 3801957 h 3801957"/>
                <a:gd name="connsiteX4" fmla="*/ 0 w 3217787"/>
                <a:gd name="connsiteY4" fmla="*/ 3077213 h 3801957"/>
                <a:gd name="connsiteX0" fmla="*/ 0 w 3217787"/>
                <a:gd name="connsiteY0" fmla="*/ 3106287 h 3831031"/>
                <a:gd name="connsiteX1" fmla="*/ 2340052 w 3217787"/>
                <a:gd name="connsiteY1" fmla="*/ 0 h 3831031"/>
                <a:gd name="connsiteX2" fmla="*/ 2362753 w 3217787"/>
                <a:gd name="connsiteY2" fmla="*/ 29074 h 3831031"/>
                <a:gd name="connsiteX3" fmla="*/ 3217787 w 3217787"/>
                <a:gd name="connsiteY3" fmla="*/ 3831031 h 3831031"/>
                <a:gd name="connsiteX4" fmla="*/ 0 w 3217787"/>
                <a:gd name="connsiteY4" fmla="*/ 3106287 h 3831031"/>
                <a:gd name="connsiteX0" fmla="*/ 0 w 3107634"/>
                <a:gd name="connsiteY0" fmla="*/ 3106287 h 3106287"/>
                <a:gd name="connsiteX1" fmla="*/ 2340052 w 3107634"/>
                <a:gd name="connsiteY1" fmla="*/ 0 h 3106287"/>
                <a:gd name="connsiteX2" fmla="*/ 2362753 w 3107634"/>
                <a:gd name="connsiteY2" fmla="*/ 29074 h 3106287"/>
                <a:gd name="connsiteX3" fmla="*/ 3107634 w 3107634"/>
                <a:gd name="connsiteY3" fmla="*/ 2841328 h 3106287"/>
                <a:gd name="connsiteX4" fmla="*/ 0 w 3107634"/>
                <a:gd name="connsiteY4" fmla="*/ 3106287 h 3106287"/>
                <a:gd name="connsiteX0" fmla="*/ 0 w 3107634"/>
                <a:gd name="connsiteY0" fmla="*/ 3106287 h 3114225"/>
                <a:gd name="connsiteX1" fmla="*/ 2340052 w 3107634"/>
                <a:gd name="connsiteY1" fmla="*/ 0 h 3114225"/>
                <a:gd name="connsiteX2" fmla="*/ 2362753 w 3107634"/>
                <a:gd name="connsiteY2" fmla="*/ 29074 h 3114225"/>
                <a:gd name="connsiteX3" fmla="*/ 3107634 w 3107634"/>
                <a:gd name="connsiteY3" fmla="*/ 3114225 h 3114225"/>
                <a:gd name="connsiteX4" fmla="*/ 0 w 3107634"/>
                <a:gd name="connsiteY4" fmla="*/ 3106287 h 3114225"/>
                <a:gd name="connsiteX0" fmla="*/ 0 w 3107634"/>
                <a:gd name="connsiteY0" fmla="*/ 3106287 h 3114225"/>
                <a:gd name="connsiteX1" fmla="*/ 2340052 w 3107634"/>
                <a:gd name="connsiteY1" fmla="*/ 0 h 3114225"/>
                <a:gd name="connsiteX2" fmla="*/ 1258390 w 3107634"/>
                <a:gd name="connsiteY2" fmla="*/ 120043 h 3114225"/>
                <a:gd name="connsiteX3" fmla="*/ 3107634 w 3107634"/>
                <a:gd name="connsiteY3" fmla="*/ 3114225 h 3114225"/>
                <a:gd name="connsiteX4" fmla="*/ 0 w 3107634"/>
                <a:gd name="connsiteY4" fmla="*/ 3106287 h 3114225"/>
                <a:gd name="connsiteX0" fmla="*/ 0 w 3107634"/>
                <a:gd name="connsiteY0" fmla="*/ 2986244 h 2994182"/>
                <a:gd name="connsiteX1" fmla="*/ 1196247 w 3107634"/>
                <a:gd name="connsiteY1" fmla="*/ 16406 h 2994182"/>
                <a:gd name="connsiteX2" fmla="*/ 1258390 w 3107634"/>
                <a:gd name="connsiteY2" fmla="*/ 0 h 2994182"/>
                <a:gd name="connsiteX3" fmla="*/ 3107634 w 3107634"/>
                <a:gd name="connsiteY3" fmla="*/ 2994182 h 2994182"/>
                <a:gd name="connsiteX4" fmla="*/ 0 w 3107634"/>
                <a:gd name="connsiteY4" fmla="*/ 2986244 h 2994182"/>
                <a:gd name="connsiteX0" fmla="*/ 0 w 3107634"/>
                <a:gd name="connsiteY0" fmla="*/ 2969838 h 2977776"/>
                <a:gd name="connsiteX1" fmla="*/ 1196247 w 3107634"/>
                <a:gd name="connsiteY1" fmla="*/ 0 h 2977776"/>
                <a:gd name="connsiteX2" fmla="*/ 922227 w 3107634"/>
                <a:gd name="connsiteY2" fmla="*/ 134 h 2977776"/>
                <a:gd name="connsiteX3" fmla="*/ 3107634 w 3107634"/>
                <a:gd name="connsiteY3" fmla="*/ 2977776 h 2977776"/>
                <a:gd name="connsiteX4" fmla="*/ 0 w 3107634"/>
                <a:gd name="connsiteY4" fmla="*/ 2969838 h 2977776"/>
                <a:gd name="connsiteX0" fmla="*/ 0 w 3107634"/>
                <a:gd name="connsiteY0" fmla="*/ 2986378 h 2994316"/>
                <a:gd name="connsiteX1" fmla="*/ 927320 w 3107634"/>
                <a:gd name="connsiteY1" fmla="*/ 0 h 2994316"/>
                <a:gd name="connsiteX2" fmla="*/ 922227 w 3107634"/>
                <a:gd name="connsiteY2" fmla="*/ 16674 h 2994316"/>
                <a:gd name="connsiteX3" fmla="*/ 3107634 w 3107634"/>
                <a:gd name="connsiteY3" fmla="*/ 2994316 h 2994316"/>
                <a:gd name="connsiteX4" fmla="*/ 0 w 3107634"/>
                <a:gd name="connsiteY4" fmla="*/ 2986378 h 2994316"/>
                <a:gd name="connsiteX0" fmla="*/ 0 w 3107634"/>
                <a:gd name="connsiteY0" fmla="*/ 3020300 h 3028238"/>
                <a:gd name="connsiteX1" fmla="*/ 927320 w 3107634"/>
                <a:gd name="connsiteY1" fmla="*/ 33922 h 3028238"/>
                <a:gd name="connsiteX2" fmla="*/ 899376 w 3107634"/>
                <a:gd name="connsiteY2" fmla="*/ 0 h 3028238"/>
                <a:gd name="connsiteX3" fmla="*/ 3107634 w 3107634"/>
                <a:gd name="connsiteY3" fmla="*/ 3028238 h 3028238"/>
                <a:gd name="connsiteX4" fmla="*/ 0 w 3107634"/>
                <a:gd name="connsiteY4" fmla="*/ 3020300 h 3028238"/>
                <a:gd name="connsiteX0" fmla="*/ 0 w 3107634"/>
                <a:gd name="connsiteY0" fmla="*/ 2986377 h 2994315"/>
                <a:gd name="connsiteX1" fmla="*/ 927320 w 3107634"/>
                <a:gd name="connsiteY1" fmla="*/ -1 h 2994315"/>
                <a:gd name="connsiteX2" fmla="*/ 1801044 w 3107634"/>
                <a:gd name="connsiteY2" fmla="*/ 770870 h 2994315"/>
                <a:gd name="connsiteX3" fmla="*/ 3107634 w 3107634"/>
                <a:gd name="connsiteY3" fmla="*/ 2994315 h 2994315"/>
                <a:gd name="connsiteX4" fmla="*/ 0 w 3107634"/>
                <a:gd name="connsiteY4" fmla="*/ 2986377 h 2994315"/>
                <a:gd name="connsiteX0" fmla="*/ 0 w 3107634"/>
                <a:gd name="connsiteY0" fmla="*/ 2215506 h 2223444"/>
                <a:gd name="connsiteX1" fmla="*/ 1726911 w 3107634"/>
                <a:gd name="connsiteY1" fmla="*/ 60747 h 2223444"/>
                <a:gd name="connsiteX2" fmla="*/ 1801044 w 3107634"/>
                <a:gd name="connsiteY2" fmla="*/ -1 h 2223444"/>
                <a:gd name="connsiteX3" fmla="*/ 3107634 w 3107634"/>
                <a:gd name="connsiteY3" fmla="*/ 2223444 h 2223444"/>
                <a:gd name="connsiteX4" fmla="*/ 0 w 3107634"/>
                <a:gd name="connsiteY4" fmla="*/ 2215506 h 2223444"/>
                <a:gd name="connsiteX0" fmla="*/ 0 w 3107634"/>
                <a:gd name="connsiteY0" fmla="*/ 2241089 h 2249027"/>
                <a:gd name="connsiteX1" fmla="*/ 1797302 w 3107634"/>
                <a:gd name="connsiteY1" fmla="*/ 0 h 2249027"/>
                <a:gd name="connsiteX2" fmla="*/ 1801044 w 3107634"/>
                <a:gd name="connsiteY2" fmla="*/ 25582 h 2249027"/>
                <a:gd name="connsiteX3" fmla="*/ 3107634 w 3107634"/>
                <a:gd name="connsiteY3" fmla="*/ 2249027 h 2249027"/>
                <a:gd name="connsiteX4" fmla="*/ 0 w 3107634"/>
                <a:gd name="connsiteY4" fmla="*/ 2241089 h 2249027"/>
                <a:gd name="connsiteX0" fmla="*/ 0 w 3138919"/>
                <a:gd name="connsiteY0" fmla="*/ 2241089 h 2241089"/>
                <a:gd name="connsiteX1" fmla="*/ 1797302 w 3138919"/>
                <a:gd name="connsiteY1" fmla="*/ 0 h 2241089"/>
                <a:gd name="connsiteX2" fmla="*/ 1801044 w 3138919"/>
                <a:gd name="connsiteY2" fmla="*/ 25582 h 2241089"/>
                <a:gd name="connsiteX3" fmla="*/ 3138919 w 3138919"/>
                <a:gd name="connsiteY3" fmla="*/ 2187363 h 2241089"/>
                <a:gd name="connsiteX4" fmla="*/ 0 w 3138919"/>
                <a:gd name="connsiteY4" fmla="*/ 2241089 h 2241089"/>
                <a:gd name="connsiteX0" fmla="*/ 0 w 3107634"/>
                <a:gd name="connsiteY0" fmla="*/ 2191761 h 2191761"/>
                <a:gd name="connsiteX1" fmla="*/ 1766017 w 3107634"/>
                <a:gd name="connsiteY1" fmla="*/ 0 h 2191761"/>
                <a:gd name="connsiteX2" fmla="*/ 1769759 w 3107634"/>
                <a:gd name="connsiteY2" fmla="*/ 25582 h 2191761"/>
                <a:gd name="connsiteX3" fmla="*/ 3107634 w 3107634"/>
                <a:gd name="connsiteY3" fmla="*/ 2187363 h 2191761"/>
                <a:gd name="connsiteX4" fmla="*/ 0 w 3107634"/>
                <a:gd name="connsiteY4" fmla="*/ 2191761 h 21917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7634" h="2191761">
                  <a:moveTo>
                    <a:pt x="0" y="2191761"/>
                  </a:moveTo>
                  <a:lnTo>
                    <a:pt x="1766017" y="0"/>
                  </a:lnTo>
                  <a:lnTo>
                    <a:pt x="1769759" y="25582"/>
                  </a:lnTo>
                  <a:lnTo>
                    <a:pt x="3107634" y="2187363"/>
                  </a:lnTo>
                  <a:lnTo>
                    <a:pt x="0" y="2191761"/>
                  </a:lnTo>
                  <a:close/>
                </a:path>
              </a:pathLst>
            </a:custGeom>
            <a:gradFill>
              <a:gsLst>
                <a:gs pos="0">
                  <a:srgbClr val="D83B01">
                    <a:tint val="66000"/>
                    <a:satMod val="160000"/>
                    <a:alpha val="52000"/>
                  </a:srgbClr>
                </a:gs>
                <a:gs pos="50000">
                  <a:srgbClr val="D83B01">
                    <a:tint val="44500"/>
                    <a:satMod val="160000"/>
                    <a:alpha val="80000"/>
                  </a:srgbClr>
                </a:gs>
                <a:gs pos="100000">
                  <a:srgbClr val="D83B01">
                    <a:tint val="23500"/>
                    <a:satMod val="160000"/>
                    <a:alpha val="0"/>
                  </a:srgbClr>
                </a:gs>
              </a:gsLst>
              <a:lin ang="5400000" scaled="0"/>
            </a:gradFill>
            <a:ln w="10795" cap="flat" cmpd="sng" algn="ctr">
              <a:noFill/>
              <a:prstDash val="solid"/>
            </a:ln>
            <a:effectLst/>
          </p:spPr>
          <p:txBody>
            <a:bodyPr lIns="124326" tIns="62162" rIns="124326" bIns="62162"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82" name="Trapezoid 3"/>
            <p:cNvSpPr/>
            <p:nvPr/>
          </p:nvSpPr>
          <p:spPr>
            <a:xfrm rot="10800000">
              <a:off x="9999642" y="4011379"/>
              <a:ext cx="1517316" cy="727085"/>
            </a:xfrm>
            <a:custGeom>
              <a:avLst/>
              <a:gdLst>
                <a:gd name="connsiteX0" fmla="*/ 0 w 2873363"/>
                <a:gd name="connsiteY0" fmla="*/ 2254723 h 2254723"/>
                <a:gd name="connsiteX1" fmla="*/ 1275001 w 2873363"/>
                <a:gd name="connsiteY1" fmla="*/ 0 h 2254723"/>
                <a:gd name="connsiteX2" fmla="*/ 1598362 w 2873363"/>
                <a:gd name="connsiteY2" fmla="*/ 0 h 2254723"/>
                <a:gd name="connsiteX3" fmla="*/ 2873363 w 2873363"/>
                <a:gd name="connsiteY3" fmla="*/ 2254723 h 2254723"/>
                <a:gd name="connsiteX4" fmla="*/ 0 w 2873363"/>
                <a:gd name="connsiteY4" fmla="*/ 2254723 h 2254723"/>
                <a:gd name="connsiteX0" fmla="*/ 0 w 2781326"/>
                <a:gd name="connsiteY0" fmla="*/ 2254723 h 3471665"/>
                <a:gd name="connsiteX1" fmla="*/ 1275001 w 2781326"/>
                <a:gd name="connsiteY1" fmla="*/ 0 h 3471665"/>
                <a:gd name="connsiteX2" fmla="*/ 1598362 w 2781326"/>
                <a:gd name="connsiteY2" fmla="*/ 0 h 3471665"/>
                <a:gd name="connsiteX3" fmla="*/ 2781326 w 2781326"/>
                <a:gd name="connsiteY3" fmla="*/ 3471665 h 3471665"/>
                <a:gd name="connsiteX4" fmla="*/ 0 w 2781326"/>
                <a:gd name="connsiteY4" fmla="*/ 2254723 h 3471665"/>
                <a:gd name="connsiteX0" fmla="*/ 0 w 2781326"/>
                <a:gd name="connsiteY0" fmla="*/ 2585015 h 3801957"/>
                <a:gd name="connsiteX1" fmla="*/ 1275001 w 2781326"/>
                <a:gd name="connsiteY1" fmla="*/ 330292 h 3801957"/>
                <a:gd name="connsiteX2" fmla="*/ 1926292 w 2781326"/>
                <a:gd name="connsiteY2" fmla="*/ 0 h 3801957"/>
                <a:gd name="connsiteX3" fmla="*/ 2781326 w 2781326"/>
                <a:gd name="connsiteY3" fmla="*/ 3801957 h 3801957"/>
                <a:gd name="connsiteX4" fmla="*/ 0 w 2781326"/>
                <a:gd name="connsiteY4" fmla="*/ 2585015 h 3801957"/>
                <a:gd name="connsiteX0" fmla="*/ 0 w 2781326"/>
                <a:gd name="connsiteY0" fmla="*/ 2585015 h 3801957"/>
                <a:gd name="connsiteX1" fmla="*/ 628002 w 2781326"/>
                <a:gd name="connsiteY1" fmla="*/ 355906 h 3801957"/>
                <a:gd name="connsiteX2" fmla="*/ 1926292 w 2781326"/>
                <a:gd name="connsiteY2" fmla="*/ 0 h 3801957"/>
                <a:gd name="connsiteX3" fmla="*/ 2781326 w 2781326"/>
                <a:gd name="connsiteY3" fmla="*/ 3801957 h 3801957"/>
                <a:gd name="connsiteX4" fmla="*/ 0 w 2781326"/>
                <a:gd name="connsiteY4" fmla="*/ 2585015 h 3801957"/>
                <a:gd name="connsiteX0" fmla="*/ 54973 w 2153324"/>
                <a:gd name="connsiteY0" fmla="*/ 1636130 h 3801957"/>
                <a:gd name="connsiteX1" fmla="*/ 0 w 2153324"/>
                <a:gd name="connsiteY1" fmla="*/ 355906 h 3801957"/>
                <a:gd name="connsiteX2" fmla="*/ 1298290 w 2153324"/>
                <a:gd name="connsiteY2" fmla="*/ 0 h 3801957"/>
                <a:gd name="connsiteX3" fmla="*/ 2153324 w 2153324"/>
                <a:gd name="connsiteY3" fmla="*/ 3801957 h 3801957"/>
                <a:gd name="connsiteX4" fmla="*/ 54973 w 2153324"/>
                <a:gd name="connsiteY4" fmla="*/ 1636130 h 3801957"/>
                <a:gd name="connsiteX0" fmla="*/ 0 w 3489111"/>
                <a:gd name="connsiteY0" fmla="*/ 2829177 h 3801957"/>
                <a:gd name="connsiteX1" fmla="*/ 1335787 w 3489111"/>
                <a:gd name="connsiteY1" fmla="*/ 355906 h 3801957"/>
                <a:gd name="connsiteX2" fmla="*/ 2634077 w 3489111"/>
                <a:gd name="connsiteY2" fmla="*/ 0 h 3801957"/>
                <a:gd name="connsiteX3" fmla="*/ 3489111 w 3489111"/>
                <a:gd name="connsiteY3" fmla="*/ 3801957 h 3801957"/>
                <a:gd name="connsiteX4" fmla="*/ 0 w 3489111"/>
                <a:gd name="connsiteY4" fmla="*/ 2829177 h 3801957"/>
                <a:gd name="connsiteX0" fmla="*/ 0 w 3217787"/>
                <a:gd name="connsiteY0" fmla="*/ 3077213 h 3801957"/>
                <a:gd name="connsiteX1" fmla="*/ 1064463 w 3217787"/>
                <a:gd name="connsiteY1" fmla="*/ 355906 h 3801957"/>
                <a:gd name="connsiteX2" fmla="*/ 2362753 w 3217787"/>
                <a:gd name="connsiteY2" fmla="*/ 0 h 3801957"/>
                <a:gd name="connsiteX3" fmla="*/ 3217787 w 3217787"/>
                <a:gd name="connsiteY3" fmla="*/ 3801957 h 3801957"/>
                <a:gd name="connsiteX4" fmla="*/ 0 w 3217787"/>
                <a:gd name="connsiteY4" fmla="*/ 3077213 h 3801957"/>
                <a:gd name="connsiteX0" fmla="*/ 0 w 3217787"/>
                <a:gd name="connsiteY0" fmla="*/ 3077213 h 3801957"/>
                <a:gd name="connsiteX1" fmla="*/ 1679138 w 3217787"/>
                <a:gd name="connsiteY1" fmla="*/ 287222 h 3801957"/>
                <a:gd name="connsiteX2" fmla="*/ 2362753 w 3217787"/>
                <a:gd name="connsiteY2" fmla="*/ 0 h 3801957"/>
                <a:gd name="connsiteX3" fmla="*/ 3217787 w 3217787"/>
                <a:gd name="connsiteY3" fmla="*/ 3801957 h 3801957"/>
                <a:gd name="connsiteX4" fmla="*/ 0 w 3217787"/>
                <a:gd name="connsiteY4" fmla="*/ 3077213 h 3801957"/>
                <a:gd name="connsiteX0" fmla="*/ 0 w 3217787"/>
                <a:gd name="connsiteY0" fmla="*/ 3106287 h 3831031"/>
                <a:gd name="connsiteX1" fmla="*/ 2340052 w 3217787"/>
                <a:gd name="connsiteY1" fmla="*/ 0 h 3831031"/>
                <a:gd name="connsiteX2" fmla="*/ 2362753 w 3217787"/>
                <a:gd name="connsiteY2" fmla="*/ 29074 h 3831031"/>
                <a:gd name="connsiteX3" fmla="*/ 3217787 w 3217787"/>
                <a:gd name="connsiteY3" fmla="*/ 3831031 h 3831031"/>
                <a:gd name="connsiteX4" fmla="*/ 0 w 3217787"/>
                <a:gd name="connsiteY4" fmla="*/ 3106287 h 3831031"/>
                <a:gd name="connsiteX0" fmla="*/ 0 w 3107634"/>
                <a:gd name="connsiteY0" fmla="*/ 3106287 h 3106287"/>
                <a:gd name="connsiteX1" fmla="*/ 2340052 w 3107634"/>
                <a:gd name="connsiteY1" fmla="*/ 0 h 3106287"/>
                <a:gd name="connsiteX2" fmla="*/ 2362753 w 3107634"/>
                <a:gd name="connsiteY2" fmla="*/ 29074 h 3106287"/>
                <a:gd name="connsiteX3" fmla="*/ 3107634 w 3107634"/>
                <a:gd name="connsiteY3" fmla="*/ 2841328 h 3106287"/>
                <a:gd name="connsiteX4" fmla="*/ 0 w 3107634"/>
                <a:gd name="connsiteY4" fmla="*/ 3106287 h 3106287"/>
                <a:gd name="connsiteX0" fmla="*/ 0 w 3107634"/>
                <a:gd name="connsiteY0" fmla="*/ 3106287 h 3114225"/>
                <a:gd name="connsiteX1" fmla="*/ 2340052 w 3107634"/>
                <a:gd name="connsiteY1" fmla="*/ 0 h 3114225"/>
                <a:gd name="connsiteX2" fmla="*/ 2362753 w 3107634"/>
                <a:gd name="connsiteY2" fmla="*/ 29074 h 3114225"/>
                <a:gd name="connsiteX3" fmla="*/ 3107634 w 3107634"/>
                <a:gd name="connsiteY3" fmla="*/ 3114225 h 3114225"/>
                <a:gd name="connsiteX4" fmla="*/ 0 w 3107634"/>
                <a:gd name="connsiteY4" fmla="*/ 3106287 h 3114225"/>
                <a:gd name="connsiteX0" fmla="*/ 0 w 3107634"/>
                <a:gd name="connsiteY0" fmla="*/ 3106287 h 3114225"/>
                <a:gd name="connsiteX1" fmla="*/ 2340052 w 3107634"/>
                <a:gd name="connsiteY1" fmla="*/ 0 h 3114225"/>
                <a:gd name="connsiteX2" fmla="*/ 1258390 w 3107634"/>
                <a:gd name="connsiteY2" fmla="*/ 120043 h 3114225"/>
                <a:gd name="connsiteX3" fmla="*/ 3107634 w 3107634"/>
                <a:gd name="connsiteY3" fmla="*/ 3114225 h 3114225"/>
                <a:gd name="connsiteX4" fmla="*/ 0 w 3107634"/>
                <a:gd name="connsiteY4" fmla="*/ 3106287 h 3114225"/>
                <a:gd name="connsiteX0" fmla="*/ 0 w 3107634"/>
                <a:gd name="connsiteY0" fmla="*/ 2986244 h 2994182"/>
                <a:gd name="connsiteX1" fmla="*/ 1196247 w 3107634"/>
                <a:gd name="connsiteY1" fmla="*/ 16406 h 2994182"/>
                <a:gd name="connsiteX2" fmla="*/ 1258390 w 3107634"/>
                <a:gd name="connsiteY2" fmla="*/ 0 h 2994182"/>
                <a:gd name="connsiteX3" fmla="*/ 3107634 w 3107634"/>
                <a:gd name="connsiteY3" fmla="*/ 2994182 h 2994182"/>
                <a:gd name="connsiteX4" fmla="*/ 0 w 3107634"/>
                <a:gd name="connsiteY4" fmla="*/ 2986244 h 2994182"/>
                <a:gd name="connsiteX0" fmla="*/ 0 w 3107634"/>
                <a:gd name="connsiteY0" fmla="*/ 2969838 h 2977776"/>
                <a:gd name="connsiteX1" fmla="*/ 1196247 w 3107634"/>
                <a:gd name="connsiteY1" fmla="*/ 0 h 2977776"/>
                <a:gd name="connsiteX2" fmla="*/ 922227 w 3107634"/>
                <a:gd name="connsiteY2" fmla="*/ 134 h 2977776"/>
                <a:gd name="connsiteX3" fmla="*/ 3107634 w 3107634"/>
                <a:gd name="connsiteY3" fmla="*/ 2977776 h 2977776"/>
                <a:gd name="connsiteX4" fmla="*/ 0 w 3107634"/>
                <a:gd name="connsiteY4" fmla="*/ 2969838 h 2977776"/>
                <a:gd name="connsiteX0" fmla="*/ 0 w 3107634"/>
                <a:gd name="connsiteY0" fmla="*/ 2986378 h 2994316"/>
                <a:gd name="connsiteX1" fmla="*/ 927320 w 3107634"/>
                <a:gd name="connsiteY1" fmla="*/ 0 h 2994316"/>
                <a:gd name="connsiteX2" fmla="*/ 922227 w 3107634"/>
                <a:gd name="connsiteY2" fmla="*/ 16674 h 2994316"/>
                <a:gd name="connsiteX3" fmla="*/ 3107634 w 3107634"/>
                <a:gd name="connsiteY3" fmla="*/ 2994316 h 2994316"/>
                <a:gd name="connsiteX4" fmla="*/ 0 w 3107634"/>
                <a:gd name="connsiteY4" fmla="*/ 2986378 h 2994316"/>
                <a:gd name="connsiteX0" fmla="*/ 0 w 3107634"/>
                <a:gd name="connsiteY0" fmla="*/ 3020300 h 3028238"/>
                <a:gd name="connsiteX1" fmla="*/ 927320 w 3107634"/>
                <a:gd name="connsiteY1" fmla="*/ 33922 h 3028238"/>
                <a:gd name="connsiteX2" fmla="*/ 899376 w 3107634"/>
                <a:gd name="connsiteY2" fmla="*/ 0 h 3028238"/>
                <a:gd name="connsiteX3" fmla="*/ 3107634 w 3107634"/>
                <a:gd name="connsiteY3" fmla="*/ 3028238 h 3028238"/>
                <a:gd name="connsiteX4" fmla="*/ 0 w 3107634"/>
                <a:gd name="connsiteY4" fmla="*/ 3020300 h 3028238"/>
                <a:gd name="connsiteX0" fmla="*/ 0 w 3107634"/>
                <a:gd name="connsiteY0" fmla="*/ 2986377 h 2994315"/>
                <a:gd name="connsiteX1" fmla="*/ 927320 w 3107634"/>
                <a:gd name="connsiteY1" fmla="*/ -1 h 2994315"/>
                <a:gd name="connsiteX2" fmla="*/ 1801044 w 3107634"/>
                <a:gd name="connsiteY2" fmla="*/ 770870 h 2994315"/>
                <a:gd name="connsiteX3" fmla="*/ 3107634 w 3107634"/>
                <a:gd name="connsiteY3" fmla="*/ 2994315 h 2994315"/>
                <a:gd name="connsiteX4" fmla="*/ 0 w 3107634"/>
                <a:gd name="connsiteY4" fmla="*/ 2986377 h 2994315"/>
                <a:gd name="connsiteX0" fmla="*/ 0 w 3107634"/>
                <a:gd name="connsiteY0" fmla="*/ 2215506 h 2223444"/>
                <a:gd name="connsiteX1" fmla="*/ 1726911 w 3107634"/>
                <a:gd name="connsiteY1" fmla="*/ 60747 h 2223444"/>
                <a:gd name="connsiteX2" fmla="*/ 1801044 w 3107634"/>
                <a:gd name="connsiteY2" fmla="*/ -1 h 2223444"/>
                <a:gd name="connsiteX3" fmla="*/ 3107634 w 3107634"/>
                <a:gd name="connsiteY3" fmla="*/ 2223444 h 2223444"/>
                <a:gd name="connsiteX4" fmla="*/ 0 w 3107634"/>
                <a:gd name="connsiteY4" fmla="*/ 2215506 h 2223444"/>
                <a:gd name="connsiteX0" fmla="*/ 0 w 3107634"/>
                <a:gd name="connsiteY0" fmla="*/ 2241089 h 2249027"/>
                <a:gd name="connsiteX1" fmla="*/ 1797302 w 3107634"/>
                <a:gd name="connsiteY1" fmla="*/ 0 h 2249027"/>
                <a:gd name="connsiteX2" fmla="*/ 1801044 w 3107634"/>
                <a:gd name="connsiteY2" fmla="*/ 25582 h 2249027"/>
                <a:gd name="connsiteX3" fmla="*/ 3107634 w 3107634"/>
                <a:gd name="connsiteY3" fmla="*/ 2249027 h 2249027"/>
                <a:gd name="connsiteX4" fmla="*/ 0 w 3107634"/>
                <a:gd name="connsiteY4" fmla="*/ 2241089 h 2249027"/>
                <a:gd name="connsiteX0" fmla="*/ 0 w 3138919"/>
                <a:gd name="connsiteY0" fmla="*/ 2241089 h 2241089"/>
                <a:gd name="connsiteX1" fmla="*/ 1797302 w 3138919"/>
                <a:gd name="connsiteY1" fmla="*/ 0 h 2241089"/>
                <a:gd name="connsiteX2" fmla="*/ 1801044 w 3138919"/>
                <a:gd name="connsiteY2" fmla="*/ 25582 h 2241089"/>
                <a:gd name="connsiteX3" fmla="*/ 3138919 w 3138919"/>
                <a:gd name="connsiteY3" fmla="*/ 2187363 h 2241089"/>
                <a:gd name="connsiteX4" fmla="*/ 0 w 3138919"/>
                <a:gd name="connsiteY4" fmla="*/ 2241089 h 2241089"/>
                <a:gd name="connsiteX0" fmla="*/ 0 w 3107634"/>
                <a:gd name="connsiteY0" fmla="*/ 2191761 h 2191761"/>
                <a:gd name="connsiteX1" fmla="*/ 1766017 w 3107634"/>
                <a:gd name="connsiteY1" fmla="*/ 0 h 2191761"/>
                <a:gd name="connsiteX2" fmla="*/ 1769759 w 3107634"/>
                <a:gd name="connsiteY2" fmla="*/ 25582 h 2191761"/>
                <a:gd name="connsiteX3" fmla="*/ 3107634 w 3107634"/>
                <a:gd name="connsiteY3" fmla="*/ 2187363 h 2191761"/>
                <a:gd name="connsiteX4" fmla="*/ 0 w 3107634"/>
                <a:gd name="connsiteY4" fmla="*/ 2191761 h 21917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7634" h="2191761">
                  <a:moveTo>
                    <a:pt x="0" y="2191761"/>
                  </a:moveTo>
                  <a:lnTo>
                    <a:pt x="1766017" y="0"/>
                  </a:lnTo>
                  <a:lnTo>
                    <a:pt x="1769759" y="25582"/>
                  </a:lnTo>
                  <a:lnTo>
                    <a:pt x="3107634" y="2187363"/>
                  </a:lnTo>
                  <a:lnTo>
                    <a:pt x="0" y="2191761"/>
                  </a:lnTo>
                  <a:close/>
                </a:path>
              </a:pathLst>
            </a:custGeom>
            <a:gradFill>
              <a:gsLst>
                <a:gs pos="0">
                  <a:srgbClr val="D83B01">
                    <a:tint val="66000"/>
                    <a:satMod val="160000"/>
                    <a:alpha val="52000"/>
                  </a:srgbClr>
                </a:gs>
                <a:gs pos="50000">
                  <a:srgbClr val="D83B01">
                    <a:tint val="44500"/>
                    <a:satMod val="160000"/>
                    <a:alpha val="80000"/>
                  </a:srgbClr>
                </a:gs>
                <a:gs pos="100000">
                  <a:srgbClr val="D83B01">
                    <a:tint val="23500"/>
                    <a:satMod val="160000"/>
                    <a:alpha val="0"/>
                  </a:srgbClr>
                </a:gs>
              </a:gsLst>
              <a:lin ang="5400000" scaled="0"/>
            </a:gradFill>
            <a:ln w="10795" cap="flat" cmpd="sng" algn="ctr">
              <a:noFill/>
              <a:prstDash val="solid"/>
            </a:ln>
            <a:effectLst/>
          </p:spPr>
          <p:txBody>
            <a:bodyPr lIns="124326" tIns="62162" rIns="124326" bIns="62162"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grpSp>
      <p:pic>
        <p:nvPicPr>
          <p:cNvPr id="47" name="Picture 46"/>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1862970" y="4950806"/>
            <a:ext cx="1473500" cy="9082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48" name="Group 47"/>
          <p:cNvGrpSpPr/>
          <p:nvPr/>
        </p:nvGrpSpPr>
        <p:grpSpPr>
          <a:xfrm>
            <a:off x="326054" y="2281577"/>
            <a:ext cx="4986507" cy="3058058"/>
            <a:chOff x="621805" y="1794740"/>
            <a:chExt cx="4889176" cy="2998367"/>
          </a:xfrm>
        </p:grpSpPr>
        <p:sp>
          <p:nvSpPr>
            <p:cNvPr id="53" name="Rectangle 52"/>
            <p:cNvSpPr/>
            <p:nvPr/>
          </p:nvSpPr>
          <p:spPr bwMode="auto">
            <a:xfrm>
              <a:off x="621805" y="2234259"/>
              <a:ext cx="4889176" cy="1913337"/>
            </a:xfrm>
            <a:prstGeom prst="rect">
              <a:avLst/>
            </a:prstGeom>
            <a:solidFill>
              <a:srgbClr val="002050">
                <a:shade val="80000"/>
                <a:satMod val="180000"/>
              </a:srgbClr>
            </a:solidFill>
            <a:ln>
              <a:noFill/>
              <a:headEnd type="none" w="med" len="med"/>
              <a:tailEnd type="none" w="med" len="med"/>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p:spPr>
          <p:txBody>
            <a:bodyPr vert="horz" wrap="square" lIns="124320" tIns="62160" rIns="124320" bIns="62160"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251" rtl="0" eaLnBrk="1" fontAlgn="base" latinLnBrk="0" hangingPunct="1">
                <a:lnSpc>
                  <a:spcPct val="100000"/>
                </a:lnSpc>
                <a:spcBef>
                  <a:spcPct val="0"/>
                </a:spcBef>
                <a:spcAft>
                  <a:spcPct val="0"/>
                </a:spcAft>
                <a:buClrTx/>
                <a:buSzTx/>
                <a:buFontTx/>
                <a:buNone/>
                <a:tabLst/>
                <a:defRPr/>
              </a:pPr>
              <a:endParaRPr kumimoji="0" lang="en-US" sz="2346" b="0" i="0" u="none" strike="noStrike" kern="1200" cap="none" spc="0" normalizeH="0" baseline="0" noProof="0" dirty="0">
                <a:ln>
                  <a:noFill/>
                </a:ln>
                <a:solidFill>
                  <a:srgbClr val="FFFFFF"/>
                </a:solidFill>
                <a:effectLst/>
                <a:uLnTx/>
                <a:uFillTx/>
                <a:latin typeface="Segoe UI" pitchFamily="34" charset="0"/>
                <a:ea typeface="Segoe UI" pitchFamily="34" charset="0"/>
                <a:cs typeface="Segoe UI" pitchFamily="34" charset="0"/>
              </a:endParaRPr>
            </a:p>
          </p:txBody>
        </p:sp>
        <p:sp>
          <p:nvSpPr>
            <p:cNvPr id="54" name="TextBox 46"/>
            <p:cNvSpPr txBox="1"/>
            <p:nvPr/>
          </p:nvSpPr>
          <p:spPr>
            <a:xfrm>
              <a:off x="621805" y="1794740"/>
              <a:ext cx="4889176" cy="457200"/>
            </a:xfrm>
            <a:prstGeom prst="rect">
              <a:avLst/>
            </a:prstGeom>
            <a:noFill/>
          </p:spPr>
          <p:txBody>
            <a:bodyPr wrap="none" lIns="124326" tIns="62162" rIns="124326" bIns="62162" rtlCol="0">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
                  <a:srgbClr val="FFFFFF"/>
                </a:buClr>
                <a:buSzTx/>
                <a:buFontTx/>
                <a:buNone/>
                <a:tabLst/>
                <a:defRPr/>
              </a:pPr>
              <a:r>
                <a:rPr kumimoji="0" lang="en-US" sz="1836" b="1" i="0" u="none" strike="noStrike" kern="1200" cap="none" spc="0" normalizeH="0" baseline="0" noProof="0" dirty="0" smtClean="0">
                  <a:ln>
                    <a:noFill/>
                  </a:ln>
                  <a:effectLst/>
                  <a:uLnTx/>
                  <a:uFillTx/>
                  <a:latin typeface="Segoe UI" pitchFamily="34" charset="0"/>
                  <a:ea typeface="+mn-ea"/>
                  <a:cs typeface="Segoe UI" pitchFamily="34" charset="0"/>
                </a:rPr>
                <a:t>Relational Database</a:t>
              </a:r>
              <a:endParaRPr kumimoji="0" lang="en-US" sz="1836" b="1" i="0" u="none" strike="noStrike" kern="1200" cap="none" spc="0" normalizeH="0" baseline="0" noProof="0" dirty="0">
                <a:ln>
                  <a:noFill/>
                </a:ln>
                <a:effectLst/>
                <a:uLnTx/>
                <a:uFillTx/>
                <a:latin typeface="Segoe UI" pitchFamily="34" charset="0"/>
                <a:ea typeface="+mn-ea"/>
                <a:cs typeface="Segoe UI" pitchFamily="34" charset="0"/>
              </a:endParaRPr>
            </a:p>
          </p:txBody>
        </p:sp>
        <p:sp>
          <p:nvSpPr>
            <p:cNvPr id="55" name="Rectangle 54"/>
            <p:cNvSpPr/>
            <p:nvPr/>
          </p:nvSpPr>
          <p:spPr bwMode="auto">
            <a:xfrm>
              <a:off x="894964" y="2550579"/>
              <a:ext cx="889412" cy="323960"/>
            </a:xfrm>
            <a:prstGeom prst="rect">
              <a:avLst/>
            </a:prstGeom>
            <a:solidFill>
              <a:srgbClr val="D83B01">
                <a:shade val="80000"/>
                <a:satMod val="180000"/>
              </a:srgbClr>
            </a:solidFill>
            <a:ln w="9525" cap="flat" cmpd="sng" algn="ctr">
              <a:solidFill>
                <a:srgbClr val="D83B01"/>
              </a:solidFill>
              <a:prstDash val="solid"/>
              <a:headEnd type="none" w="med" len="med"/>
              <a:tailEnd type="none" w="med" len="med"/>
            </a:ln>
            <a:effectLst/>
          </p:spPr>
          <p:txBody>
            <a:bodyPr vert="horz" wrap="none" lIns="124326" tIns="62162" rIns="124326" bIns="62162"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l" defTabSz="932518" rtl="0" eaLnBrk="1" fontAlgn="auto" latinLnBrk="0" hangingPunct="1">
                <a:lnSpc>
                  <a:spcPct val="100000"/>
                </a:lnSpc>
                <a:spcBef>
                  <a:spcPts val="0"/>
                </a:spcBef>
                <a:spcAft>
                  <a:spcPts val="0"/>
                </a:spcAft>
                <a:buClrTx/>
                <a:buSzTx/>
                <a:buFontTx/>
                <a:buNone/>
                <a:tabLst/>
                <a:defRPr/>
              </a:pPr>
              <a:r>
                <a:rPr kumimoji="0" lang="en-US" sz="1836" b="1" i="0" u="none" strike="noStrike" kern="1200" cap="none" spc="0" normalizeH="0" baseline="0" noProof="0" dirty="0">
                  <a:ln>
                    <a:noFill/>
                  </a:ln>
                  <a:solidFill>
                    <a:srgbClr val="FFFFFF"/>
                  </a:solidFill>
                  <a:effectLst/>
                  <a:uLnTx/>
                  <a:uFillTx/>
                  <a:latin typeface="Segoe UI" pitchFamily="34" charset="0"/>
                  <a:ea typeface="+mn-ea"/>
                  <a:cs typeface="Segoe UI" pitchFamily="34" charset="0"/>
                </a:rPr>
                <a:t>Adam</a:t>
              </a:r>
            </a:p>
          </p:txBody>
        </p:sp>
        <p:sp>
          <p:nvSpPr>
            <p:cNvPr id="56" name="Rectangle 55"/>
            <p:cNvSpPr/>
            <p:nvPr/>
          </p:nvSpPr>
          <p:spPr bwMode="auto">
            <a:xfrm>
              <a:off x="4099370" y="2522196"/>
              <a:ext cx="1072085" cy="324543"/>
            </a:xfrm>
            <a:prstGeom prst="rect">
              <a:avLst/>
            </a:prstGeom>
            <a:solidFill>
              <a:srgbClr val="D83B01">
                <a:shade val="80000"/>
                <a:satMod val="180000"/>
              </a:srgbClr>
            </a:solidFill>
            <a:ln w="9525" cap="flat" cmpd="sng" algn="ctr">
              <a:solidFill>
                <a:srgbClr val="D83B01"/>
              </a:solidFill>
              <a:prstDash val="solid"/>
              <a:headEnd type="none" w="med" len="med"/>
              <a:tailEnd type="none" w="med" len="med"/>
            </a:ln>
            <a:effectLst/>
          </p:spPr>
          <p:txBody>
            <a:bodyPr vert="horz" wrap="none" lIns="124326" tIns="62162" rIns="124326" bIns="62162"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l" defTabSz="932518" rtl="0" eaLnBrk="1" fontAlgn="auto" latinLnBrk="0" hangingPunct="1">
                <a:lnSpc>
                  <a:spcPct val="100000"/>
                </a:lnSpc>
                <a:spcBef>
                  <a:spcPts val="0"/>
                </a:spcBef>
                <a:spcAft>
                  <a:spcPts val="0"/>
                </a:spcAft>
                <a:buClrTx/>
                <a:buSzTx/>
                <a:buFontTx/>
                <a:buNone/>
                <a:tabLst/>
                <a:defRPr/>
              </a:pPr>
              <a:r>
                <a:rPr kumimoji="0" lang="en-US" sz="1836" b="1" i="0" u="none" strike="noStrike" kern="1200" cap="none" spc="0" normalizeH="0" baseline="0" noProof="0" dirty="0">
                  <a:ln>
                    <a:noFill/>
                  </a:ln>
                  <a:solidFill>
                    <a:srgbClr val="FFFFFF"/>
                  </a:solidFill>
                  <a:effectLst/>
                  <a:uLnTx/>
                  <a:uFillTx/>
                  <a:latin typeface="Segoe UI" pitchFamily="34" charset="0"/>
                  <a:ea typeface="+mn-ea"/>
                  <a:cs typeface="Segoe UI" pitchFamily="34" charset="0"/>
                </a:rPr>
                <a:t>Andrew</a:t>
              </a:r>
            </a:p>
          </p:txBody>
        </p:sp>
        <p:sp>
          <p:nvSpPr>
            <p:cNvPr id="57" name="Rectangle 56"/>
            <p:cNvSpPr/>
            <p:nvPr/>
          </p:nvSpPr>
          <p:spPr bwMode="auto">
            <a:xfrm>
              <a:off x="870732" y="3598544"/>
              <a:ext cx="1072085" cy="283670"/>
            </a:xfrm>
            <a:prstGeom prst="rect">
              <a:avLst/>
            </a:prstGeom>
            <a:solidFill>
              <a:srgbClr val="D83B01">
                <a:shade val="80000"/>
                <a:satMod val="180000"/>
              </a:srgbClr>
            </a:solidFill>
            <a:ln w="9525" cap="flat" cmpd="sng" algn="ctr">
              <a:solidFill>
                <a:srgbClr val="D83B01"/>
              </a:solidFill>
              <a:prstDash val="solid"/>
              <a:headEnd type="none" w="med" len="med"/>
              <a:tailEnd type="none" w="med" len="med"/>
            </a:ln>
            <a:effectLst/>
          </p:spPr>
          <p:txBody>
            <a:bodyPr vert="horz" wrap="none" lIns="124326" tIns="62162" rIns="124326" bIns="62162"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l" defTabSz="932518" rtl="0" eaLnBrk="1" fontAlgn="auto" latinLnBrk="0" hangingPunct="1">
                <a:lnSpc>
                  <a:spcPct val="100000"/>
                </a:lnSpc>
                <a:spcBef>
                  <a:spcPts val="0"/>
                </a:spcBef>
                <a:spcAft>
                  <a:spcPts val="0"/>
                </a:spcAft>
                <a:buClrTx/>
                <a:buSzTx/>
                <a:buFontTx/>
                <a:buNone/>
                <a:tabLst/>
                <a:defRPr/>
              </a:pPr>
              <a:r>
                <a:rPr kumimoji="0" lang="en-US" sz="1836" b="1" i="0" u="none" strike="noStrike" kern="1200" cap="none" spc="0" normalizeH="0" baseline="0" noProof="0" dirty="0">
                  <a:ln>
                    <a:noFill/>
                  </a:ln>
                  <a:solidFill>
                    <a:srgbClr val="FFFFFF"/>
                  </a:solidFill>
                  <a:effectLst/>
                  <a:uLnTx/>
                  <a:uFillTx/>
                  <a:latin typeface="Segoe UI" pitchFamily="34" charset="0"/>
                  <a:ea typeface="+mn-ea"/>
                  <a:cs typeface="Segoe UI" pitchFamily="34" charset="0"/>
                </a:rPr>
                <a:t>Anusha</a:t>
              </a:r>
            </a:p>
          </p:txBody>
        </p:sp>
        <p:sp>
          <p:nvSpPr>
            <p:cNvPr id="58" name="Rectangle 57"/>
            <p:cNvSpPr/>
            <p:nvPr/>
          </p:nvSpPr>
          <p:spPr bwMode="auto">
            <a:xfrm>
              <a:off x="4047167" y="3603807"/>
              <a:ext cx="1196863" cy="310488"/>
            </a:xfrm>
            <a:prstGeom prst="rect">
              <a:avLst/>
            </a:prstGeom>
            <a:solidFill>
              <a:srgbClr val="D83B01">
                <a:shade val="80000"/>
                <a:satMod val="180000"/>
              </a:srgbClr>
            </a:solidFill>
            <a:ln w="9525" cap="flat" cmpd="sng" algn="ctr">
              <a:solidFill>
                <a:srgbClr val="D83B01"/>
              </a:solidFill>
              <a:prstDash val="solid"/>
              <a:headEnd type="none" w="med" len="med"/>
              <a:tailEnd type="none" w="med" len="med"/>
            </a:ln>
            <a:effectLst/>
          </p:spPr>
          <p:txBody>
            <a:bodyPr vert="horz" wrap="none" lIns="124326" tIns="62162" rIns="124326" bIns="62162"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l" defTabSz="932518" rtl="0" eaLnBrk="1" fontAlgn="auto" latinLnBrk="0" hangingPunct="1">
                <a:lnSpc>
                  <a:spcPct val="100000"/>
                </a:lnSpc>
                <a:spcBef>
                  <a:spcPts val="0"/>
                </a:spcBef>
                <a:spcAft>
                  <a:spcPts val="0"/>
                </a:spcAft>
                <a:buClrTx/>
                <a:buSzTx/>
                <a:buFontTx/>
                <a:buNone/>
                <a:tabLst/>
                <a:defRPr/>
              </a:pPr>
              <a:r>
                <a:rPr kumimoji="0" lang="en-US" sz="1836" b="1" i="0" u="none" strike="noStrike" kern="1200" cap="none" spc="0" normalizeH="0" baseline="0" noProof="0" dirty="0">
                  <a:ln>
                    <a:noFill/>
                  </a:ln>
                  <a:solidFill>
                    <a:srgbClr val="FFFFFF"/>
                  </a:solidFill>
                  <a:effectLst/>
                  <a:uLnTx/>
                  <a:uFillTx/>
                  <a:latin typeface="Segoe UI" pitchFamily="34" charset="0"/>
                  <a:ea typeface="+mn-ea"/>
                  <a:cs typeface="Segoe UI" pitchFamily="34" charset="0"/>
                </a:rPr>
                <a:t>Bertrand</a:t>
              </a:r>
            </a:p>
          </p:txBody>
        </p:sp>
        <p:sp>
          <p:nvSpPr>
            <p:cNvPr id="59" name="Rectangle 58"/>
            <p:cNvSpPr/>
            <p:nvPr/>
          </p:nvSpPr>
          <p:spPr bwMode="auto">
            <a:xfrm>
              <a:off x="2504264" y="3075705"/>
              <a:ext cx="664860" cy="283670"/>
            </a:xfrm>
            <a:prstGeom prst="rect">
              <a:avLst/>
            </a:prstGeom>
            <a:solidFill>
              <a:srgbClr val="D83B01">
                <a:shade val="80000"/>
                <a:satMod val="180000"/>
              </a:srgbClr>
            </a:solidFill>
            <a:ln w="9525" cap="flat" cmpd="sng" algn="ctr">
              <a:solidFill>
                <a:srgbClr val="D83B01"/>
              </a:solidFill>
              <a:prstDash val="solid"/>
              <a:headEnd type="none" w="med" len="med"/>
              <a:tailEnd type="none" w="med" len="med"/>
            </a:ln>
            <a:effectLst/>
          </p:spPr>
          <p:txBody>
            <a:bodyPr vert="horz" wrap="none" lIns="124326" tIns="62162" rIns="124326" bIns="62162"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l" defTabSz="932518" rtl="0" eaLnBrk="1" fontAlgn="auto" latinLnBrk="0" hangingPunct="1">
                <a:lnSpc>
                  <a:spcPct val="100000"/>
                </a:lnSpc>
                <a:spcBef>
                  <a:spcPts val="0"/>
                </a:spcBef>
                <a:spcAft>
                  <a:spcPts val="0"/>
                </a:spcAft>
                <a:buClrTx/>
                <a:buSzTx/>
                <a:buFontTx/>
                <a:buNone/>
                <a:tabLst/>
                <a:defRPr/>
              </a:pPr>
              <a:r>
                <a:rPr kumimoji="0" lang="en-US" sz="1836" b="1" i="0" u="none" strike="noStrike" kern="1200" cap="none" spc="0" normalizeH="0" baseline="0" noProof="0" dirty="0">
                  <a:ln>
                    <a:noFill/>
                  </a:ln>
                  <a:solidFill>
                    <a:srgbClr val="FFFFFF"/>
                  </a:solidFill>
                  <a:effectLst/>
                  <a:uLnTx/>
                  <a:uFillTx/>
                  <a:latin typeface="Segoe UI" pitchFamily="34" charset="0"/>
                  <a:ea typeface="+mn-ea"/>
                  <a:cs typeface="Segoe UI" pitchFamily="34" charset="0"/>
                </a:rPr>
                <a:t>Bill</a:t>
              </a:r>
            </a:p>
          </p:txBody>
        </p:sp>
        <p:sp>
          <p:nvSpPr>
            <p:cNvPr id="60" name="Rectangle 59"/>
            <p:cNvSpPr/>
            <p:nvPr/>
          </p:nvSpPr>
          <p:spPr bwMode="auto">
            <a:xfrm>
              <a:off x="2537279" y="2534496"/>
              <a:ext cx="1228309" cy="313925"/>
            </a:xfrm>
            <a:prstGeom prst="rect">
              <a:avLst/>
            </a:prstGeom>
            <a:solidFill>
              <a:srgbClr val="D83B01">
                <a:shade val="80000"/>
                <a:satMod val="180000"/>
              </a:srgbClr>
            </a:solidFill>
            <a:ln w="9525" cap="flat" cmpd="sng" algn="ctr">
              <a:solidFill>
                <a:srgbClr val="D83B01"/>
              </a:solidFill>
              <a:prstDash val="solid"/>
              <a:headEnd type="none" w="med" len="med"/>
              <a:tailEnd type="none" w="med" len="med"/>
            </a:ln>
            <a:effectLst/>
          </p:spPr>
          <p:txBody>
            <a:bodyPr vert="horz" wrap="none" lIns="124326" tIns="62162" rIns="124326" bIns="62162"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l" defTabSz="932518" rtl="0" eaLnBrk="1" fontAlgn="auto" latinLnBrk="0" hangingPunct="1">
                <a:lnSpc>
                  <a:spcPct val="100000"/>
                </a:lnSpc>
                <a:spcBef>
                  <a:spcPts val="0"/>
                </a:spcBef>
                <a:spcAft>
                  <a:spcPts val="0"/>
                </a:spcAft>
                <a:buClrTx/>
                <a:buSzTx/>
                <a:buFontTx/>
                <a:buNone/>
                <a:tabLst/>
                <a:defRPr/>
              </a:pPr>
              <a:r>
                <a:rPr kumimoji="0" lang="en-US" sz="1836" b="1" i="0" u="none" strike="noStrike" kern="1200" cap="none" spc="0" normalizeH="0" baseline="0" noProof="0" dirty="0">
                  <a:ln>
                    <a:noFill/>
                  </a:ln>
                  <a:solidFill>
                    <a:srgbClr val="FFFFFF"/>
                  </a:solidFill>
                  <a:effectLst/>
                  <a:uLnTx/>
                  <a:uFillTx/>
                  <a:latin typeface="Segoe UI" pitchFamily="34" charset="0"/>
                  <a:ea typeface="+mn-ea"/>
                  <a:cs typeface="Segoe UI" pitchFamily="34" charset="0"/>
                </a:rPr>
                <a:t>Carl</a:t>
              </a:r>
            </a:p>
          </p:txBody>
        </p:sp>
        <p:sp>
          <p:nvSpPr>
            <p:cNvPr id="61" name="Rectangle 60"/>
            <p:cNvSpPr/>
            <p:nvPr/>
          </p:nvSpPr>
          <p:spPr bwMode="auto">
            <a:xfrm>
              <a:off x="2494912" y="3613666"/>
              <a:ext cx="1231396" cy="324542"/>
            </a:xfrm>
            <a:prstGeom prst="rect">
              <a:avLst/>
            </a:prstGeom>
            <a:solidFill>
              <a:srgbClr val="D83B01">
                <a:shade val="80000"/>
                <a:satMod val="180000"/>
              </a:srgbClr>
            </a:solidFill>
            <a:ln w="9525" cap="flat" cmpd="sng" algn="ctr">
              <a:solidFill>
                <a:srgbClr val="D83B01"/>
              </a:solidFill>
              <a:prstDash val="solid"/>
              <a:headEnd type="none" w="med" len="med"/>
              <a:tailEnd type="none" w="med" len="med"/>
            </a:ln>
            <a:effectLst/>
          </p:spPr>
          <p:txBody>
            <a:bodyPr vert="horz" wrap="none" lIns="124326" tIns="62162" rIns="124326" bIns="62162"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l" defTabSz="932518" rtl="0" eaLnBrk="1" fontAlgn="auto" latinLnBrk="0" hangingPunct="1">
                <a:lnSpc>
                  <a:spcPct val="100000"/>
                </a:lnSpc>
                <a:spcBef>
                  <a:spcPts val="0"/>
                </a:spcBef>
                <a:spcAft>
                  <a:spcPts val="0"/>
                </a:spcAft>
                <a:buClrTx/>
                <a:buSzTx/>
                <a:buFontTx/>
                <a:buNone/>
                <a:tabLst/>
                <a:defRPr/>
              </a:pPr>
              <a:r>
                <a:rPr kumimoji="0" lang="en-US" sz="1836" b="1" i="0" u="none" strike="noStrike" kern="1200" cap="none" spc="0" normalizeH="0" baseline="0" noProof="0" dirty="0">
                  <a:ln>
                    <a:noFill/>
                  </a:ln>
                  <a:solidFill>
                    <a:srgbClr val="FFFFFF"/>
                  </a:solidFill>
                  <a:effectLst/>
                  <a:uLnTx/>
                  <a:uFillTx/>
                  <a:latin typeface="Segoe UI" pitchFamily="34" charset="0"/>
                  <a:ea typeface="+mn-ea"/>
                  <a:cs typeface="Segoe UI" pitchFamily="34" charset="0"/>
                </a:rPr>
                <a:t>Catherine</a:t>
              </a:r>
            </a:p>
          </p:txBody>
        </p:sp>
        <p:sp>
          <p:nvSpPr>
            <p:cNvPr id="62" name="Rectangle 61"/>
            <p:cNvSpPr/>
            <p:nvPr/>
          </p:nvSpPr>
          <p:spPr bwMode="auto">
            <a:xfrm>
              <a:off x="886844" y="3075705"/>
              <a:ext cx="1241877" cy="283670"/>
            </a:xfrm>
            <a:prstGeom prst="rect">
              <a:avLst/>
            </a:prstGeom>
            <a:solidFill>
              <a:srgbClr val="D83B01">
                <a:shade val="80000"/>
                <a:satMod val="180000"/>
              </a:srgbClr>
            </a:solidFill>
            <a:ln w="9525" cap="flat" cmpd="sng" algn="ctr">
              <a:solidFill>
                <a:srgbClr val="D83B01"/>
              </a:solidFill>
              <a:prstDash val="solid"/>
              <a:headEnd type="none" w="med" len="med"/>
              <a:tailEnd type="none" w="med" len="med"/>
            </a:ln>
            <a:effectLst/>
          </p:spPr>
          <p:txBody>
            <a:bodyPr vert="horz" wrap="none" lIns="124326" tIns="62162" rIns="124326" bIns="62162" numCol="1" rtlCol="0" anchor="ctr" anchorCtr="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l" defTabSz="932518" rtl="0" eaLnBrk="1" fontAlgn="auto" latinLnBrk="0" hangingPunct="1">
                <a:lnSpc>
                  <a:spcPct val="100000"/>
                </a:lnSpc>
                <a:spcBef>
                  <a:spcPts val="0"/>
                </a:spcBef>
                <a:spcAft>
                  <a:spcPts val="0"/>
                </a:spcAft>
                <a:buClrTx/>
                <a:buSzTx/>
                <a:buFontTx/>
                <a:buNone/>
                <a:tabLst/>
                <a:defRPr/>
              </a:pPr>
              <a:r>
                <a:rPr kumimoji="0" lang="en-US" sz="1836" b="1" i="0" u="none" strike="noStrike" kern="1200" cap="none" spc="0" normalizeH="0" baseline="0" noProof="0" dirty="0">
                  <a:ln>
                    <a:noFill/>
                  </a:ln>
                  <a:solidFill>
                    <a:srgbClr val="FFFFFF"/>
                  </a:solidFill>
                  <a:effectLst/>
                  <a:uLnTx/>
                  <a:uFillTx/>
                  <a:latin typeface="Segoe UI" pitchFamily="34" charset="0"/>
                  <a:ea typeface="+mn-ea"/>
                  <a:cs typeface="Segoe UI" pitchFamily="34" charset="0"/>
                </a:rPr>
                <a:t>Cynthia</a:t>
              </a:r>
            </a:p>
          </p:txBody>
        </p:sp>
        <p:sp>
          <p:nvSpPr>
            <p:cNvPr id="63" name="Trapezoid 3"/>
            <p:cNvSpPr/>
            <p:nvPr/>
          </p:nvSpPr>
          <p:spPr>
            <a:xfrm rot="10800000">
              <a:off x="621805" y="4124620"/>
              <a:ext cx="4889176" cy="668487"/>
            </a:xfrm>
            <a:custGeom>
              <a:avLst/>
              <a:gdLst>
                <a:gd name="connsiteX0" fmla="*/ 0 w 2873363"/>
                <a:gd name="connsiteY0" fmla="*/ 2254723 h 2254723"/>
                <a:gd name="connsiteX1" fmla="*/ 1275001 w 2873363"/>
                <a:gd name="connsiteY1" fmla="*/ 0 h 2254723"/>
                <a:gd name="connsiteX2" fmla="*/ 1598362 w 2873363"/>
                <a:gd name="connsiteY2" fmla="*/ 0 h 2254723"/>
                <a:gd name="connsiteX3" fmla="*/ 2873363 w 2873363"/>
                <a:gd name="connsiteY3" fmla="*/ 2254723 h 2254723"/>
                <a:gd name="connsiteX4" fmla="*/ 0 w 2873363"/>
                <a:gd name="connsiteY4" fmla="*/ 2254723 h 2254723"/>
                <a:gd name="connsiteX0" fmla="*/ 0 w 2781326"/>
                <a:gd name="connsiteY0" fmla="*/ 2254723 h 3471665"/>
                <a:gd name="connsiteX1" fmla="*/ 1275001 w 2781326"/>
                <a:gd name="connsiteY1" fmla="*/ 0 h 3471665"/>
                <a:gd name="connsiteX2" fmla="*/ 1598362 w 2781326"/>
                <a:gd name="connsiteY2" fmla="*/ 0 h 3471665"/>
                <a:gd name="connsiteX3" fmla="*/ 2781326 w 2781326"/>
                <a:gd name="connsiteY3" fmla="*/ 3471665 h 3471665"/>
                <a:gd name="connsiteX4" fmla="*/ 0 w 2781326"/>
                <a:gd name="connsiteY4" fmla="*/ 2254723 h 3471665"/>
                <a:gd name="connsiteX0" fmla="*/ 0 w 2781326"/>
                <a:gd name="connsiteY0" fmla="*/ 2585015 h 3801957"/>
                <a:gd name="connsiteX1" fmla="*/ 1275001 w 2781326"/>
                <a:gd name="connsiteY1" fmla="*/ 330292 h 3801957"/>
                <a:gd name="connsiteX2" fmla="*/ 1926292 w 2781326"/>
                <a:gd name="connsiteY2" fmla="*/ 0 h 3801957"/>
                <a:gd name="connsiteX3" fmla="*/ 2781326 w 2781326"/>
                <a:gd name="connsiteY3" fmla="*/ 3801957 h 3801957"/>
                <a:gd name="connsiteX4" fmla="*/ 0 w 2781326"/>
                <a:gd name="connsiteY4" fmla="*/ 2585015 h 3801957"/>
                <a:gd name="connsiteX0" fmla="*/ 0 w 2781326"/>
                <a:gd name="connsiteY0" fmla="*/ 2585015 h 3801957"/>
                <a:gd name="connsiteX1" fmla="*/ 628002 w 2781326"/>
                <a:gd name="connsiteY1" fmla="*/ 355906 h 3801957"/>
                <a:gd name="connsiteX2" fmla="*/ 1926292 w 2781326"/>
                <a:gd name="connsiteY2" fmla="*/ 0 h 3801957"/>
                <a:gd name="connsiteX3" fmla="*/ 2781326 w 2781326"/>
                <a:gd name="connsiteY3" fmla="*/ 3801957 h 3801957"/>
                <a:gd name="connsiteX4" fmla="*/ 0 w 2781326"/>
                <a:gd name="connsiteY4" fmla="*/ 2585015 h 3801957"/>
                <a:gd name="connsiteX0" fmla="*/ 54973 w 2153324"/>
                <a:gd name="connsiteY0" fmla="*/ 1636130 h 3801957"/>
                <a:gd name="connsiteX1" fmla="*/ 0 w 2153324"/>
                <a:gd name="connsiteY1" fmla="*/ 355906 h 3801957"/>
                <a:gd name="connsiteX2" fmla="*/ 1298290 w 2153324"/>
                <a:gd name="connsiteY2" fmla="*/ 0 h 3801957"/>
                <a:gd name="connsiteX3" fmla="*/ 2153324 w 2153324"/>
                <a:gd name="connsiteY3" fmla="*/ 3801957 h 3801957"/>
                <a:gd name="connsiteX4" fmla="*/ 54973 w 2153324"/>
                <a:gd name="connsiteY4" fmla="*/ 1636130 h 3801957"/>
                <a:gd name="connsiteX0" fmla="*/ 0 w 3489111"/>
                <a:gd name="connsiteY0" fmla="*/ 2829177 h 3801957"/>
                <a:gd name="connsiteX1" fmla="*/ 1335787 w 3489111"/>
                <a:gd name="connsiteY1" fmla="*/ 355906 h 3801957"/>
                <a:gd name="connsiteX2" fmla="*/ 2634077 w 3489111"/>
                <a:gd name="connsiteY2" fmla="*/ 0 h 3801957"/>
                <a:gd name="connsiteX3" fmla="*/ 3489111 w 3489111"/>
                <a:gd name="connsiteY3" fmla="*/ 3801957 h 3801957"/>
                <a:gd name="connsiteX4" fmla="*/ 0 w 3489111"/>
                <a:gd name="connsiteY4" fmla="*/ 2829177 h 3801957"/>
                <a:gd name="connsiteX0" fmla="*/ 0 w 3217787"/>
                <a:gd name="connsiteY0" fmla="*/ 3077213 h 3801957"/>
                <a:gd name="connsiteX1" fmla="*/ 1064463 w 3217787"/>
                <a:gd name="connsiteY1" fmla="*/ 355906 h 3801957"/>
                <a:gd name="connsiteX2" fmla="*/ 2362753 w 3217787"/>
                <a:gd name="connsiteY2" fmla="*/ 0 h 3801957"/>
                <a:gd name="connsiteX3" fmla="*/ 3217787 w 3217787"/>
                <a:gd name="connsiteY3" fmla="*/ 3801957 h 3801957"/>
                <a:gd name="connsiteX4" fmla="*/ 0 w 3217787"/>
                <a:gd name="connsiteY4" fmla="*/ 3077213 h 3801957"/>
                <a:gd name="connsiteX0" fmla="*/ 0 w 3217787"/>
                <a:gd name="connsiteY0" fmla="*/ 3077213 h 3801957"/>
                <a:gd name="connsiteX1" fmla="*/ 1679138 w 3217787"/>
                <a:gd name="connsiteY1" fmla="*/ 287222 h 3801957"/>
                <a:gd name="connsiteX2" fmla="*/ 2362753 w 3217787"/>
                <a:gd name="connsiteY2" fmla="*/ 0 h 3801957"/>
                <a:gd name="connsiteX3" fmla="*/ 3217787 w 3217787"/>
                <a:gd name="connsiteY3" fmla="*/ 3801957 h 3801957"/>
                <a:gd name="connsiteX4" fmla="*/ 0 w 3217787"/>
                <a:gd name="connsiteY4" fmla="*/ 3077213 h 3801957"/>
                <a:gd name="connsiteX0" fmla="*/ 0 w 3217787"/>
                <a:gd name="connsiteY0" fmla="*/ 3106287 h 3831031"/>
                <a:gd name="connsiteX1" fmla="*/ 2340052 w 3217787"/>
                <a:gd name="connsiteY1" fmla="*/ 0 h 3831031"/>
                <a:gd name="connsiteX2" fmla="*/ 2362753 w 3217787"/>
                <a:gd name="connsiteY2" fmla="*/ 29074 h 3831031"/>
                <a:gd name="connsiteX3" fmla="*/ 3217787 w 3217787"/>
                <a:gd name="connsiteY3" fmla="*/ 3831031 h 3831031"/>
                <a:gd name="connsiteX4" fmla="*/ 0 w 3217787"/>
                <a:gd name="connsiteY4" fmla="*/ 3106287 h 3831031"/>
                <a:gd name="connsiteX0" fmla="*/ 0 w 3107634"/>
                <a:gd name="connsiteY0" fmla="*/ 3106287 h 3106287"/>
                <a:gd name="connsiteX1" fmla="*/ 2340052 w 3107634"/>
                <a:gd name="connsiteY1" fmla="*/ 0 h 3106287"/>
                <a:gd name="connsiteX2" fmla="*/ 2362753 w 3107634"/>
                <a:gd name="connsiteY2" fmla="*/ 29074 h 3106287"/>
                <a:gd name="connsiteX3" fmla="*/ 3107634 w 3107634"/>
                <a:gd name="connsiteY3" fmla="*/ 2841328 h 3106287"/>
                <a:gd name="connsiteX4" fmla="*/ 0 w 3107634"/>
                <a:gd name="connsiteY4" fmla="*/ 3106287 h 3106287"/>
                <a:gd name="connsiteX0" fmla="*/ 0 w 3107634"/>
                <a:gd name="connsiteY0" fmla="*/ 3106287 h 3114225"/>
                <a:gd name="connsiteX1" fmla="*/ 2340052 w 3107634"/>
                <a:gd name="connsiteY1" fmla="*/ 0 h 3114225"/>
                <a:gd name="connsiteX2" fmla="*/ 2362753 w 3107634"/>
                <a:gd name="connsiteY2" fmla="*/ 29074 h 3114225"/>
                <a:gd name="connsiteX3" fmla="*/ 3107634 w 3107634"/>
                <a:gd name="connsiteY3" fmla="*/ 3114225 h 3114225"/>
                <a:gd name="connsiteX4" fmla="*/ 0 w 3107634"/>
                <a:gd name="connsiteY4" fmla="*/ 3106287 h 3114225"/>
                <a:gd name="connsiteX0" fmla="*/ 0 w 3107634"/>
                <a:gd name="connsiteY0" fmla="*/ 3106287 h 3114225"/>
                <a:gd name="connsiteX1" fmla="*/ 2340052 w 3107634"/>
                <a:gd name="connsiteY1" fmla="*/ 0 h 3114225"/>
                <a:gd name="connsiteX2" fmla="*/ 1258390 w 3107634"/>
                <a:gd name="connsiteY2" fmla="*/ 120043 h 3114225"/>
                <a:gd name="connsiteX3" fmla="*/ 3107634 w 3107634"/>
                <a:gd name="connsiteY3" fmla="*/ 3114225 h 3114225"/>
                <a:gd name="connsiteX4" fmla="*/ 0 w 3107634"/>
                <a:gd name="connsiteY4" fmla="*/ 3106287 h 3114225"/>
                <a:gd name="connsiteX0" fmla="*/ 0 w 3107634"/>
                <a:gd name="connsiteY0" fmla="*/ 2986244 h 2994182"/>
                <a:gd name="connsiteX1" fmla="*/ 1196247 w 3107634"/>
                <a:gd name="connsiteY1" fmla="*/ 16406 h 2994182"/>
                <a:gd name="connsiteX2" fmla="*/ 1258390 w 3107634"/>
                <a:gd name="connsiteY2" fmla="*/ 0 h 2994182"/>
                <a:gd name="connsiteX3" fmla="*/ 3107634 w 3107634"/>
                <a:gd name="connsiteY3" fmla="*/ 2994182 h 2994182"/>
                <a:gd name="connsiteX4" fmla="*/ 0 w 3107634"/>
                <a:gd name="connsiteY4" fmla="*/ 2986244 h 2994182"/>
                <a:gd name="connsiteX0" fmla="*/ 0 w 3107634"/>
                <a:gd name="connsiteY0" fmla="*/ 2969838 h 2977776"/>
                <a:gd name="connsiteX1" fmla="*/ 1196247 w 3107634"/>
                <a:gd name="connsiteY1" fmla="*/ 0 h 2977776"/>
                <a:gd name="connsiteX2" fmla="*/ 922227 w 3107634"/>
                <a:gd name="connsiteY2" fmla="*/ 134 h 2977776"/>
                <a:gd name="connsiteX3" fmla="*/ 3107634 w 3107634"/>
                <a:gd name="connsiteY3" fmla="*/ 2977776 h 2977776"/>
                <a:gd name="connsiteX4" fmla="*/ 0 w 3107634"/>
                <a:gd name="connsiteY4" fmla="*/ 2969838 h 2977776"/>
                <a:gd name="connsiteX0" fmla="*/ 0 w 3107634"/>
                <a:gd name="connsiteY0" fmla="*/ 2986378 h 2994316"/>
                <a:gd name="connsiteX1" fmla="*/ 927320 w 3107634"/>
                <a:gd name="connsiteY1" fmla="*/ 0 h 2994316"/>
                <a:gd name="connsiteX2" fmla="*/ 922227 w 3107634"/>
                <a:gd name="connsiteY2" fmla="*/ 16674 h 2994316"/>
                <a:gd name="connsiteX3" fmla="*/ 3107634 w 3107634"/>
                <a:gd name="connsiteY3" fmla="*/ 2994316 h 2994316"/>
                <a:gd name="connsiteX4" fmla="*/ 0 w 3107634"/>
                <a:gd name="connsiteY4" fmla="*/ 2986378 h 2994316"/>
                <a:gd name="connsiteX0" fmla="*/ 0 w 3107634"/>
                <a:gd name="connsiteY0" fmla="*/ 3020300 h 3028238"/>
                <a:gd name="connsiteX1" fmla="*/ 927320 w 3107634"/>
                <a:gd name="connsiteY1" fmla="*/ 33922 h 3028238"/>
                <a:gd name="connsiteX2" fmla="*/ 899376 w 3107634"/>
                <a:gd name="connsiteY2" fmla="*/ 0 h 3028238"/>
                <a:gd name="connsiteX3" fmla="*/ 3107634 w 3107634"/>
                <a:gd name="connsiteY3" fmla="*/ 3028238 h 3028238"/>
                <a:gd name="connsiteX4" fmla="*/ 0 w 3107634"/>
                <a:gd name="connsiteY4" fmla="*/ 3020300 h 3028238"/>
                <a:gd name="connsiteX0" fmla="*/ 0 w 3107634"/>
                <a:gd name="connsiteY0" fmla="*/ 2986377 h 2994315"/>
                <a:gd name="connsiteX1" fmla="*/ 927320 w 3107634"/>
                <a:gd name="connsiteY1" fmla="*/ -1 h 2994315"/>
                <a:gd name="connsiteX2" fmla="*/ 1801044 w 3107634"/>
                <a:gd name="connsiteY2" fmla="*/ 770870 h 2994315"/>
                <a:gd name="connsiteX3" fmla="*/ 3107634 w 3107634"/>
                <a:gd name="connsiteY3" fmla="*/ 2994315 h 2994315"/>
                <a:gd name="connsiteX4" fmla="*/ 0 w 3107634"/>
                <a:gd name="connsiteY4" fmla="*/ 2986377 h 2994315"/>
                <a:gd name="connsiteX0" fmla="*/ 0 w 3107634"/>
                <a:gd name="connsiteY0" fmla="*/ 2215506 h 2223444"/>
                <a:gd name="connsiteX1" fmla="*/ 1726911 w 3107634"/>
                <a:gd name="connsiteY1" fmla="*/ 60747 h 2223444"/>
                <a:gd name="connsiteX2" fmla="*/ 1801044 w 3107634"/>
                <a:gd name="connsiteY2" fmla="*/ -1 h 2223444"/>
                <a:gd name="connsiteX3" fmla="*/ 3107634 w 3107634"/>
                <a:gd name="connsiteY3" fmla="*/ 2223444 h 2223444"/>
                <a:gd name="connsiteX4" fmla="*/ 0 w 3107634"/>
                <a:gd name="connsiteY4" fmla="*/ 2215506 h 2223444"/>
                <a:gd name="connsiteX0" fmla="*/ 0 w 3107634"/>
                <a:gd name="connsiteY0" fmla="*/ 2241089 h 2249027"/>
                <a:gd name="connsiteX1" fmla="*/ 1797302 w 3107634"/>
                <a:gd name="connsiteY1" fmla="*/ 0 h 2249027"/>
                <a:gd name="connsiteX2" fmla="*/ 1801044 w 3107634"/>
                <a:gd name="connsiteY2" fmla="*/ 25582 h 2249027"/>
                <a:gd name="connsiteX3" fmla="*/ 3107634 w 3107634"/>
                <a:gd name="connsiteY3" fmla="*/ 2249027 h 2249027"/>
                <a:gd name="connsiteX4" fmla="*/ 0 w 3107634"/>
                <a:gd name="connsiteY4" fmla="*/ 2241089 h 2249027"/>
                <a:gd name="connsiteX0" fmla="*/ 0 w 3138919"/>
                <a:gd name="connsiteY0" fmla="*/ 2241089 h 2241089"/>
                <a:gd name="connsiteX1" fmla="*/ 1797302 w 3138919"/>
                <a:gd name="connsiteY1" fmla="*/ 0 h 2241089"/>
                <a:gd name="connsiteX2" fmla="*/ 1801044 w 3138919"/>
                <a:gd name="connsiteY2" fmla="*/ 25582 h 2241089"/>
                <a:gd name="connsiteX3" fmla="*/ 3138919 w 3138919"/>
                <a:gd name="connsiteY3" fmla="*/ 2187363 h 2241089"/>
                <a:gd name="connsiteX4" fmla="*/ 0 w 3138919"/>
                <a:gd name="connsiteY4" fmla="*/ 2241089 h 2241089"/>
                <a:gd name="connsiteX0" fmla="*/ 0 w 3107634"/>
                <a:gd name="connsiteY0" fmla="*/ 2191761 h 2191761"/>
                <a:gd name="connsiteX1" fmla="*/ 1766017 w 3107634"/>
                <a:gd name="connsiteY1" fmla="*/ 0 h 2191761"/>
                <a:gd name="connsiteX2" fmla="*/ 1769759 w 3107634"/>
                <a:gd name="connsiteY2" fmla="*/ 25582 h 2191761"/>
                <a:gd name="connsiteX3" fmla="*/ 3107634 w 3107634"/>
                <a:gd name="connsiteY3" fmla="*/ 2187363 h 2191761"/>
                <a:gd name="connsiteX4" fmla="*/ 0 w 3107634"/>
                <a:gd name="connsiteY4" fmla="*/ 2191761 h 21917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7634" h="2191761">
                  <a:moveTo>
                    <a:pt x="0" y="2191761"/>
                  </a:moveTo>
                  <a:lnTo>
                    <a:pt x="1766017" y="0"/>
                  </a:lnTo>
                  <a:lnTo>
                    <a:pt x="1769759" y="25582"/>
                  </a:lnTo>
                  <a:lnTo>
                    <a:pt x="3107634" y="2187363"/>
                  </a:lnTo>
                  <a:lnTo>
                    <a:pt x="0" y="2191761"/>
                  </a:lnTo>
                  <a:close/>
                </a:path>
              </a:pathLst>
            </a:custGeom>
            <a:gradFill>
              <a:gsLst>
                <a:gs pos="0">
                  <a:srgbClr val="D83B01">
                    <a:tint val="66000"/>
                    <a:satMod val="160000"/>
                    <a:alpha val="52000"/>
                  </a:srgbClr>
                </a:gs>
                <a:gs pos="50000">
                  <a:srgbClr val="D83B01">
                    <a:tint val="44500"/>
                    <a:satMod val="160000"/>
                    <a:alpha val="80000"/>
                  </a:srgbClr>
                </a:gs>
                <a:gs pos="100000">
                  <a:srgbClr val="D83B01">
                    <a:tint val="23500"/>
                    <a:satMod val="160000"/>
                    <a:alpha val="0"/>
                  </a:srgbClr>
                </a:gs>
              </a:gsLst>
              <a:lin ang="5400000" scaled="0"/>
            </a:gradFill>
            <a:ln w="10795" cap="flat" cmpd="sng" algn="ctr">
              <a:noFill/>
              <a:prstDash val="solid"/>
            </a:ln>
            <a:effectLst/>
          </p:spPr>
          <p:txBody>
            <a:bodyPr lIns="124326" tIns="62162" rIns="124326" bIns="62162"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9" name="Group 48"/>
          <p:cNvGrpSpPr/>
          <p:nvPr/>
        </p:nvGrpSpPr>
        <p:grpSpPr>
          <a:xfrm rot="16200000">
            <a:off x="9770770" y="480465"/>
            <a:ext cx="1555104" cy="3124199"/>
            <a:chOff x="5785618" y="3502351"/>
            <a:chExt cx="2922453" cy="3063218"/>
          </a:xfrm>
        </p:grpSpPr>
        <p:sp>
          <p:nvSpPr>
            <p:cNvPr id="50" name="Left Bracket 49"/>
            <p:cNvSpPr/>
            <p:nvPr/>
          </p:nvSpPr>
          <p:spPr>
            <a:xfrm>
              <a:off x="7579308" y="3582034"/>
              <a:ext cx="440004" cy="2868704"/>
            </a:xfrm>
            <a:prstGeom prst="leftBracket">
              <a:avLst>
                <a:gd name="adj" fmla="val 0"/>
              </a:avLst>
            </a:prstGeom>
            <a:noFill/>
            <a:ln w="10795" cap="flat" cmpd="sng" algn="ctr">
              <a:solidFill>
                <a:schemeClr val="tx1"/>
              </a:solidFill>
              <a:prstDash val="solid"/>
              <a:tailEnd type="none"/>
            </a:ln>
            <a:effectLst/>
          </p:spPr>
          <p:txBody>
            <a:bodyPr rtlCol="0"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FFFFFF"/>
                </a:solidFill>
                <a:effectLst/>
                <a:uLnTx/>
                <a:uFillTx/>
                <a:latin typeface="Segoe UI"/>
                <a:ea typeface="+mn-ea"/>
                <a:cs typeface="+mn-cs"/>
              </a:endParaRPr>
            </a:p>
          </p:txBody>
        </p:sp>
        <p:cxnSp>
          <p:nvCxnSpPr>
            <p:cNvPr id="51" name="Straight Connector 50"/>
            <p:cNvCxnSpPr/>
            <p:nvPr/>
          </p:nvCxnSpPr>
          <p:spPr>
            <a:xfrm rot="5400000" flipV="1">
              <a:off x="6679158" y="4122843"/>
              <a:ext cx="0" cy="1787080"/>
            </a:xfrm>
            <a:prstGeom prst="line">
              <a:avLst/>
            </a:prstGeom>
            <a:noFill/>
            <a:ln w="10795" cap="flat" cmpd="sng" algn="ctr">
              <a:solidFill>
                <a:schemeClr val="tx1"/>
              </a:solidFill>
              <a:prstDash val="solid"/>
              <a:headEnd type="oval"/>
              <a:tailEnd type="none"/>
            </a:ln>
            <a:effectLst/>
          </p:spPr>
        </p:cxnSp>
        <p:sp>
          <p:nvSpPr>
            <p:cNvPr id="52" name="Rectangle 51"/>
            <p:cNvSpPr/>
            <p:nvPr/>
          </p:nvSpPr>
          <p:spPr>
            <a:xfrm rot="5400000">
              <a:off x="6626988" y="4484486"/>
              <a:ext cx="3063218" cy="1098948"/>
            </a:xfrm>
            <a:prstGeom prst="rect">
              <a:avLst/>
            </a:prstGeom>
          </p:spPr>
          <p:txBody>
            <a:bodyPr wrap="square">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
                  <a:srgbClr val="800000"/>
                </a:buClr>
                <a:buSzTx/>
                <a:buFontTx/>
                <a:buNone/>
                <a:tabLst/>
                <a:defRPr/>
              </a:pPr>
              <a:r>
                <a:rPr lang="en-US" sz="1600" i="1" dirty="0" err="1" smtClean="0">
                  <a:latin typeface="Segoe UI"/>
                </a:rPr>
                <a:t>Une</a:t>
              </a:r>
              <a:r>
                <a:rPr lang="en-US" sz="1600" i="1" dirty="0" smtClean="0">
                  <a:latin typeface="Segoe UI"/>
                </a:rPr>
                <a:t> transaction ne </a:t>
              </a:r>
              <a:r>
                <a:rPr lang="en-US" sz="1600" i="1" dirty="0" err="1" smtClean="0">
                  <a:latin typeface="Segoe UI"/>
                </a:rPr>
                <a:t>peut</a:t>
              </a:r>
              <a:r>
                <a:rPr lang="en-US" sz="1600" i="1" dirty="0" smtClean="0">
                  <a:latin typeface="Segoe UI"/>
                </a:rPr>
                <a:t> </a:t>
              </a:r>
              <a:r>
                <a:rPr lang="en-US" sz="1600" i="1" dirty="0" err="1" smtClean="0">
                  <a:latin typeface="Segoe UI"/>
                </a:rPr>
                <a:t>s’étendre</a:t>
              </a:r>
              <a:r>
                <a:rPr lang="en-US" sz="1600" i="1" dirty="0" smtClean="0">
                  <a:latin typeface="Segoe UI"/>
                </a:rPr>
                <a:t> que </a:t>
              </a:r>
              <a:r>
                <a:rPr lang="en-US" sz="1600" i="1" dirty="0" err="1" smtClean="0">
                  <a:latin typeface="Segoe UI"/>
                </a:rPr>
                <a:t>dans</a:t>
              </a:r>
              <a:r>
                <a:rPr lang="en-US" sz="1600" i="1" dirty="0" smtClean="0">
                  <a:latin typeface="Segoe UI"/>
                </a:rPr>
                <a:t> un </a:t>
              </a:r>
              <a:r>
                <a:rPr lang="en-US" sz="1600" i="1" dirty="0" err="1" smtClean="0">
                  <a:latin typeface="Segoe UI"/>
                </a:rPr>
                <a:t>seul</a:t>
              </a:r>
              <a:r>
                <a:rPr lang="en-US" sz="1600" i="1" dirty="0" smtClean="0">
                  <a:latin typeface="Segoe UI"/>
                </a:rPr>
                <a:t> shard</a:t>
              </a:r>
              <a:endParaRPr kumimoji="0" lang="en-US" sz="1600" b="0" i="1" u="none" strike="noStrike" kern="1200" cap="none" spc="0" normalizeH="0" baseline="0" noProof="0" dirty="0">
                <a:ln>
                  <a:noFill/>
                </a:ln>
                <a:effectLst/>
                <a:uLnTx/>
                <a:uFillTx/>
                <a:latin typeface="Segoe UI"/>
                <a:ea typeface="+mn-ea"/>
                <a:cs typeface="+mn-cs"/>
              </a:endParaRPr>
            </a:p>
          </p:txBody>
        </p:sp>
      </p:grpSp>
    </p:spTree>
    <p:extLst>
      <p:ext uri="{BB962C8B-B14F-4D97-AF65-F5344CB8AC3E}">
        <p14:creationId xmlns:p14="http://schemas.microsoft.com/office/powerpoint/2010/main" val="247978999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45"/>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smtClean="0"/>
              <a:t>Conclusion</a:t>
            </a:r>
            <a:endParaRPr lang="fr-FR" dirty="0"/>
          </a:p>
        </p:txBody>
      </p:sp>
      <p:sp>
        <p:nvSpPr>
          <p:cNvPr id="15" name="Content Placeholder 14"/>
          <p:cNvSpPr>
            <a:spLocks noGrp="1"/>
          </p:cNvSpPr>
          <p:nvPr>
            <p:ph sz="half" idx="4294967295"/>
          </p:nvPr>
        </p:nvSpPr>
        <p:spPr>
          <a:xfrm>
            <a:off x="7051675" y="1322388"/>
            <a:ext cx="5384800" cy="4616450"/>
          </a:xfrm>
          <a:prstGeom prst="rect">
            <a:avLst/>
          </a:prstGeom>
        </p:spPr>
        <p:txBody>
          <a:bodyPr>
            <a:normAutofit/>
          </a:bodyPr>
          <a:lstStyle/>
          <a:p>
            <a:r>
              <a:rPr lang="fr-FR" sz="2677" dirty="0" smtClean="0"/>
              <a:t>Extension des possibilités avec :</a:t>
            </a:r>
          </a:p>
          <a:p>
            <a:pPr lvl="1"/>
            <a:r>
              <a:rPr lang="fr-FR" sz="2295" dirty="0" err="1" smtClean="0"/>
              <a:t>Elastic</a:t>
            </a:r>
            <a:r>
              <a:rPr lang="fr-FR" sz="2295" dirty="0" smtClean="0"/>
              <a:t> Database Tools</a:t>
            </a:r>
          </a:p>
          <a:p>
            <a:pPr lvl="1"/>
            <a:r>
              <a:rPr lang="fr-FR" sz="2295" dirty="0" err="1" smtClean="0"/>
              <a:t>Elastic</a:t>
            </a:r>
            <a:r>
              <a:rPr lang="fr-FR" sz="2295" dirty="0" smtClean="0"/>
              <a:t> Database Pools (</a:t>
            </a:r>
            <a:r>
              <a:rPr lang="fr-FR" sz="2295" dirty="0" err="1" smtClean="0"/>
              <a:t>preview</a:t>
            </a:r>
            <a:r>
              <a:rPr lang="fr-FR" sz="2295" dirty="0" smtClean="0"/>
              <a:t>)</a:t>
            </a:r>
          </a:p>
          <a:p>
            <a:pPr lvl="1"/>
            <a:r>
              <a:rPr lang="fr-FR" sz="2295" dirty="0" err="1" smtClean="0"/>
              <a:t>Elastic</a:t>
            </a:r>
            <a:r>
              <a:rPr lang="fr-FR" sz="2295" dirty="0" smtClean="0"/>
              <a:t> Database </a:t>
            </a:r>
            <a:r>
              <a:rPr lang="fr-FR" sz="2295" dirty="0" err="1" smtClean="0"/>
              <a:t>Query</a:t>
            </a:r>
            <a:r>
              <a:rPr lang="fr-FR" sz="2295" dirty="0" smtClean="0"/>
              <a:t> (</a:t>
            </a:r>
            <a:r>
              <a:rPr lang="fr-FR" sz="2295" dirty="0" err="1" smtClean="0"/>
              <a:t>preview</a:t>
            </a:r>
            <a:r>
              <a:rPr lang="fr-FR" sz="2295" dirty="0" smtClean="0"/>
              <a:t>)</a:t>
            </a:r>
          </a:p>
          <a:p>
            <a:pPr lvl="1"/>
            <a:r>
              <a:rPr lang="fr-FR" sz="2295" dirty="0" err="1" smtClean="0"/>
              <a:t>Elastic</a:t>
            </a:r>
            <a:r>
              <a:rPr lang="fr-FR" sz="2295" dirty="0" smtClean="0"/>
              <a:t> Database Jobs (</a:t>
            </a:r>
            <a:r>
              <a:rPr lang="fr-FR" sz="2295" dirty="0" err="1" smtClean="0"/>
              <a:t>preview</a:t>
            </a:r>
            <a:r>
              <a:rPr lang="fr-FR" sz="2295" dirty="0" smtClean="0"/>
              <a:t>)</a:t>
            </a:r>
            <a:endParaRPr lang="fr-FR" sz="2677" dirty="0"/>
          </a:p>
        </p:txBody>
      </p:sp>
      <p:sp>
        <p:nvSpPr>
          <p:cNvPr id="2" name="Text Placeholder 1"/>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sp>
        <p:nvSpPr>
          <p:cNvPr id="7" name="Text Placeholder 2"/>
          <p:cNvSpPr txBox="1">
            <a:spLocks/>
          </p:cNvSpPr>
          <p:nvPr/>
        </p:nvSpPr>
        <p:spPr>
          <a:xfrm>
            <a:off x="609706" y="1382889"/>
            <a:ext cx="5422546" cy="4828822"/>
          </a:xfrm>
          <a:prstGeom prst="rect">
            <a:avLst/>
          </a:prstGeom>
        </p:spPr>
        <p:txBody>
          <a:bodyPr>
            <a:norm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fr-FR" sz="2800" dirty="0" smtClean="0"/>
              <a:t>Modèle </a:t>
            </a:r>
            <a:r>
              <a:rPr lang="fr-FR" sz="2800" smtClean="0"/>
              <a:t>single-tenant Database </a:t>
            </a:r>
            <a:r>
              <a:rPr lang="fr-FR" sz="2800" dirty="0" smtClean="0"/>
              <a:t>pour bâtir des applications SaaS dans le Cloud : </a:t>
            </a:r>
          </a:p>
          <a:p>
            <a:pPr lvl="1"/>
            <a:r>
              <a:rPr lang="fr-FR" dirty="0" smtClean="0"/>
              <a:t>Spécificités d’Azure SQL Database</a:t>
            </a:r>
          </a:p>
          <a:p>
            <a:pPr lvl="1"/>
            <a:r>
              <a:rPr lang="fr-FR" dirty="0" smtClean="0"/>
              <a:t>Isolation des données </a:t>
            </a:r>
          </a:p>
          <a:p>
            <a:pPr lvl="1"/>
            <a:r>
              <a:rPr lang="fr-FR" dirty="0" smtClean="0"/>
              <a:t>Simplification des développements </a:t>
            </a:r>
          </a:p>
          <a:p>
            <a:pPr marL="342900" lvl="1" indent="0">
              <a:buNone/>
            </a:pPr>
            <a:endParaRPr lang="fr-FR" dirty="0" smtClean="0"/>
          </a:p>
        </p:txBody>
      </p:sp>
      <p:sp>
        <p:nvSpPr>
          <p:cNvPr id="10" name="Text Placeholder 2"/>
          <p:cNvSpPr txBox="1">
            <a:spLocks/>
          </p:cNvSpPr>
          <p:nvPr/>
        </p:nvSpPr>
        <p:spPr>
          <a:xfrm>
            <a:off x="601613" y="4244507"/>
            <a:ext cx="11449272" cy="2127585"/>
          </a:xfrm>
          <a:prstGeom prst="rect">
            <a:avLst/>
          </a:prstGeom>
        </p:spPr>
        <p:txBody>
          <a:bodyPr>
            <a:norm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fr-FR" sz="2800" dirty="0" smtClean="0"/>
              <a:t>Un environnement Database-as-a Service </a:t>
            </a:r>
            <a:r>
              <a:rPr lang="fr-FR" sz="2800" dirty="0"/>
              <a:t>d’échelle très </a:t>
            </a:r>
            <a:r>
              <a:rPr lang="fr-FR" sz="2800" dirty="0" smtClean="0"/>
              <a:t>significative !</a:t>
            </a:r>
            <a:endParaRPr lang="fr-FR" sz="2800" dirty="0"/>
          </a:p>
          <a:p>
            <a:pPr lvl="1"/>
            <a:r>
              <a:rPr lang="fr-FR" dirty="0"/>
              <a:t>Charges non prédictibles pour des applications </a:t>
            </a:r>
            <a:r>
              <a:rPr lang="fr-FR" dirty="0" smtClean="0"/>
              <a:t>SaaS</a:t>
            </a:r>
            <a:endParaRPr lang="fr-FR" dirty="0"/>
          </a:p>
          <a:p>
            <a:pPr lvl="1"/>
            <a:r>
              <a:rPr lang="fr-FR" dirty="0"/>
              <a:t>Pas de remise en cause des outils de management ou de développement </a:t>
            </a:r>
            <a:r>
              <a:rPr lang="fr-FR" dirty="0" smtClean="0"/>
              <a:t>existants</a:t>
            </a:r>
          </a:p>
        </p:txBody>
      </p:sp>
    </p:spTree>
    <p:extLst>
      <p:ext uri="{BB962C8B-B14F-4D97-AF65-F5344CB8AC3E}">
        <p14:creationId xmlns:p14="http://schemas.microsoft.com/office/powerpoint/2010/main" val="3691325873"/>
      </p:ext>
    </p:extLst>
  </p:cSld>
  <p:clrMapOvr>
    <a:masterClrMapping/>
  </p:clrMapOvr>
  <p:transition>
    <p:fade/>
  </p:transition>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p:txBody>
          <a:bodyPr/>
          <a:lstStyle/>
          <a:p>
            <a:r>
              <a:rPr lang="fr-FR" dirty="0" smtClean="0"/>
              <a:t>Démonstration</a:t>
            </a:r>
            <a:endParaRPr lang="fr-FR" dirty="0"/>
          </a:p>
        </p:txBody>
      </p:sp>
      <p:sp>
        <p:nvSpPr>
          <p:cNvPr id="8" name="Text Placeholder 7"/>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sp>
        <p:nvSpPr>
          <p:cNvPr id="6" name="Title 5"/>
          <p:cNvSpPr>
            <a:spLocks noGrp="1"/>
          </p:cNvSpPr>
          <p:nvPr>
            <p:ph type="title"/>
          </p:nvPr>
        </p:nvSpPr>
        <p:spPr/>
        <p:txBody>
          <a:bodyPr/>
          <a:lstStyle/>
          <a:p>
            <a:r>
              <a:rPr lang="fr-FR" dirty="0" err="1" smtClean="0"/>
              <a:t>Elastic</a:t>
            </a:r>
            <a:r>
              <a:rPr lang="fr-FR" dirty="0" smtClean="0"/>
              <a:t> Database</a:t>
            </a:r>
            <a:endParaRPr lang="fr-FR" dirty="0"/>
          </a:p>
        </p:txBody>
      </p:sp>
    </p:spTree>
    <p:extLst>
      <p:ext uri="{BB962C8B-B14F-4D97-AF65-F5344CB8AC3E}">
        <p14:creationId xmlns:p14="http://schemas.microsoft.com/office/powerpoint/2010/main" val="2051462276"/>
      </p:ext>
    </p:extLst>
  </p:cSld>
  <p:clrMapOvr>
    <a:masterClrMapping/>
  </p:clrMapOvr>
  <p:transition>
    <p:fade/>
  </p:transition>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smtClean="0"/>
              <a:t>Ressources</a:t>
            </a:r>
            <a:endParaRPr lang="fr-FR" dirty="0"/>
          </a:p>
        </p:txBody>
      </p:sp>
      <p:sp>
        <p:nvSpPr>
          <p:cNvPr id="5" name="Text Placeholder 4"/>
          <p:cNvSpPr>
            <a:spLocks noGrp="1"/>
          </p:cNvSpPr>
          <p:nvPr>
            <p:ph type="body" sz="quarter" idx="13"/>
          </p:nvPr>
        </p:nvSpPr>
        <p:spPr/>
        <p:txBody>
          <a:bodyPr/>
          <a:lstStyle/>
          <a:p>
            <a:endParaRPr lang="fr-FR" dirty="0"/>
          </a:p>
        </p:txBody>
      </p:sp>
      <p:sp>
        <p:nvSpPr>
          <p:cNvPr id="6" name="Text Placeholder 5"/>
          <p:cNvSpPr>
            <a:spLocks noGrp="1"/>
          </p:cNvSpPr>
          <p:nvPr>
            <p:ph type="body" sz="quarter" idx="14"/>
          </p:nvPr>
        </p:nvSpPr>
        <p:spPr/>
        <p:txBody>
          <a:bodyPr/>
          <a:lstStyle/>
          <a:p>
            <a:endParaRPr lang="fr-FR"/>
          </a:p>
        </p:txBody>
      </p:sp>
      <p:sp>
        <p:nvSpPr>
          <p:cNvPr id="7" name="Text Placeholder 6"/>
          <p:cNvSpPr>
            <a:spLocks noGrp="1"/>
          </p:cNvSpPr>
          <p:nvPr>
            <p:ph type="body" sz="quarter" idx="15"/>
          </p:nvPr>
        </p:nvSpPr>
        <p:spPr/>
        <p:txBody>
          <a:bodyPr/>
          <a:lstStyle/>
          <a:p>
            <a:r>
              <a:rPr lang="fr-FR" dirty="0"/>
              <a:t>SQL ou </a:t>
            </a:r>
            <a:r>
              <a:rPr lang="fr-FR" dirty="0" err="1"/>
              <a:t>noSQL</a:t>
            </a:r>
            <a:r>
              <a:rPr lang="fr-FR" dirty="0"/>
              <a:t> ?</a:t>
            </a:r>
          </a:p>
        </p:txBody>
      </p:sp>
    </p:spTree>
    <p:extLst>
      <p:ext uri="{BB962C8B-B14F-4D97-AF65-F5344CB8AC3E}">
        <p14:creationId xmlns:p14="http://schemas.microsoft.com/office/powerpoint/2010/main" val="113681743"/>
      </p:ext>
    </p:extLst>
  </p:cSld>
  <p:clrMapOvr>
    <a:masterClrMapping/>
  </p:clrMapOvr>
  <p:transition>
    <p:fade/>
  </p:transition>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5"/>
          </p:nvPr>
        </p:nvSpPr>
        <p:spPr/>
        <p:txBody>
          <a:bodyPr/>
          <a:lstStyle/>
          <a:p>
            <a:r>
              <a:rPr lang="fr-FR" dirty="0"/>
              <a:t>SQL ou </a:t>
            </a:r>
            <a:r>
              <a:rPr lang="fr-FR" dirty="0" err="1"/>
              <a:t>noSQL</a:t>
            </a:r>
            <a:r>
              <a:rPr lang="fr-FR" dirty="0"/>
              <a:t> ?</a:t>
            </a:r>
          </a:p>
        </p:txBody>
      </p:sp>
      <p:sp>
        <p:nvSpPr>
          <p:cNvPr id="2" name="Title 1"/>
          <p:cNvSpPr>
            <a:spLocks noGrp="1"/>
          </p:cNvSpPr>
          <p:nvPr>
            <p:ph type="title"/>
          </p:nvPr>
        </p:nvSpPr>
        <p:spPr/>
        <p:txBody>
          <a:bodyPr/>
          <a:lstStyle/>
          <a:p>
            <a:r>
              <a:rPr lang="fr-FR" dirty="0"/>
              <a:t>Démarrez avec votre </a:t>
            </a:r>
            <a:r>
              <a:rPr lang="fr-FR" dirty="0" smtClean="0"/>
              <a:t>Azure</a:t>
            </a:r>
            <a:endParaRPr lang="fr-FR" dirty="0"/>
          </a:p>
        </p:txBody>
      </p:sp>
      <p:sp>
        <p:nvSpPr>
          <p:cNvPr id="66" name="ZoneTexte 47"/>
          <p:cNvSpPr txBox="1"/>
          <p:nvPr/>
        </p:nvSpPr>
        <p:spPr>
          <a:xfrm>
            <a:off x="8457030" y="2832163"/>
            <a:ext cx="3656220" cy="605264"/>
          </a:xfrm>
          <a:prstGeom prst="rect">
            <a:avLst/>
          </a:prstGeom>
          <a:noFill/>
          <a:ln>
            <a:noFill/>
          </a:ln>
        </p:spPr>
        <p:txBody>
          <a:bodyPr wrap="square" rtlCol="0">
            <a:spAutoFit/>
          </a:bodyPr>
          <a:lstStyle/>
          <a:p>
            <a:pPr defTabSz="914093"/>
            <a:r>
              <a:rPr lang="fr-FR" sz="1666" dirty="0">
                <a:solidFill>
                  <a:prstClr val="black"/>
                </a:solidFill>
                <a:latin typeface="Segoe UI Light" panose="020B0502040204020203" pitchFamily="34" charset="0"/>
                <a:cs typeface="Segoe UI Light" panose="020B0502040204020203" pitchFamily="34" charset="0"/>
              </a:rPr>
              <a:t>Activez vos bénéfices Azure jusqu’à </a:t>
            </a:r>
            <a:r>
              <a:rPr lang="fr-FR" sz="1666" b="1" dirty="0">
                <a:solidFill>
                  <a:prstClr val="black"/>
                </a:solidFill>
                <a:latin typeface="Segoe UI Light" panose="020B0502040204020203" pitchFamily="34" charset="0"/>
                <a:cs typeface="Segoe UI Light" panose="020B0502040204020203" pitchFamily="34" charset="0"/>
              </a:rPr>
              <a:t>115€ </a:t>
            </a:r>
            <a:r>
              <a:rPr lang="fr-FR" sz="1666" dirty="0">
                <a:solidFill>
                  <a:prstClr val="black"/>
                </a:solidFill>
                <a:latin typeface="Segoe UI Light" panose="020B0502040204020203" pitchFamily="34" charset="0"/>
                <a:cs typeface="Segoe UI Light" panose="020B0502040204020203" pitchFamily="34" charset="0"/>
              </a:rPr>
              <a:t>de ressources mensuelles offertes</a:t>
            </a:r>
          </a:p>
        </p:txBody>
      </p:sp>
      <p:cxnSp>
        <p:nvCxnSpPr>
          <p:cNvPr id="69" name="Connecteur droit 48"/>
          <p:cNvCxnSpPr/>
          <p:nvPr/>
        </p:nvCxnSpPr>
        <p:spPr>
          <a:xfrm>
            <a:off x="4175148" y="1496679"/>
            <a:ext cx="26867" cy="4939637"/>
          </a:xfrm>
          <a:prstGeom prst="line">
            <a:avLst/>
          </a:prstGeom>
          <a:ln w="38100">
            <a:solidFill>
              <a:srgbClr val="00B0F0"/>
            </a:solidFill>
            <a:prstDash val="sysDot"/>
          </a:ln>
        </p:spPr>
        <p:style>
          <a:lnRef idx="1">
            <a:schemeClr val="accent1"/>
          </a:lnRef>
          <a:fillRef idx="0">
            <a:schemeClr val="accent1"/>
          </a:fillRef>
          <a:effectRef idx="0">
            <a:schemeClr val="accent1"/>
          </a:effectRef>
          <a:fontRef idx="minor">
            <a:schemeClr val="tx1"/>
          </a:fontRef>
        </p:style>
      </p:cxnSp>
      <p:cxnSp>
        <p:nvCxnSpPr>
          <p:cNvPr id="71" name="Connecteur droit 49"/>
          <p:cNvCxnSpPr/>
          <p:nvPr/>
        </p:nvCxnSpPr>
        <p:spPr>
          <a:xfrm>
            <a:off x="8223045" y="1496679"/>
            <a:ext cx="26867" cy="4939637"/>
          </a:xfrm>
          <a:prstGeom prst="line">
            <a:avLst/>
          </a:prstGeom>
          <a:ln w="38100">
            <a:solidFill>
              <a:srgbClr val="00B0F0"/>
            </a:solidFill>
            <a:prstDash val="sysDot"/>
          </a:ln>
        </p:spPr>
        <p:style>
          <a:lnRef idx="1">
            <a:schemeClr val="accent1"/>
          </a:lnRef>
          <a:fillRef idx="0">
            <a:schemeClr val="accent1"/>
          </a:fillRef>
          <a:effectRef idx="0">
            <a:schemeClr val="accent1"/>
          </a:effectRef>
          <a:fontRef idx="minor">
            <a:schemeClr val="tx1"/>
          </a:fontRef>
        </p:style>
      </p:cxnSp>
      <p:sp>
        <p:nvSpPr>
          <p:cNvPr id="72" name="ZoneTexte 50"/>
          <p:cNvSpPr txBox="1"/>
          <p:nvPr/>
        </p:nvSpPr>
        <p:spPr>
          <a:xfrm>
            <a:off x="4445007" y="3565466"/>
            <a:ext cx="3199685" cy="982064"/>
          </a:xfrm>
          <a:prstGeom prst="rect">
            <a:avLst/>
          </a:prstGeom>
          <a:noFill/>
          <a:ln>
            <a:noFill/>
          </a:ln>
        </p:spPr>
        <p:txBody>
          <a:bodyPr wrap="square" rtlCol="0">
            <a:spAutoFit/>
          </a:bodyPr>
          <a:lstStyle/>
          <a:p>
            <a:pPr defTabSz="914093"/>
            <a:r>
              <a:rPr lang="fr-FR" sz="1372" dirty="0">
                <a:solidFill>
                  <a:prstClr val="black"/>
                </a:solidFill>
                <a:latin typeface="Segoe UI Light" panose="020B0502040204020203" pitchFamily="34" charset="0"/>
                <a:cs typeface="Segoe UI Light" panose="020B0502040204020203" pitchFamily="34" charset="0"/>
              </a:rPr>
              <a:t>115€ /mois</a:t>
            </a:r>
          </a:p>
          <a:p>
            <a:pPr defTabSz="914093"/>
            <a:r>
              <a:rPr lang="fr-FR" sz="1372" dirty="0">
                <a:solidFill>
                  <a:prstClr val="black"/>
                </a:solidFill>
                <a:latin typeface="Segoe UI Light" panose="020B0502040204020203" pitchFamily="34" charset="0"/>
                <a:cs typeface="Segoe UI Light" panose="020B0502040204020203" pitchFamily="34" charset="0"/>
              </a:rPr>
              <a:t>x5 membres</a:t>
            </a:r>
          </a:p>
          <a:p>
            <a:pPr defTabSz="914093"/>
            <a:r>
              <a:rPr lang="fr-FR" sz="1372" dirty="0">
                <a:solidFill>
                  <a:prstClr val="black"/>
                </a:solidFill>
                <a:latin typeface="Segoe UI Light" panose="020B0502040204020203" pitchFamily="34" charset="0"/>
                <a:cs typeface="Segoe UI Light" panose="020B0502040204020203" pitchFamily="34" charset="0"/>
              </a:rPr>
              <a:t>x3 ans</a:t>
            </a:r>
          </a:p>
          <a:p>
            <a:pPr defTabSz="914093"/>
            <a:r>
              <a:rPr lang="fr-FR" sz="1666" dirty="0">
                <a:solidFill>
                  <a:prstClr val="black"/>
                </a:solidFill>
                <a:latin typeface="Segoe UI Light" panose="020B0502040204020203" pitchFamily="34" charset="0"/>
                <a:cs typeface="Segoe UI Light" panose="020B0502040204020203" pitchFamily="34" charset="0"/>
              </a:rPr>
              <a:t>=</a:t>
            </a:r>
            <a:r>
              <a:rPr lang="fr-FR" sz="1666" b="1" dirty="0">
                <a:solidFill>
                  <a:prstClr val="black"/>
                </a:solidFill>
                <a:latin typeface="Segoe UI Light" panose="020B0502040204020203" pitchFamily="34" charset="0"/>
                <a:cs typeface="Segoe UI Light" panose="020B0502040204020203" pitchFamily="34" charset="0"/>
              </a:rPr>
              <a:t> 4 175€ </a:t>
            </a:r>
            <a:r>
              <a:rPr lang="fr-FR" sz="1666" dirty="0">
                <a:solidFill>
                  <a:prstClr val="black"/>
                </a:solidFill>
                <a:latin typeface="Segoe UI Light" panose="020B0502040204020203" pitchFamily="34" charset="0"/>
                <a:cs typeface="Segoe UI Light" panose="020B0502040204020203" pitchFamily="34" charset="0"/>
              </a:rPr>
              <a:t>de ressources offertes</a:t>
            </a:r>
          </a:p>
        </p:txBody>
      </p:sp>
      <p:pic>
        <p:nvPicPr>
          <p:cNvPr id="73" name="Image 54"/>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322440" y="2832162"/>
            <a:ext cx="1883690" cy="669832"/>
          </a:xfrm>
          <a:prstGeom prst="rect">
            <a:avLst/>
          </a:prstGeom>
          <a:ln>
            <a:solidFill>
              <a:schemeClr val="bg1"/>
            </a:solidFill>
          </a:ln>
        </p:spPr>
      </p:pic>
      <p:pic>
        <p:nvPicPr>
          <p:cNvPr id="74" name="Image 56"/>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79952" y="3650068"/>
            <a:ext cx="3032704" cy="2409458"/>
          </a:xfrm>
          <a:prstGeom prst="rect">
            <a:avLst/>
          </a:prstGeom>
          <a:ln>
            <a:solidFill>
              <a:schemeClr val="tx1"/>
            </a:solidFill>
          </a:ln>
        </p:spPr>
      </p:pic>
      <p:sp>
        <p:nvSpPr>
          <p:cNvPr id="75" name="Flèche droite 57"/>
          <p:cNvSpPr/>
          <p:nvPr/>
        </p:nvSpPr>
        <p:spPr>
          <a:xfrm>
            <a:off x="220335" y="4818468"/>
            <a:ext cx="1076142" cy="670503"/>
          </a:xfrm>
          <a:prstGeom prst="rightArrow">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93"/>
            <a:endParaRPr lang="fr-FR" sz="1764">
              <a:solidFill>
                <a:srgbClr val="505050">
                  <a:lumMod val="50000"/>
                </a:srgbClr>
              </a:solidFill>
              <a:latin typeface="Segoe UI Light" panose="020B0502040204020203" pitchFamily="34" charset="0"/>
              <a:cs typeface="Segoe UI Light" panose="020B0502040204020203" pitchFamily="34" charset="0"/>
            </a:endParaRPr>
          </a:p>
        </p:txBody>
      </p:sp>
      <p:sp>
        <p:nvSpPr>
          <p:cNvPr id="76" name="ZoneTexte 58"/>
          <p:cNvSpPr txBox="1"/>
          <p:nvPr/>
        </p:nvSpPr>
        <p:spPr>
          <a:xfrm>
            <a:off x="532361" y="2839298"/>
            <a:ext cx="3656220" cy="603296"/>
          </a:xfrm>
          <a:prstGeom prst="rect">
            <a:avLst/>
          </a:prstGeom>
          <a:noFill/>
          <a:ln>
            <a:noFill/>
          </a:ln>
        </p:spPr>
        <p:txBody>
          <a:bodyPr wrap="square" rtlCol="0">
            <a:spAutoFit/>
          </a:bodyPr>
          <a:lstStyle/>
          <a:p>
            <a:pPr defTabSz="914093"/>
            <a:r>
              <a:rPr lang="fr-FR" sz="1666" b="1" dirty="0">
                <a:solidFill>
                  <a:prstClr val="black"/>
                </a:solidFill>
                <a:latin typeface="Segoe UI Light" panose="020B0502040204020203" pitchFamily="34" charset="0"/>
                <a:cs typeface="Segoe UI Light" panose="020B0502040204020203" pitchFamily="34" charset="0"/>
              </a:rPr>
              <a:t>150€  </a:t>
            </a:r>
            <a:r>
              <a:rPr lang="fr-FR" sz="1666" dirty="0">
                <a:solidFill>
                  <a:prstClr val="black"/>
                </a:solidFill>
                <a:latin typeface="Segoe UI Light" panose="020B0502040204020203" pitchFamily="34" charset="0"/>
                <a:cs typeface="Segoe UI Light" panose="020B0502040204020203" pitchFamily="34" charset="0"/>
              </a:rPr>
              <a:t>de ressources offertes</a:t>
            </a:r>
          </a:p>
          <a:p>
            <a:pPr defTabSz="914093"/>
            <a:r>
              <a:rPr lang="fr-FR" sz="1666" dirty="0">
                <a:solidFill>
                  <a:prstClr val="black"/>
                </a:solidFill>
                <a:latin typeface="Segoe UI Light" panose="020B0502040204020203" pitchFamily="34" charset="0"/>
                <a:cs typeface="Segoe UI Light" panose="020B0502040204020203" pitchFamily="34" charset="0"/>
              </a:rPr>
              <a:t>Sans engagement</a:t>
            </a:r>
          </a:p>
        </p:txBody>
      </p:sp>
      <p:sp>
        <p:nvSpPr>
          <p:cNvPr id="77" name="ZoneTexte 59"/>
          <p:cNvSpPr txBox="1"/>
          <p:nvPr/>
        </p:nvSpPr>
        <p:spPr>
          <a:xfrm>
            <a:off x="328234" y="1382352"/>
            <a:ext cx="3547936" cy="1712202"/>
          </a:xfrm>
          <a:prstGeom prst="rect">
            <a:avLst/>
          </a:prstGeom>
          <a:noFill/>
          <a:ln>
            <a:noFill/>
          </a:ln>
        </p:spPr>
        <p:txBody>
          <a:bodyPr wrap="square" rtlCol="0">
            <a:spAutoFit/>
          </a:bodyPr>
          <a:lstStyle/>
          <a:p>
            <a:pPr algn="ctr" defTabSz="914093">
              <a:lnSpc>
                <a:spcPct val="90000"/>
              </a:lnSpc>
              <a:spcBef>
                <a:spcPct val="20000"/>
              </a:spcBef>
              <a:buSzPct val="90000"/>
            </a:pPr>
            <a:r>
              <a:rPr lang="fr-FR" sz="3136" dirty="0">
                <a:solidFill>
                  <a:srgbClr val="00B0F0"/>
                </a:solidFill>
                <a:latin typeface="Segoe UI Light" panose="020B0502040204020203" pitchFamily="34" charset="0"/>
                <a:cs typeface="Segoe UI Light" panose="020B0502040204020203" pitchFamily="34" charset="0"/>
              </a:rPr>
              <a:t>Pour tous</a:t>
            </a:r>
          </a:p>
          <a:p>
            <a:pPr algn="ctr" defTabSz="914093"/>
            <a:r>
              <a:rPr lang="fr-FR" sz="2352" b="1" dirty="0">
                <a:solidFill>
                  <a:prstClr val="black"/>
                </a:solidFill>
                <a:latin typeface="Segoe UI Light" panose="020B0502040204020203" pitchFamily="34" charset="0"/>
                <a:cs typeface="Segoe UI Light" panose="020B0502040204020203" pitchFamily="34" charset="0"/>
              </a:rPr>
              <a:t>Un mois d’essai offert</a:t>
            </a:r>
          </a:p>
          <a:p>
            <a:pPr algn="ctr" defTabSz="914093"/>
            <a:endParaRPr lang="fr-FR" sz="1000" dirty="0">
              <a:solidFill>
                <a:prstClr val="black"/>
              </a:solidFill>
              <a:latin typeface="Segoe UI Light" panose="020B0502040204020203" pitchFamily="34" charset="0"/>
              <a:cs typeface="Segoe UI Light" panose="020B0502040204020203" pitchFamily="34" charset="0"/>
              <a:hlinkClick r:id="rId5" tooltip="http://aka.ms/azure/essai"/>
            </a:endParaRPr>
          </a:p>
          <a:p>
            <a:pPr algn="ctr" defTabSz="914093"/>
            <a:r>
              <a:rPr lang="fr-FR" sz="1999" b="1" dirty="0">
                <a:solidFill>
                  <a:srgbClr val="00B0F0"/>
                </a:solidFill>
                <a:latin typeface="Segoe UI Light" panose="020B0502040204020203" pitchFamily="34" charset="0"/>
                <a:cs typeface="Segoe UI Light" panose="020B0502040204020203" pitchFamily="34" charset="0"/>
              </a:rPr>
              <a:t>http://aka.ms/azure/essai</a:t>
            </a:r>
          </a:p>
          <a:p>
            <a:pPr algn="ctr" defTabSz="914093"/>
            <a:endParaRPr lang="fr-FR" sz="2352" b="1" dirty="0">
              <a:solidFill>
                <a:prstClr val="white"/>
              </a:solidFill>
              <a:latin typeface="Segoe UI Light" panose="020B0502040204020203" pitchFamily="34" charset="0"/>
              <a:cs typeface="Segoe UI Light" panose="020B0502040204020203" pitchFamily="34" charset="0"/>
            </a:endParaRPr>
          </a:p>
        </p:txBody>
      </p:sp>
      <p:sp>
        <p:nvSpPr>
          <p:cNvPr id="78" name="ZoneTexte 61"/>
          <p:cNvSpPr txBox="1"/>
          <p:nvPr/>
        </p:nvSpPr>
        <p:spPr>
          <a:xfrm>
            <a:off x="4432116" y="1378061"/>
            <a:ext cx="3547936" cy="1635278"/>
          </a:xfrm>
          <a:prstGeom prst="rect">
            <a:avLst/>
          </a:prstGeom>
          <a:noFill/>
          <a:ln>
            <a:noFill/>
          </a:ln>
        </p:spPr>
        <p:txBody>
          <a:bodyPr wrap="square" rtlCol="0">
            <a:spAutoFit/>
          </a:bodyPr>
          <a:lstStyle/>
          <a:p>
            <a:pPr algn="ctr" defTabSz="914093">
              <a:lnSpc>
                <a:spcPct val="90000"/>
              </a:lnSpc>
              <a:spcBef>
                <a:spcPct val="20000"/>
              </a:spcBef>
              <a:buSzPct val="90000"/>
            </a:pPr>
            <a:r>
              <a:rPr lang="fr-FR" sz="3136" dirty="0">
                <a:solidFill>
                  <a:srgbClr val="00B0F0"/>
                </a:solidFill>
                <a:latin typeface="Segoe UI Light" panose="020B0502040204020203" pitchFamily="34" charset="0"/>
                <a:cs typeface="Segoe UI Light" panose="020B0502040204020203" pitchFamily="34" charset="0"/>
              </a:rPr>
              <a:t>Pour les startups</a:t>
            </a:r>
          </a:p>
          <a:p>
            <a:pPr algn="ctr" defTabSz="914093"/>
            <a:r>
              <a:rPr lang="fr-FR" sz="2352" b="1" dirty="0" err="1">
                <a:solidFill>
                  <a:prstClr val="black"/>
                </a:solidFill>
                <a:latin typeface="Segoe UI Light" panose="020B0502040204020203" pitchFamily="34" charset="0"/>
                <a:cs typeface="Segoe UI Light" panose="020B0502040204020203" pitchFamily="34" charset="0"/>
              </a:rPr>
              <a:t>Bizspark</a:t>
            </a:r>
            <a:endParaRPr lang="fr-FR" sz="2352" b="1" dirty="0">
              <a:solidFill>
                <a:prstClr val="black"/>
              </a:solidFill>
              <a:latin typeface="Segoe UI Light" panose="020B0502040204020203" pitchFamily="34" charset="0"/>
              <a:cs typeface="Segoe UI Light" panose="020B0502040204020203" pitchFamily="34" charset="0"/>
            </a:endParaRPr>
          </a:p>
          <a:p>
            <a:pPr algn="ctr" defTabSz="914093"/>
            <a:endParaRPr lang="fr-FR" sz="500" b="1" dirty="0">
              <a:solidFill>
                <a:prstClr val="white"/>
              </a:solidFill>
              <a:latin typeface="Segoe UI Light" panose="020B0502040204020203" pitchFamily="34" charset="0"/>
              <a:cs typeface="Segoe UI Light" panose="020B0502040204020203" pitchFamily="34" charset="0"/>
            </a:endParaRPr>
          </a:p>
          <a:p>
            <a:pPr algn="ctr" defTabSz="914093"/>
            <a:r>
              <a:rPr lang="fr-FR" sz="1999" b="1" dirty="0">
                <a:solidFill>
                  <a:srgbClr val="00B0F0"/>
                </a:solidFill>
                <a:latin typeface="Segoe UI Light" panose="020B0502040204020203" pitchFamily="34" charset="0"/>
                <a:cs typeface="Segoe UI Light" panose="020B0502040204020203" pitchFamily="34" charset="0"/>
              </a:rPr>
              <a:t>http://aka.ms/azure/startups</a:t>
            </a:r>
          </a:p>
          <a:p>
            <a:pPr algn="ctr" defTabSz="914093"/>
            <a:endParaRPr lang="fr-FR" sz="2352" b="1" dirty="0">
              <a:solidFill>
                <a:prstClr val="white"/>
              </a:solidFill>
              <a:latin typeface="Segoe UI Light" panose="020B0502040204020203" pitchFamily="34" charset="0"/>
              <a:cs typeface="Segoe UI Light" panose="020B0502040204020203" pitchFamily="34" charset="0"/>
            </a:endParaRPr>
          </a:p>
        </p:txBody>
      </p:sp>
      <p:sp>
        <p:nvSpPr>
          <p:cNvPr id="79" name="ZoneTexte 63"/>
          <p:cNvSpPr txBox="1"/>
          <p:nvPr/>
        </p:nvSpPr>
        <p:spPr>
          <a:xfrm>
            <a:off x="8374038" y="1382351"/>
            <a:ext cx="3547936" cy="1275530"/>
          </a:xfrm>
          <a:prstGeom prst="rect">
            <a:avLst/>
          </a:prstGeom>
          <a:noFill/>
          <a:ln>
            <a:noFill/>
          </a:ln>
        </p:spPr>
        <p:txBody>
          <a:bodyPr wrap="square" rtlCol="0">
            <a:spAutoFit/>
          </a:bodyPr>
          <a:lstStyle/>
          <a:p>
            <a:pPr algn="ctr" defTabSz="914093">
              <a:lnSpc>
                <a:spcPct val="90000"/>
              </a:lnSpc>
              <a:spcBef>
                <a:spcPct val="20000"/>
              </a:spcBef>
              <a:buSzPct val="90000"/>
            </a:pPr>
            <a:r>
              <a:rPr lang="fr-FR" sz="3136" dirty="0">
                <a:solidFill>
                  <a:srgbClr val="00B0F0"/>
                </a:solidFill>
                <a:latin typeface="Segoe UI Light" panose="020B0502040204020203" pitchFamily="34" charset="0"/>
                <a:cs typeface="Segoe UI Light" panose="020B0502040204020203" pitchFamily="34" charset="0"/>
              </a:rPr>
              <a:t>Pour les abonnés </a:t>
            </a:r>
            <a:r>
              <a:rPr lang="fr-FR" sz="2352" b="1" dirty="0">
                <a:solidFill>
                  <a:prstClr val="black"/>
                </a:solidFill>
                <a:latin typeface="Segoe UI Light" panose="020B0502040204020203" pitchFamily="34" charset="0"/>
                <a:cs typeface="Segoe UI Light" panose="020B0502040204020203" pitchFamily="34" charset="0"/>
              </a:rPr>
              <a:t>MSDN</a:t>
            </a:r>
          </a:p>
          <a:p>
            <a:pPr algn="ctr" defTabSz="914093">
              <a:lnSpc>
                <a:spcPct val="90000"/>
              </a:lnSpc>
              <a:spcBef>
                <a:spcPct val="20000"/>
              </a:spcBef>
              <a:buSzPct val="90000"/>
            </a:pPr>
            <a:endParaRPr lang="fr-FR" sz="500" dirty="0">
              <a:solidFill>
                <a:srgbClr val="505050">
                  <a:lumMod val="50000"/>
                </a:srgbClr>
              </a:solidFill>
              <a:latin typeface="Segoe UI Light" panose="020B0502040204020203" pitchFamily="34" charset="0"/>
              <a:cs typeface="Segoe UI Light" panose="020B0502040204020203" pitchFamily="34" charset="0"/>
              <a:hlinkClick r:id="rId6"/>
            </a:endParaRPr>
          </a:p>
          <a:p>
            <a:pPr algn="ctr" defTabSz="914093">
              <a:lnSpc>
                <a:spcPct val="90000"/>
              </a:lnSpc>
              <a:spcBef>
                <a:spcPct val="20000"/>
              </a:spcBef>
              <a:buSzPct val="90000"/>
            </a:pPr>
            <a:r>
              <a:rPr lang="fr-FR" sz="1999" b="1" dirty="0">
                <a:solidFill>
                  <a:srgbClr val="00B0F0"/>
                </a:solidFill>
                <a:latin typeface="Segoe UI Light" panose="020B0502040204020203" pitchFamily="34" charset="0"/>
                <a:cs typeface="Segoe UI Light" panose="020B0502040204020203" pitchFamily="34" charset="0"/>
              </a:rPr>
              <a:t>http://aka.ms/azure/msdn</a:t>
            </a:r>
          </a:p>
        </p:txBody>
      </p:sp>
      <p:pic>
        <p:nvPicPr>
          <p:cNvPr id="80" name="Image 16"/>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5259532" y="4745507"/>
            <a:ext cx="1946598" cy="649580"/>
          </a:xfrm>
          <a:prstGeom prst="rect">
            <a:avLst/>
          </a:prstGeom>
          <a:ln>
            <a:noFill/>
          </a:ln>
        </p:spPr>
      </p:pic>
      <p:sp>
        <p:nvSpPr>
          <p:cNvPr id="81" name="ZoneTexte 18"/>
          <p:cNvSpPr txBox="1"/>
          <p:nvPr/>
        </p:nvSpPr>
        <p:spPr>
          <a:xfrm>
            <a:off x="4463062" y="5622525"/>
            <a:ext cx="3498936" cy="606162"/>
          </a:xfrm>
          <a:prstGeom prst="rect">
            <a:avLst/>
          </a:prstGeom>
          <a:noFill/>
          <a:ln>
            <a:noFill/>
          </a:ln>
        </p:spPr>
        <p:txBody>
          <a:bodyPr wrap="square" rtlCol="0">
            <a:spAutoFit/>
          </a:bodyPr>
          <a:lstStyle/>
          <a:p>
            <a:pPr defTabSz="914093"/>
            <a:r>
              <a:rPr lang="fr-FR" sz="1669" dirty="0">
                <a:solidFill>
                  <a:prstClr val="black"/>
                </a:solidFill>
                <a:latin typeface="Segoe UI Light" panose="020B0502040204020203" pitchFamily="34" charset="0"/>
                <a:cs typeface="Segoe UI Light" panose="020B0502040204020203" pitchFamily="34" charset="0"/>
              </a:rPr>
              <a:t>= </a:t>
            </a:r>
            <a:r>
              <a:rPr lang="fr-FR" sz="1669" b="1" dirty="0">
                <a:solidFill>
                  <a:prstClr val="black"/>
                </a:solidFill>
                <a:latin typeface="Segoe UI Light" panose="020B0502040204020203" pitchFamily="34" charset="0"/>
                <a:cs typeface="Segoe UI Light" panose="020B0502040204020203" pitchFamily="34" charset="0"/>
              </a:rPr>
              <a:t>120 000€ </a:t>
            </a:r>
            <a:r>
              <a:rPr lang="fr-FR" sz="1669" dirty="0">
                <a:solidFill>
                  <a:prstClr val="black"/>
                </a:solidFill>
                <a:latin typeface="Segoe UI Light" panose="020B0502040204020203" pitchFamily="34" charset="0"/>
                <a:cs typeface="Segoe UI Light" panose="020B0502040204020203" pitchFamily="34" charset="0"/>
              </a:rPr>
              <a:t>de ressources offertes dans nos incubateurs partenaires</a:t>
            </a:r>
          </a:p>
        </p:txBody>
      </p:sp>
      <p:cxnSp>
        <p:nvCxnSpPr>
          <p:cNvPr id="82" name="Connecteur droit 19"/>
          <p:cNvCxnSpPr/>
          <p:nvPr/>
        </p:nvCxnSpPr>
        <p:spPr>
          <a:xfrm>
            <a:off x="8374038" y="3689620"/>
            <a:ext cx="3607622" cy="2093"/>
          </a:xfrm>
          <a:prstGeom prst="line">
            <a:avLst/>
          </a:prstGeom>
          <a:ln w="38100">
            <a:solidFill>
              <a:srgbClr val="00B0F0"/>
            </a:solidFill>
            <a:prstDash val="sysDot"/>
          </a:ln>
        </p:spPr>
        <p:style>
          <a:lnRef idx="1">
            <a:schemeClr val="accent1"/>
          </a:lnRef>
          <a:fillRef idx="0">
            <a:schemeClr val="accent1"/>
          </a:fillRef>
          <a:effectRef idx="0">
            <a:schemeClr val="accent1"/>
          </a:effectRef>
          <a:fontRef idx="minor">
            <a:schemeClr val="tx1"/>
          </a:fontRef>
        </p:style>
      </p:cxnSp>
      <p:sp>
        <p:nvSpPr>
          <p:cNvPr id="83" name="ZoneTexte 21"/>
          <p:cNvSpPr txBox="1"/>
          <p:nvPr/>
        </p:nvSpPr>
        <p:spPr>
          <a:xfrm>
            <a:off x="8358052" y="3935829"/>
            <a:ext cx="3623609" cy="1275530"/>
          </a:xfrm>
          <a:prstGeom prst="rect">
            <a:avLst/>
          </a:prstGeom>
          <a:noFill/>
          <a:ln>
            <a:noFill/>
          </a:ln>
        </p:spPr>
        <p:txBody>
          <a:bodyPr wrap="square" rtlCol="0">
            <a:spAutoFit/>
          </a:bodyPr>
          <a:lstStyle/>
          <a:p>
            <a:pPr algn="ctr" defTabSz="914093">
              <a:lnSpc>
                <a:spcPct val="90000"/>
              </a:lnSpc>
              <a:spcBef>
                <a:spcPct val="20000"/>
              </a:spcBef>
              <a:buSzPct val="90000"/>
            </a:pPr>
            <a:r>
              <a:rPr lang="fr-FR" sz="3136" dirty="0">
                <a:solidFill>
                  <a:srgbClr val="00B0F0"/>
                </a:solidFill>
                <a:latin typeface="Segoe UI Light" panose="020B0502040204020203" pitchFamily="34" charset="0"/>
                <a:cs typeface="Segoe UI Light" panose="020B0502040204020203" pitchFamily="34" charset="0"/>
              </a:rPr>
              <a:t>Pour les étudiants </a:t>
            </a:r>
            <a:r>
              <a:rPr lang="fr-FR" sz="2352" b="1" dirty="0" err="1">
                <a:solidFill>
                  <a:prstClr val="black"/>
                </a:solidFill>
                <a:latin typeface="Segoe UI Light" panose="020B0502040204020203" pitchFamily="34" charset="0"/>
                <a:cs typeface="Segoe UI Light" panose="020B0502040204020203" pitchFamily="34" charset="0"/>
              </a:rPr>
              <a:t>Dreamspark</a:t>
            </a:r>
            <a:endParaRPr lang="fr-FR" sz="2352" b="1" dirty="0">
              <a:solidFill>
                <a:prstClr val="black"/>
              </a:solidFill>
              <a:latin typeface="Segoe UI Light" panose="020B0502040204020203" pitchFamily="34" charset="0"/>
              <a:cs typeface="Segoe UI Light" panose="020B0502040204020203" pitchFamily="34" charset="0"/>
            </a:endParaRPr>
          </a:p>
          <a:p>
            <a:pPr algn="ctr" defTabSz="914093">
              <a:lnSpc>
                <a:spcPct val="90000"/>
              </a:lnSpc>
              <a:spcBef>
                <a:spcPct val="20000"/>
              </a:spcBef>
              <a:buSzPct val="90000"/>
            </a:pPr>
            <a:endParaRPr lang="fr-FR" sz="500" dirty="0">
              <a:solidFill>
                <a:srgbClr val="505050">
                  <a:lumMod val="50000"/>
                </a:srgbClr>
              </a:solidFill>
              <a:latin typeface="Segoe UI Light" panose="020B0502040204020203" pitchFamily="34" charset="0"/>
              <a:cs typeface="Segoe UI Light" panose="020B0502040204020203" pitchFamily="34" charset="0"/>
              <a:hlinkClick r:id="rId6"/>
            </a:endParaRPr>
          </a:p>
          <a:p>
            <a:pPr algn="ctr" defTabSz="914093">
              <a:lnSpc>
                <a:spcPct val="90000"/>
              </a:lnSpc>
              <a:spcBef>
                <a:spcPct val="20000"/>
              </a:spcBef>
              <a:buSzPct val="90000"/>
            </a:pPr>
            <a:r>
              <a:rPr lang="fr-FR" sz="1999" b="1" dirty="0">
                <a:solidFill>
                  <a:srgbClr val="00B0F0"/>
                </a:solidFill>
                <a:latin typeface="Segoe UI Light" panose="020B0502040204020203" pitchFamily="34" charset="0"/>
                <a:cs typeface="Segoe UI Light" panose="020B0502040204020203" pitchFamily="34" charset="0"/>
              </a:rPr>
              <a:t>http://aka.ms/dreamspark/azure</a:t>
            </a:r>
          </a:p>
        </p:txBody>
      </p:sp>
      <p:sp>
        <p:nvSpPr>
          <p:cNvPr id="84" name="ZoneTexte 22"/>
          <p:cNvSpPr txBox="1"/>
          <p:nvPr/>
        </p:nvSpPr>
        <p:spPr>
          <a:xfrm>
            <a:off x="8492904" y="5319893"/>
            <a:ext cx="3656220" cy="861743"/>
          </a:xfrm>
          <a:prstGeom prst="rect">
            <a:avLst/>
          </a:prstGeom>
          <a:noFill/>
          <a:ln>
            <a:noFill/>
          </a:ln>
        </p:spPr>
        <p:txBody>
          <a:bodyPr wrap="square" rtlCol="0">
            <a:spAutoFit/>
          </a:bodyPr>
          <a:lstStyle/>
          <a:p>
            <a:pPr defTabSz="914093"/>
            <a:r>
              <a:rPr lang="fr-FR" sz="1666" dirty="0">
                <a:solidFill>
                  <a:prstClr val="black"/>
                </a:solidFill>
                <a:latin typeface="Segoe UI Light" panose="020B0502040204020203" pitchFamily="34" charset="0"/>
                <a:cs typeface="Segoe UI Light" panose="020B0502040204020203" pitchFamily="34" charset="0"/>
              </a:rPr>
              <a:t>Découvrez les services dont vous avez besoin pour développer </a:t>
            </a:r>
            <a:r>
              <a:rPr lang="fr-FR" sz="1666" b="1" dirty="0">
                <a:solidFill>
                  <a:prstClr val="black"/>
                </a:solidFill>
                <a:latin typeface="Segoe UI Light" panose="020B0502040204020203" pitchFamily="34" charset="0"/>
                <a:cs typeface="Segoe UI Light" panose="020B0502040204020203" pitchFamily="34" charset="0"/>
              </a:rPr>
              <a:t>gratuitement</a:t>
            </a:r>
            <a:r>
              <a:rPr lang="fr-FR" sz="1666" dirty="0">
                <a:solidFill>
                  <a:prstClr val="black"/>
                </a:solidFill>
                <a:latin typeface="Segoe UI Light" panose="020B0502040204020203" pitchFamily="34" charset="0"/>
                <a:cs typeface="Segoe UI Light" panose="020B0502040204020203" pitchFamily="34" charset="0"/>
              </a:rPr>
              <a:t> dans le Cloud.</a:t>
            </a:r>
          </a:p>
        </p:txBody>
      </p:sp>
    </p:spTree>
    <p:extLst>
      <p:ext uri="{BB962C8B-B14F-4D97-AF65-F5344CB8AC3E}">
        <p14:creationId xmlns:p14="http://schemas.microsoft.com/office/powerpoint/2010/main" val="703189961"/>
      </p:ext>
    </p:extLst>
  </p:cSld>
  <p:clrMapOvr>
    <a:masterClrMapping/>
  </p:clrMapOvr>
  <p:transition>
    <p:fade/>
  </p:transition>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4294967295"/>
          </p:nvPr>
        </p:nvSpPr>
        <p:spPr>
          <a:xfrm>
            <a:off x="0" y="6608763"/>
            <a:ext cx="5727700" cy="360362"/>
          </a:xfrm>
          <a:prstGeom prst="rect">
            <a:avLst/>
          </a:prstGeom>
        </p:spPr>
        <p:txBody>
          <a:bodyPr/>
          <a:lstStyle/>
          <a:p>
            <a:r>
              <a:rPr lang="fr-FR" smtClean="0"/>
              <a:t>Titre session pied de page</a:t>
            </a:r>
            <a:endParaRPr lang="fr-FR" dirty="0"/>
          </a:p>
        </p:txBody>
      </p:sp>
    </p:spTree>
    <p:extLst>
      <p:ext uri="{BB962C8B-B14F-4D97-AF65-F5344CB8AC3E}">
        <p14:creationId xmlns:p14="http://schemas.microsoft.com/office/powerpoint/2010/main" val="2962877049"/>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fr-FR" dirty="0" smtClean="0"/>
              <a:t>Les familles de bases de données </a:t>
            </a:r>
            <a:r>
              <a:rPr lang="fr-FR" dirty="0" err="1" smtClean="0"/>
              <a:t>noSQL</a:t>
            </a:r>
            <a:endParaRPr lang="fr-FR" dirty="0"/>
          </a:p>
        </p:txBody>
      </p:sp>
      <p:sp>
        <p:nvSpPr>
          <p:cNvPr id="8" name="Text Placeholder 7"/>
          <p:cNvSpPr>
            <a:spLocks noGrp="1"/>
          </p:cNvSpPr>
          <p:nvPr>
            <p:ph type="body" sz="quarter" idx="14"/>
          </p:nvPr>
        </p:nvSpPr>
        <p:spPr/>
        <p:txBody>
          <a:bodyPr/>
          <a:lstStyle/>
          <a:p>
            <a:r>
              <a:rPr lang="fr-FR" dirty="0"/>
              <a:t>Key/value </a:t>
            </a:r>
            <a:r>
              <a:rPr lang="fr-FR" dirty="0" err="1" smtClean="0"/>
              <a:t>database</a:t>
            </a:r>
            <a:endParaRPr lang="fr-FR" dirty="0"/>
          </a:p>
        </p:txBody>
      </p:sp>
      <p:sp>
        <p:nvSpPr>
          <p:cNvPr id="9" name="Text Placeholder 8"/>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grpSp>
        <p:nvGrpSpPr>
          <p:cNvPr id="46" name="Group 45"/>
          <p:cNvGrpSpPr/>
          <p:nvPr/>
        </p:nvGrpSpPr>
        <p:grpSpPr>
          <a:xfrm>
            <a:off x="2074069" y="3466078"/>
            <a:ext cx="1219199" cy="814864"/>
            <a:chOff x="1189038" y="2278062"/>
            <a:chExt cx="1219199" cy="814864"/>
          </a:xfrm>
        </p:grpSpPr>
        <p:sp>
          <p:nvSpPr>
            <p:cNvPr id="59" name="Rectangle 58"/>
            <p:cNvSpPr/>
            <p:nvPr/>
          </p:nvSpPr>
          <p:spPr bwMode="auto">
            <a:xfrm>
              <a:off x="1189038" y="2278062"/>
              <a:ext cx="1219199" cy="814864"/>
            </a:xfrm>
            <a:prstGeom prst="rect">
              <a:avLst/>
            </a:prstGeom>
            <a:noFill/>
            <a:ln w="73025">
              <a:solidFill>
                <a:schemeClr val="tx1"/>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60" name="TextBox 4"/>
            <p:cNvSpPr txBox="1"/>
            <p:nvPr/>
          </p:nvSpPr>
          <p:spPr>
            <a:xfrm>
              <a:off x="1189038" y="2354262"/>
              <a:ext cx="1142999" cy="738664"/>
            </a:xfrm>
            <a:prstGeom prst="rect">
              <a:avLst/>
            </a:prstGeom>
            <a:noFill/>
            <a:ln>
              <a:noFill/>
            </a:ln>
          </p:spPr>
          <p:txBody>
            <a:bodyPr wrap="square" lIns="182880" tIns="146304" rIns="182880" bIns="14630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3200" dirty="0" smtClean="0">
                  <a:gradFill>
                    <a:gsLst>
                      <a:gs pos="2917">
                        <a:schemeClr val="tx1"/>
                      </a:gs>
                      <a:gs pos="30000">
                        <a:schemeClr val="tx1"/>
                      </a:gs>
                    </a:gsLst>
                    <a:lin ang="5400000" scaled="0"/>
                  </a:gradFill>
                </a:rPr>
                <a:t>Key</a:t>
              </a:r>
            </a:p>
          </p:txBody>
        </p:sp>
      </p:grpSp>
      <p:grpSp>
        <p:nvGrpSpPr>
          <p:cNvPr id="47" name="Group 46"/>
          <p:cNvGrpSpPr/>
          <p:nvPr/>
        </p:nvGrpSpPr>
        <p:grpSpPr>
          <a:xfrm>
            <a:off x="4741068" y="3467665"/>
            <a:ext cx="5638800" cy="1258062"/>
            <a:chOff x="1189038" y="2278062"/>
            <a:chExt cx="1219199" cy="1258062"/>
          </a:xfrm>
        </p:grpSpPr>
        <p:sp>
          <p:nvSpPr>
            <p:cNvPr id="57" name="Rectangle 56"/>
            <p:cNvSpPr/>
            <p:nvPr/>
          </p:nvSpPr>
          <p:spPr bwMode="auto">
            <a:xfrm>
              <a:off x="1189038" y="2278062"/>
              <a:ext cx="1219199" cy="814864"/>
            </a:xfrm>
            <a:prstGeom prst="rect">
              <a:avLst/>
            </a:prstGeom>
            <a:noFill/>
            <a:ln w="73025">
              <a:solidFill>
                <a:schemeClr val="tx1"/>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58" name="TextBox 8"/>
            <p:cNvSpPr txBox="1"/>
            <p:nvPr/>
          </p:nvSpPr>
          <p:spPr>
            <a:xfrm>
              <a:off x="1189038" y="2354262"/>
              <a:ext cx="1142999" cy="1181862"/>
            </a:xfrm>
            <a:prstGeom prst="rect">
              <a:avLst/>
            </a:prstGeom>
            <a:noFill/>
            <a:ln>
              <a:noFill/>
            </a:ln>
          </p:spPr>
          <p:txBody>
            <a:bodyPr wrap="square" lIns="182880" tIns="146304" rIns="182880" bIns="14630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3200" dirty="0" smtClean="0">
                  <a:gradFill>
                    <a:gsLst>
                      <a:gs pos="2917">
                        <a:schemeClr val="tx1"/>
                      </a:gs>
                      <a:gs pos="30000">
                        <a:schemeClr val="tx1"/>
                      </a:gs>
                    </a:gsLst>
                    <a:lin ang="5400000" scaled="0"/>
                  </a:gradFill>
                </a:rPr>
                <a:t>Value</a:t>
              </a:r>
            </a:p>
          </p:txBody>
        </p:sp>
      </p:grpSp>
      <p:cxnSp>
        <p:nvCxnSpPr>
          <p:cNvPr id="48" name="Straight Arrow Connector 47"/>
          <p:cNvCxnSpPr>
            <a:stCxn id="59" idx="3"/>
            <a:endCxn id="57" idx="1"/>
          </p:cNvCxnSpPr>
          <p:nvPr/>
        </p:nvCxnSpPr>
        <p:spPr>
          <a:xfrm>
            <a:off x="3293268" y="3873510"/>
            <a:ext cx="1447800" cy="1587"/>
          </a:xfrm>
          <a:prstGeom prst="straightConnector1">
            <a:avLst/>
          </a:prstGeom>
          <a:ln w="571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50" name="Group 49"/>
          <p:cNvGrpSpPr/>
          <p:nvPr/>
        </p:nvGrpSpPr>
        <p:grpSpPr>
          <a:xfrm>
            <a:off x="2056607" y="2077360"/>
            <a:ext cx="1219199" cy="814864"/>
            <a:chOff x="1189038" y="2278062"/>
            <a:chExt cx="1219199" cy="814864"/>
          </a:xfrm>
        </p:grpSpPr>
        <p:sp>
          <p:nvSpPr>
            <p:cNvPr id="55" name="Rectangle 54"/>
            <p:cNvSpPr/>
            <p:nvPr/>
          </p:nvSpPr>
          <p:spPr bwMode="auto">
            <a:xfrm>
              <a:off x="1189038" y="2278062"/>
              <a:ext cx="1219199" cy="814864"/>
            </a:xfrm>
            <a:prstGeom prst="rect">
              <a:avLst/>
            </a:prstGeom>
            <a:noFill/>
            <a:ln w="73025">
              <a:solidFill>
                <a:schemeClr val="tx1"/>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56" name="TextBox 19"/>
            <p:cNvSpPr txBox="1"/>
            <p:nvPr/>
          </p:nvSpPr>
          <p:spPr>
            <a:xfrm>
              <a:off x="1189038" y="2354262"/>
              <a:ext cx="1142999" cy="738664"/>
            </a:xfrm>
            <a:prstGeom prst="rect">
              <a:avLst/>
            </a:prstGeom>
            <a:noFill/>
            <a:ln>
              <a:noFill/>
            </a:ln>
          </p:spPr>
          <p:txBody>
            <a:bodyPr wrap="square" lIns="182880" tIns="146304" rIns="182880" bIns="14630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3200" dirty="0" smtClean="0">
                  <a:gradFill>
                    <a:gsLst>
                      <a:gs pos="2917">
                        <a:schemeClr val="tx1"/>
                      </a:gs>
                      <a:gs pos="30000">
                        <a:schemeClr val="tx1"/>
                      </a:gs>
                    </a:gsLst>
                    <a:lin ang="5400000" scaled="0"/>
                  </a:gradFill>
                </a:rPr>
                <a:t>Key</a:t>
              </a:r>
            </a:p>
          </p:txBody>
        </p:sp>
      </p:grpSp>
      <p:grpSp>
        <p:nvGrpSpPr>
          <p:cNvPr id="51" name="Group 50"/>
          <p:cNvGrpSpPr/>
          <p:nvPr/>
        </p:nvGrpSpPr>
        <p:grpSpPr>
          <a:xfrm>
            <a:off x="4723606" y="2078947"/>
            <a:ext cx="5638800" cy="1258062"/>
            <a:chOff x="1189038" y="2278062"/>
            <a:chExt cx="1219199" cy="1258062"/>
          </a:xfrm>
        </p:grpSpPr>
        <p:sp>
          <p:nvSpPr>
            <p:cNvPr id="53" name="Rectangle 52"/>
            <p:cNvSpPr/>
            <p:nvPr/>
          </p:nvSpPr>
          <p:spPr bwMode="auto">
            <a:xfrm>
              <a:off x="1189038" y="2278062"/>
              <a:ext cx="1219199" cy="814864"/>
            </a:xfrm>
            <a:prstGeom prst="rect">
              <a:avLst/>
            </a:prstGeom>
            <a:noFill/>
            <a:ln w="73025">
              <a:solidFill>
                <a:schemeClr val="tx1"/>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54" name="TextBox 22"/>
            <p:cNvSpPr txBox="1"/>
            <p:nvPr/>
          </p:nvSpPr>
          <p:spPr>
            <a:xfrm>
              <a:off x="1189038" y="2354262"/>
              <a:ext cx="1142999" cy="1181862"/>
            </a:xfrm>
            <a:prstGeom prst="rect">
              <a:avLst/>
            </a:prstGeom>
            <a:noFill/>
            <a:ln>
              <a:noFill/>
            </a:ln>
          </p:spPr>
          <p:txBody>
            <a:bodyPr wrap="square" lIns="182880" tIns="146304" rIns="182880" bIns="14630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3200" dirty="0" smtClean="0">
                  <a:gradFill>
                    <a:gsLst>
                      <a:gs pos="2917">
                        <a:schemeClr val="tx1"/>
                      </a:gs>
                      <a:gs pos="30000">
                        <a:schemeClr val="tx1"/>
                      </a:gs>
                    </a:gsLst>
                    <a:lin ang="5400000" scaled="0"/>
                  </a:gradFill>
                </a:rPr>
                <a:t>Value</a:t>
              </a:r>
            </a:p>
          </p:txBody>
        </p:sp>
      </p:grpSp>
      <p:cxnSp>
        <p:nvCxnSpPr>
          <p:cNvPr id="52" name="Straight Arrow Connector 51"/>
          <p:cNvCxnSpPr>
            <a:stCxn id="55" idx="3"/>
            <a:endCxn id="53" idx="1"/>
          </p:cNvCxnSpPr>
          <p:nvPr/>
        </p:nvCxnSpPr>
        <p:spPr>
          <a:xfrm>
            <a:off x="3275806" y="2484792"/>
            <a:ext cx="1447800" cy="1587"/>
          </a:xfrm>
          <a:prstGeom prst="straightConnector1">
            <a:avLst/>
          </a:prstGeom>
          <a:ln w="571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61" name="Picture 6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93557" y="4725727"/>
            <a:ext cx="1926100" cy="1640752"/>
          </a:xfrm>
          <a:prstGeom prst="rect">
            <a:avLst/>
          </a:prstGeom>
        </p:spPr>
      </p:pic>
      <p:sp>
        <p:nvSpPr>
          <p:cNvPr id="62" name="Rectangle 61"/>
          <p:cNvSpPr/>
          <p:nvPr/>
        </p:nvSpPr>
        <p:spPr bwMode="auto">
          <a:xfrm>
            <a:off x="3337669" y="4947973"/>
            <a:ext cx="1828800" cy="1206042"/>
          </a:xfrm>
          <a:prstGeom prst="rect">
            <a:avLst/>
          </a:prstGeom>
          <a:solidFill>
            <a:schemeClr val="tx2"/>
          </a:solidFill>
          <a:ln w="3175">
            <a:solidFill>
              <a:schemeClr val="tx1">
                <a:alpha val="2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r>
              <a:rPr lang="en-US" sz="2000" dirty="0" smtClean="0">
                <a:gradFill>
                  <a:gsLst>
                    <a:gs pos="0">
                      <a:srgbClr val="FFFFFF"/>
                    </a:gs>
                    <a:gs pos="100000">
                      <a:srgbClr val="FFFFFF"/>
                    </a:gs>
                  </a:gsLst>
                  <a:lin ang="5400000" scaled="0"/>
                </a:gradFill>
              </a:rPr>
              <a:t>Redis</a:t>
            </a:r>
            <a:endParaRPr lang="en-US" sz="2000" dirty="0">
              <a:gradFill>
                <a:gsLst>
                  <a:gs pos="0">
                    <a:srgbClr val="FFFFFF"/>
                  </a:gs>
                  <a:gs pos="100000">
                    <a:srgbClr val="FFFFFF"/>
                  </a:gs>
                </a:gsLst>
                <a:lin ang="5400000" scaled="0"/>
              </a:gradFill>
            </a:endParaRPr>
          </a:p>
        </p:txBody>
      </p:sp>
      <p:sp>
        <p:nvSpPr>
          <p:cNvPr id="63" name="Rectangle 62"/>
          <p:cNvSpPr/>
          <p:nvPr/>
        </p:nvSpPr>
        <p:spPr bwMode="auto">
          <a:xfrm>
            <a:off x="9818637" y="4986625"/>
            <a:ext cx="1828800" cy="1206042"/>
          </a:xfrm>
          <a:prstGeom prst="rect">
            <a:avLst/>
          </a:prstGeom>
          <a:solidFill>
            <a:schemeClr val="tx2"/>
          </a:solidFill>
          <a:ln w="3175">
            <a:solidFill>
              <a:schemeClr val="tx1">
                <a:alpha val="2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r>
              <a:rPr lang="en-US" sz="2000" dirty="0" smtClean="0">
                <a:gradFill>
                  <a:gsLst>
                    <a:gs pos="0">
                      <a:srgbClr val="FFFFFF"/>
                    </a:gs>
                    <a:gs pos="100000">
                      <a:srgbClr val="FFFFFF"/>
                    </a:gs>
                  </a:gsLst>
                  <a:lin ang="5400000" scaled="0"/>
                </a:gradFill>
              </a:rPr>
              <a:t>Azure Table Storage</a:t>
            </a:r>
            <a:endParaRPr lang="en-US" sz="2000" dirty="0">
              <a:gradFill>
                <a:gsLst>
                  <a:gs pos="0">
                    <a:srgbClr val="FFFFFF"/>
                  </a:gs>
                  <a:gs pos="100000">
                    <a:srgbClr val="FFFFFF"/>
                  </a:gs>
                </a:gsLst>
                <a:lin ang="5400000" scaled="0"/>
              </a:gradFill>
            </a:endParaRPr>
          </a:p>
        </p:txBody>
      </p:sp>
      <p:pic>
        <p:nvPicPr>
          <p:cNvPr id="64" name="Picture 63"/>
          <p:cNvPicPr>
            <a:picLocks noChangeAspect="1"/>
          </p:cNvPicPr>
          <p:nvPr/>
        </p:nvPicPr>
        <p:blipFill>
          <a:blip r:embed="rId4"/>
          <a:stretch>
            <a:fillRect/>
          </a:stretch>
        </p:blipFill>
        <p:spPr>
          <a:xfrm>
            <a:off x="7370365" y="4577382"/>
            <a:ext cx="2200783" cy="1920297"/>
          </a:xfrm>
          <a:prstGeom prst="rect">
            <a:avLst/>
          </a:prstGeom>
        </p:spPr>
      </p:pic>
    </p:spTree>
    <p:extLst>
      <p:ext uri="{BB962C8B-B14F-4D97-AF65-F5344CB8AC3E}">
        <p14:creationId xmlns:p14="http://schemas.microsoft.com/office/powerpoint/2010/main" val="27952183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3"/>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6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animBg="1"/>
      <p:bldP spid="63"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fr-FR" dirty="0" smtClean="0"/>
              <a:t>Les familles de bases de données </a:t>
            </a:r>
            <a:r>
              <a:rPr lang="fr-FR" dirty="0" err="1" smtClean="0"/>
              <a:t>noSQL</a:t>
            </a:r>
            <a:endParaRPr lang="fr-FR" dirty="0"/>
          </a:p>
        </p:txBody>
      </p:sp>
      <p:sp>
        <p:nvSpPr>
          <p:cNvPr id="8" name="Text Placeholder 7"/>
          <p:cNvSpPr>
            <a:spLocks noGrp="1"/>
          </p:cNvSpPr>
          <p:nvPr>
            <p:ph type="body" sz="quarter" idx="14"/>
          </p:nvPr>
        </p:nvSpPr>
        <p:spPr/>
        <p:txBody>
          <a:bodyPr/>
          <a:lstStyle/>
          <a:p>
            <a:r>
              <a:rPr lang="fr-FR" dirty="0" err="1"/>
              <a:t>Column</a:t>
            </a:r>
            <a:r>
              <a:rPr lang="fr-FR" dirty="0"/>
              <a:t> </a:t>
            </a:r>
            <a:r>
              <a:rPr lang="fr-FR" dirty="0" err="1"/>
              <a:t>Family</a:t>
            </a:r>
            <a:r>
              <a:rPr lang="fr-FR" dirty="0"/>
              <a:t> </a:t>
            </a:r>
            <a:r>
              <a:rPr lang="fr-FR" dirty="0" smtClean="0"/>
              <a:t>Stores</a:t>
            </a:r>
            <a:endParaRPr lang="fr-FR" dirty="0"/>
          </a:p>
        </p:txBody>
      </p:sp>
      <p:sp>
        <p:nvSpPr>
          <p:cNvPr id="9" name="Text Placeholder 8"/>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sp>
        <p:nvSpPr>
          <p:cNvPr id="10" name="Rectangle 9"/>
          <p:cNvSpPr/>
          <p:nvPr/>
        </p:nvSpPr>
        <p:spPr bwMode="auto">
          <a:xfrm>
            <a:off x="601613" y="1957390"/>
            <a:ext cx="6781800" cy="4038600"/>
          </a:xfrm>
          <a:prstGeom prst="rect">
            <a:avLst/>
          </a:prstGeom>
          <a:noFill/>
          <a:ln w="66675" cmpd="sng">
            <a:solidFill>
              <a:schemeClr val="tx1"/>
            </a:solid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defTabSz="932472" fontAlgn="base">
              <a:spcBef>
                <a:spcPct val="0"/>
              </a:spcBef>
              <a:spcAft>
                <a:spcPct val="0"/>
              </a:spcAft>
            </a:pPr>
            <a:r>
              <a:rPr lang="en-US" sz="2000" dirty="0" smtClean="0">
                <a:solidFill>
                  <a:schemeClr val="tx1"/>
                </a:solidFill>
              </a:rPr>
              <a:t>  Column Family</a:t>
            </a:r>
          </a:p>
        </p:txBody>
      </p:sp>
      <p:sp>
        <p:nvSpPr>
          <p:cNvPr id="11" name="Rectangle 10"/>
          <p:cNvSpPr/>
          <p:nvPr/>
        </p:nvSpPr>
        <p:spPr bwMode="auto">
          <a:xfrm>
            <a:off x="830213" y="2490790"/>
            <a:ext cx="6400800" cy="1524000"/>
          </a:xfrm>
          <a:prstGeom prst="rect">
            <a:avLst/>
          </a:prstGeom>
          <a:noFill/>
          <a:ln w="41275">
            <a:solidFill>
              <a:schemeClr val="tx1"/>
            </a:solid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r>
              <a:rPr lang="en-US" sz="2000" dirty="0" smtClean="0">
                <a:solidFill>
                  <a:schemeClr val="tx1"/>
                </a:solidFill>
              </a:rPr>
              <a:t>Row 1</a:t>
            </a:r>
            <a:endParaRPr lang="en-US" sz="2000" dirty="0">
              <a:solidFill>
                <a:schemeClr val="tx1"/>
              </a:solidFill>
            </a:endParaRPr>
          </a:p>
        </p:txBody>
      </p:sp>
      <p:sp>
        <p:nvSpPr>
          <p:cNvPr id="12" name="Rectangle 11"/>
          <p:cNvSpPr/>
          <p:nvPr/>
        </p:nvSpPr>
        <p:spPr bwMode="auto">
          <a:xfrm>
            <a:off x="1135013" y="2947990"/>
            <a:ext cx="1120140" cy="838200"/>
          </a:xfrm>
          <a:prstGeom prst="rect">
            <a:avLst/>
          </a:prstGeom>
          <a:noFill/>
          <a:ln w="41275">
            <a:solidFill>
              <a:schemeClr val="tx1"/>
            </a:solid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r>
              <a:rPr lang="en-US" sz="2000" dirty="0" smtClean="0">
                <a:solidFill>
                  <a:schemeClr val="tx1"/>
                </a:solidFill>
              </a:rPr>
              <a:t>Row Key</a:t>
            </a:r>
            <a:endParaRPr lang="en-US" sz="2000" dirty="0">
              <a:solidFill>
                <a:schemeClr val="tx1"/>
              </a:solidFill>
            </a:endParaRPr>
          </a:p>
        </p:txBody>
      </p:sp>
      <p:sp>
        <p:nvSpPr>
          <p:cNvPr id="13" name="Rectangle 12"/>
          <p:cNvSpPr/>
          <p:nvPr/>
        </p:nvSpPr>
        <p:spPr bwMode="auto">
          <a:xfrm>
            <a:off x="2659013" y="2947990"/>
            <a:ext cx="1840230" cy="838200"/>
          </a:xfrm>
          <a:prstGeom prst="rect">
            <a:avLst/>
          </a:prstGeom>
          <a:noFill/>
          <a:ln w="41275">
            <a:solidFill>
              <a:schemeClr val="tx1"/>
            </a:solid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r>
              <a:rPr lang="en-US" sz="1600" dirty="0" smtClean="0">
                <a:solidFill>
                  <a:schemeClr val="tx1"/>
                </a:solidFill>
              </a:rPr>
              <a:t>Column1</a:t>
            </a:r>
          </a:p>
          <a:p>
            <a:pPr algn="ctr" defTabSz="932472" fontAlgn="base">
              <a:spcBef>
                <a:spcPct val="0"/>
              </a:spcBef>
              <a:spcAft>
                <a:spcPct val="0"/>
              </a:spcAft>
            </a:pPr>
            <a:r>
              <a:rPr lang="en-US" sz="1600" dirty="0" smtClean="0">
                <a:solidFill>
                  <a:schemeClr val="tx1"/>
                </a:solidFill>
              </a:rPr>
              <a:t>Name1: Value1</a:t>
            </a:r>
            <a:endParaRPr lang="en-US" sz="1600" dirty="0">
              <a:solidFill>
                <a:schemeClr val="tx1"/>
              </a:solidFill>
            </a:endParaRPr>
          </a:p>
        </p:txBody>
      </p:sp>
      <p:sp>
        <p:nvSpPr>
          <p:cNvPr id="14" name="Rectangle 13"/>
          <p:cNvSpPr/>
          <p:nvPr/>
        </p:nvSpPr>
        <p:spPr bwMode="auto">
          <a:xfrm>
            <a:off x="4792613" y="2947990"/>
            <a:ext cx="1840230" cy="838200"/>
          </a:xfrm>
          <a:prstGeom prst="rect">
            <a:avLst/>
          </a:prstGeom>
          <a:noFill/>
          <a:ln w="41275">
            <a:solidFill>
              <a:schemeClr val="tx1"/>
            </a:solid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r>
              <a:rPr lang="en-US" sz="1600" dirty="0" smtClean="0">
                <a:solidFill>
                  <a:schemeClr val="tx1"/>
                </a:solidFill>
              </a:rPr>
              <a:t>ColumnN</a:t>
            </a:r>
          </a:p>
          <a:p>
            <a:pPr algn="ctr" defTabSz="932472" fontAlgn="base">
              <a:spcBef>
                <a:spcPct val="0"/>
              </a:spcBef>
              <a:spcAft>
                <a:spcPct val="0"/>
              </a:spcAft>
            </a:pPr>
            <a:r>
              <a:rPr lang="en-US" sz="1600" dirty="0" smtClean="0">
                <a:solidFill>
                  <a:schemeClr val="tx1"/>
                </a:solidFill>
              </a:rPr>
              <a:t>NameN: ValueN</a:t>
            </a:r>
            <a:endParaRPr lang="en-US" sz="1600" dirty="0">
              <a:solidFill>
                <a:schemeClr val="tx1"/>
              </a:solidFill>
            </a:endParaRPr>
          </a:p>
        </p:txBody>
      </p:sp>
      <p:sp>
        <p:nvSpPr>
          <p:cNvPr id="15" name="Rectangle 14"/>
          <p:cNvSpPr/>
          <p:nvPr/>
        </p:nvSpPr>
        <p:spPr bwMode="auto">
          <a:xfrm>
            <a:off x="838150" y="4235452"/>
            <a:ext cx="6400800" cy="1524000"/>
          </a:xfrm>
          <a:prstGeom prst="rect">
            <a:avLst/>
          </a:prstGeom>
          <a:noFill/>
          <a:ln w="41275">
            <a:solidFill>
              <a:schemeClr val="tx1"/>
            </a:solid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r>
              <a:rPr lang="en-US" sz="2000" dirty="0" smtClean="0">
                <a:solidFill>
                  <a:schemeClr val="tx1"/>
                </a:solidFill>
              </a:rPr>
              <a:t>Row N</a:t>
            </a:r>
            <a:endParaRPr lang="en-US" sz="2000" dirty="0">
              <a:solidFill>
                <a:schemeClr val="tx1"/>
              </a:solidFill>
            </a:endParaRPr>
          </a:p>
        </p:txBody>
      </p:sp>
      <p:sp>
        <p:nvSpPr>
          <p:cNvPr id="16" name="Rectangle 15"/>
          <p:cNvSpPr/>
          <p:nvPr/>
        </p:nvSpPr>
        <p:spPr bwMode="auto">
          <a:xfrm>
            <a:off x="1142950" y="4692652"/>
            <a:ext cx="1120140" cy="838200"/>
          </a:xfrm>
          <a:prstGeom prst="rect">
            <a:avLst/>
          </a:prstGeom>
          <a:noFill/>
          <a:ln w="41275">
            <a:solidFill>
              <a:schemeClr val="tx1"/>
            </a:solid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r>
              <a:rPr lang="en-US" sz="2000" dirty="0" smtClean="0">
                <a:solidFill>
                  <a:schemeClr val="tx1"/>
                </a:solidFill>
              </a:rPr>
              <a:t>Row Key</a:t>
            </a:r>
            <a:endParaRPr lang="en-US" sz="2000" dirty="0">
              <a:solidFill>
                <a:schemeClr val="tx1"/>
              </a:solidFill>
            </a:endParaRPr>
          </a:p>
        </p:txBody>
      </p:sp>
      <p:sp>
        <p:nvSpPr>
          <p:cNvPr id="17" name="Rectangle 16"/>
          <p:cNvSpPr/>
          <p:nvPr/>
        </p:nvSpPr>
        <p:spPr bwMode="auto">
          <a:xfrm>
            <a:off x="2666950" y="4692652"/>
            <a:ext cx="1840230" cy="838200"/>
          </a:xfrm>
          <a:prstGeom prst="rect">
            <a:avLst/>
          </a:prstGeom>
          <a:noFill/>
          <a:ln w="41275">
            <a:solidFill>
              <a:schemeClr val="tx1"/>
            </a:solid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r>
              <a:rPr lang="en-US" sz="1600" dirty="0" smtClean="0">
                <a:solidFill>
                  <a:schemeClr val="tx1"/>
                </a:solidFill>
              </a:rPr>
              <a:t>Column2</a:t>
            </a:r>
          </a:p>
          <a:p>
            <a:pPr algn="ctr" defTabSz="932472" fontAlgn="base">
              <a:spcBef>
                <a:spcPct val="0"/>
              </a:spcBef>
              <a:spcAft>
                <a:spcPct val="0"/>
              </a:spcAft>
            </a:pPr>
            <a:r>
              <a:rPr lang="en-US" sz="1600" dirty="0" smtClean="0">
                <a:solidFill>
                  <a:schemeClr val="tx1"/>
                </a:solidFill>
              </a:rPr>
              <a:t>Name2: Value2</a:t>
            </a:r>
            <a:endParaRPr lang="en-US" sz="1600" dirty="0">
              <a:solidFill>
                <a:schemeClr val="tx1"/>
              </a:solidFill>
            </a:endParaRPr>
          </a:p>
        </p:txBody>
      </p:sp>
      <p:sp>
        <p:nvSpPr>
          <p:cNvPr id="18" name="Rectangle 17"/>
          <p:cNvSpPr/>
          <p:nvPr/>
        </p:nvSpPr>
        <p:spPr bwMode="auto">
          <a:xfrm>
            <a:off x="4800550" y="4692652"/>
            <a:ext cx="1840230" cy="838200"/>
          </a:xfrm>
          <a:prstGeom prst="rect">
            <a:avLst/>
          </a:prstGeom>
          <a:noFill/>
          <a:ln w="41275">
            <a:solidFill>
              <a:schemeClr val="tx1"/>
            </a:solid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r>
              <a:rPr lang="en-US" sz="1600" dirty="0" smtClean="0">
                <a:solidFill>
                  <a:schemeClr val="tx1"/>
                </a:solidFill>
              </a:rPr>
              <a:t>ColumnN</a:t>
            </a:r>
          </a:p>
          <a:p>
            <a:pPr algn="ctr" defTabSz="932472" fontAlgn="base">
              <a:spcBef>
                <a:spcPct val="0"/>
              </a:spcBef>
              <a:spcAft>
                <a:spcPct val="0"/>
              </a:spcAft>
            </a:pPr>
            <a:r>
              <a:rPr lang="en-US" sz="1600" dirty="0" smtClean="0">
                <a:solidFill>
                  <a:schemeClr val="tx1"/>
                </a:solidFill>
              </a:rPr>
              <a:t>NameN: ValueN</a:t>
            </a:r>
            <a:endParaRPr lang="en-US" sz="1600" dirty="0">
              <a:solidFill>
                <a:schemeClr val="tx1"/>
              </a:solidFill>
            </a:endParaRPr>
          </a:p>
        </p:txBody>
      </p:sp>
      <p:sp>
        <p:nvSpPr>
          <p:cNvPr id="19" name="Rectangle 18"/>
          <p:cNvSpPr/>
          <p:nvPr/>
        </p:nvSpPr>
        <p:spPr bwMode="auto">
          <a:xfrm>
            <a:off x="10294093" y="1887769"/>
            <a:ext cx="1828800" cy="1206042"/>
          </a:xfrm>
          <a:prstGeom prst="rect">
            <a:avLst/>
          </a:prstGeom>
          <a:solidFill>
            <a:schemeClr val="tx2"/>
          </a:solidFill>
          <a:ln w="3175">
            <a:solidFill>
              <a:schemeClr val="tx1">
                <a:alpha val="2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r>
              <a:rPr lang="en-US" sz="2000" dirty="0" smtClean="0">
                <a:gradFill>
                  <a:gsLst>
                    <a:gs pos="0">
                      <a:srgbClr val="FFFFFF"/>
                    </a:gs>
                    <a:gs pos="100000">
                      <a:srgbClr val="FFFFFF"/>
                    </a:gs>
                  </a:gsLst>
                  <a:lin ang="5400000" scaled="0"/>
                </a:gradFill>
              </a:rPr>
              <a:t>Cassandra</a:t>
            </a:r>
            <a:endParaRPr lang="en-US" sz="2000" dirty="0">
              <a:gradFill>
                <a:gsLst>
                  <a:gs pos="0">
                    <a:srgbClr val="FFFFFF"/>
                  </a:gs>
                  <a:gs pos="100000">
                    <a:srgbClr val="FFFFFF"/>
                  </a:gs>
                </a:gsLst>
                <a:lin ang="5400000" scaled="0"/>
              </a:gradFill>
            </a:endParaRPr>
          </a:p>
        </p:txBody>
      </p:sp>
      <p:sp>
        <p:nvSpPr>
          <p:cNvPr id="20" name="Rectangle 19"/>
          <p:cNvSpPr/>
          <p:nvPr/>
        </p:nvSpPr>
        <p:spPr bwMode="auto">
          <a:xfrm>
            <a:off x="10294093" y="4394431"/>
            <a:ext cx="1828800" cy="1206042"/>
          </a:xfrm>
          <a:prstGeom prst="rect">
            <a:avLst/>
          </a:prstGeom>
          <a:solidFill>
            <a:schemeClr val="tx2"/>
          </a:solidFill>
          <a:ln w="3175">
            <a:solidFill>
              <a:schemeClr val="tx1">
                <a:alpha val="2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r>
              <a:rPr lang="en-US" sz="2000" dirty="0" err="1" smtClean="0">
                <a:gradFill>
                  <a:gsLst>
                    <a:gs pos="0">
                      <a:srgbClr val="FFFFFF"/>
                    </a:gs>
                    <a:gs pos="100000">
                      <a:srgbClr val="FFFFFF"/>
                    </a:gs>
                  </a:gsLst>
                  <a:lin ang="5400000" scaled="0"/>
                </a:gradFill>
              </a:rPr>
              <a:t>Hbase</a:t>
            </a:r>
            <a:endParaRPr lang="en-US" sz="2000" dirty="0">
              <a:gradFill>
                <a:gsLst>
                  <a:gs pos="0">
                    <a:srgbClr val="FFFFFF"/>
                  </a:gs>
                  <a:gs pos="100000">
                    <a:srgbClr val="FFFFFF"/>
                  </a:gs>
                </a:gsLst>
                <a:lin ang="5400000" scaled="0"/>
              </a:gradFill>
            </a:endParaRPr>
          </a:p>
        </p:txBody>
      </p:sp>
      <p:pic>
        <p:nvPicPr>
          <p:cNvPr id="21" name="Picture 2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008790" y="1836246"/>
            <a:ext cx="1953863" cy="1309088"/>
          </a:xfrm>
          <a:prstGeom prst="rect">
            <a:avLst/>
          </a:prstGeom>
        </p:spPr>
      </p:pic>
      <p:pic>
        <p:nvPicPr>
          <p:cNvPr id="22" name="Picture 2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1034" y="4692652"/>
            <a:ext cx="2309373" cy="570856"/>
          </a:xfrm>
          <a:prstGeom prst="rect">
            <a:avLst/>
          </a:prstGeom>
        </p:spPr>
      </p:pic>
    </p:spTree>
    <p:extLst>
      <p:ext uri="{BB962C8B-B14F-4D97-AF65-F5344CB8AC3E}">
        <p14:creationId xmlns:p14="http://schemas.microsoft.com/office/powerpoint/2010/main" val="11295112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9"/>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2"/>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fr-FR" dirty="0" smtClean="0"/>
              <a:t>Les familles de bases de données </a:t>
            </a:r>
            <a:r>
              <a:rPr lang="fr-FR" dirty="0" err="1" smtClean="0"/>
              <a:t>noSQL</a:t>
            </a:r>
            <a:endParaRPr lang="fr-FR" dirty="0"/>
          </a:p>
        </p:txBody>
      </p:sp>
      <p:sp>
        <p:nvSpPr>
          <p:cNvPr id="8" name="Text Placeholder 7"/>
          <p:cNvSpPr>
            <a:spLocks noGrp="1"/>
          </p:cNvSpPr>
          <p:nvPr>
            <p:ph type="body" sz="quarter" idx="14"/>
          </p:nvPr>
        </p:nvSpPr>
        <p:spPr/>
        <p:txBody>
          <a:bodyPr/>
          <a:lstStyle/>
          <a:p>
            <a:r>
              <a:rPr lang="fr-FR" dirty="0"/>
              <a:t>Document </a:t>
            </a:r>
            <a:r>
              <a:rPr lang="fr-FR" dirty="0" err="1" smtClean="0"/>
              <a:t>database</a:t>
            </a:r>
            <a:endParaRPr lang="fr-FR" dirty="0"/>
          </a:p>
        </p:txBody>
      </p:sp>
      <p:sp>
        <p:nvSpPr>
          <p:cNvPr id="9" name="Text Placeholder 8"/>
          <p:cNvSpPr>
            <a:spLocks noGrp="1"/>
          </p:cNvSpPr>
          <p:nvPr>
            <p:ph type="body" sz="quarter" idx="15"/>
          </p:nvPr>
        </p:nvSpPr>
        <p:spPr/>
        <p:txBody>
          <a:bodyPr/>
          <a:lstStyle/>
          <a:p>
            <a:r>
              <a:rPr lang="fr-FR" dirty="0"/>
              <a:t>SQL ou </a:t>
            </a:r>
            <a:r>
              <a:rPr lang="fr-FR" dirty="0" err="1"/>
              <a:t>noSQL</a:t>
            </a:r>
            <a:r>
              <a:rPr lang="fr-FR" dirty="0"/>
              <a:t> </a:t>
            </a:r>
            <a:r>
              <a:rPr lang="fr-FR" dirty="0" smtClean="0"/>
              <a:t>?</a:t>
            </a:r>
            <a:endParaRPr lang="fr-FR" dirty="0"/>
          </a:p>
        </p:txBody>
      </p:sp>
      <p:sp>
        <p:nvSpPr>
          <p:cNvPr id="28" name="Rectangle 27"/>
          <p:cNvSpPr/>
          <p:nvPr/>
        </p:nvSpPr>
        <p:spPr bwMode="auto">
          <a:xfrm>
            <a:off x="10294093" y="1887769"/>
            <a:ext cx="1828800" cy="1206042"/>
          </a:xfrm>
          <a:prstGeom prst="rect">
            <a:avLst/>
          </a:prstGeom>
          <a:solidFill>
            <a:schemeClr val="tx2"/>
          </a:solidFill>
          <a:ln w="3175">
            <a:solidFill>
              <a:schemeClr val="tx1">
                <a:alpha val="2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r>
              <a:rPr lang="en-US" sz="2000" dirty="0" smtClean="0">
                <a:gradFill>
                  <a:gsLst>
                    <a:gs pos="0">
                      <a:srgbClr val="FFFFFF"/>
                    </a:gs>
                    <a:gs pos="100000">
                      <a:srgbClr val="FFFFFF"/>
                    </a:gs>
                  </a:gsLst>
                  <a:lin ang="5400000" scaled="0"/>
                </a:gradFill>
              </a:rPr>
              <a:t>MongoDB</a:t>
            </a:r>
            <a:endParaRPr lang="en-US" sz="2000" dirty="0">
              <a:gradFill>
                <a:gsLst>
                  <a:gs pos="0">
                    <a:srgbClr val="FFFFFF"/>
                  </a:gs>
                  <a:gs pos="100000">
                    <a:srgbClr val="FFFFFF"/>
                  </a:gs>
                </a:gsLst>
                <a:lin ang="5400000" scaled="0"/>
              </a:gradFill>
            </a:endParaRPr>
          </a:p>
        </p:txBody>
      </p:sp>
      <p:sp>
        <p:nvSpPr>
          <p:cNvPr id="29" name="Rectangle 28"/>
          <p:cNvSpPr/>
          <p:nvPr/>
        </p:nvSpPr>
        <p:spPr bwMode="auto">
          <a:xfrm>
            <a:off x="10294093" y="4394431"/>
            <a:ext cx="1828800" cy="1206042"/>
          </a:xfrm>
          <a:prstGeom prst="rect">
            <a:avLst/>
          </a:prstGeom>
          <a:solidFill>
            <a:schemeClr val="tx2"/>
          </a:solidFill>
          <a:ln w="3175">
            <a:solidFill>
              <a:schemeClr val="tx1">
                <a:alpha val="2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r>
              <a:rPr lang="en-US" sz="2000" dirty="0" smtClean="0">
                <a:gradFill>
                  <a:gsLst>
                    <a:gs pos="0">
                      <a:srgbClr val="FFFFFF"/>
                    </a:gs>
                    <a:gs pos="100000">
                      <a:srgbClr val="FFFFFF"/>
                    </a:gs>
                  </a:gsLst>
                  <a:lin ang="5400000" scaled="0"/>
                </a:gradFill>
              </a:rPr>
              <a:t>Azure </a:t>
            </a:r>
            <a:r>
              <a:rPr lang="en-US" sz="2000" dirty="0" err="1" smtClean="0">
                <a:gradFill>
                  <a:gsLst>
                    <a:gs pos="0">
                      <a:srgbClr val="FFFFFF"/>
                    </a:gs>
                    <a:gs pos="100000">
                      <a:srgbClr val="FFFFFF"/>
                    </a:gs>
                  </a:gsLst>
                  <a:lin ang="5400000" scaled="0"/>
                </a:gradFill>
              </a:rPr>
              <a:t>DocumentDB</a:t>
            </a:r>
            <a:endParaRPr lang="en-US" sz="2000" dirty="0">
              <a:gradFill>
                <a:gsLst>
                  <a:gs pos="0">
                    <a:srgbClr val="FFFFFF"/>
                  </a:gs>
                  <a:gs pos="100000">
                    <a:srgbClr val="FFFFFF"/>
                  </a:gs>
                </a:gsLst>
                <a:lin ang="5400000" scaled="0"/>
              </a:gradFill>
            </a:endParaRPr>
          </a:p>
        </p:txBody>
      </p:sp>
      <p:sp>
        <p:nvSpPr>
          <p:cNvPr id="43" name="Rectangle 42"/>
          <p:cNvSpPr/>
          <p:nvPr/>
        </p:nvSpPr>
        <p:spPr bwMode="auto">
          <a:xfrm>
            <a:off x="625631" y="1814285"/>
            <a:ext cx="6099173" cy="4267200"/>
          </a:xfrm>
          <a:prstGeom prst="rect">
            <a:avLst/>
          </a:prstGeom>
          <a:noFill/>
          <a:ln w="6350">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defTabSz="932472" fontAlgn="base">
              <a:spcBef>
                <a:spcPct val="0"/>
              </a:spcBef>
              <a:spcAft>
                <a:spcPct val="0"/>
              </a:spcAft>
            </a:pPr>
            <a:r>
              <a:rPr lang="en-US" sz="2000" dirty="0" smtClean="0">
                <a:solidFill>
                  <a:schemeClr val="tx1"/>
                </a:solidFill>
              </a:rPr>
              <a:t> Document</a:t>
            </a:r>
            <a:endParaRPr lang="en-US" sz="2000" dirty="0">
              <a:solidFill>
                <a:schemeClr val="tx1"/>
              </a:solidFill>
            </a:endParaRPr>
          </a:p>
        </p:txBody>
      </p:sp>
      <p:sp>
        <p:nvSpPr>
          <p:cNvPr id="44" name="Rectangle 43"/>
          <p:cNvSpPr/>
          <p:nvPr/>
        </p:nvSpPr>
        <p:spPr bwMode="auto">
          <a:xfrm>
            <a:off x="787556" y="2269897"/>
            <a:ext cx="5708648" cy="3635375"/>
          </a:xfrm>
          <a:prstGeom prst="rect">
            <a:avLst/>
          </a:prstGeom>
          <a:noFill/>
          <a:ln w="66675" cmpd="sng">
            <a:solidFill>
              <a:schemeClr val="tx1"/>
            </a:solid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defTabSz="932472" fontAlgn="base">
              <a:spcBef>
                <a:spcPct val="0"/>
              </a:spcBef>
              <a:spcAft>
                <a:spcPct val="0"/>
              </a:spcAft>
            </a:pPr>
            <a:r>
              <a:rPr lang="en-US" sz="2000" dirty="0" smtClean="0">
                <a:solidFill>
                  <a:schemeClr val="tx1"/>
                </a:solidFill>
              </a:rPr>
              <a:t>  Articles</a:t>
            </a:r>
          </a:p>
        </p:txBody>
      </p:sp>
      <p:sp>
        <p:nvSpPr>
          <p:cNvPr id="45" name="Rectangle 44"/>
          <p:cNvSpPr/>
          <p:nvPr/>
        </p:nvSpPr>
        <p:spPr bwMode="auto">
          <a:xfrm>
            <a:off x="1016156" y="2803297"/>
            <a:ext cx="5251448" cy="1273175"/>
          </a:xfrm>
          <a:prstGeom prst="rect">
            <a:avLst/>
          </a:prstGeom>
          <a:noFill/>
          <a:ln w="41275">
            <a:solidFill>
              <a:schemeClr val="tx1"/>
            </a:solid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endParaRPr lang="en-US" sz="1600" dirty="0">
              <a:solidFill>
                <a:schemeClr val="tx1"/>
              </a:solidFill>
            </a:endParaRPr>
          </a:p>
        </p:txBody>
      </p:sp>
      <p:sp>
        <p:nvSpPr>
          <p:cNvPr id="46" name="Rectangle 45"/>
          <p:cNvSpPr/>
          <p:nvPr/>
        </p:nvSpPr>
        <p:spPr bwMode="auto">
          <a:xfrm>
            <a:off x="1176176" y="2971572"/>
            <a:ext cx="1120140" cy="358775"/>
          </a:xfrm>
          <a:prstGeom prst="rect">
            <a:avLst/>
          </a:prstGeom>
          <a:noFill/>
          <a:ln w="41275">
            <a:solidFill>
              <a:schemeClr val="tx1"/>
            </a:solid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r>
              <a:rPr lang="en-US" sz="1600" dirty="0" smtClean="0">
                <a:solidFill>
                  <a:schemeClr val="tx1"/>
                </a:solidFill>
              </a:rPr>
              <a:t>Title</a:t>
            </a:r>
            <a:endParaRPr lang="en-US" sz="1600" dirty="0">
              <a:solidFill>
                <a:schemeClr val="tx1"/>
              </a:solidFill>
            </a:endParaRPr>
          </a:p>
        </p:txBody>
      </p:sp>
      <p:sp>
        <p:nvSpPr>
          <p:cNvPr id="47" name="Rectangle 46"/>
          <p:cNvSpPr/>
          <p:nvPr/>
        </p:nvSpPr>
        <p:spPr bwMode="auto">
          <a:xfrm>
            <a:off x="4386561" y="2971344"/>
            <a:ext cx="1647711" cy="358775"/>
          </a:xfrm>
          <a:prstGeom prst="rect">
            <a:avLst/>
          </a:prstGeom>
          <a:noFill/>
          <a:ln w="41275">
            <a:solidFill>
              <a:schemeClr val="tx1"/>
            </a:solid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r>
              <a:rPr lang="en-US" sz="1600" dirty="0" smtClean="0">
                <a:solidFill>
                  <a:schemeClr val="tx1"/>
                </a:solidFill>
              </a:rPr>
              <a:t>Comment</a:t>
            </a:r>
            <a:endParaRPr lang="en-US" sz="1600" dirty="0">
              <a:solidFill>
                <a:schemeClr val="tx1"/>
              </a:solidFill>
            </a:endParaRPr>
          </a:p>
        </p:txBody>
      </p:sp>
      <p:sp>
        <p:nvSpPr>
          <p:cNvPr id="48" name="Rectangle 47"/>
          <p:cNvSpPr/>
          <p:nvPr/>
        </p:nvSpPr>
        <p:spPr bwMode="auto">
          <a:xfrm>
            <a:off x="4386561" y="3498621"/>
            <a:ext cx="1647711" cy="358775"/>
          </a:xfrm>
          <a:prstGeom prst="rect">
            <a:avLst/>
          </a:prstGeom>
          <a:noFill/>
          <a:ln w="41275">
            <a:solidFill>
              <a:schemeClr val="tx1"/>
            </a:solid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r>
              <a:rPr lang="en-US" sz="1600" dirty="0" smtClean="0">
                <a:solidFill>
                  <a:schemeClr val="tx1"/>
                </a:solidFill>
              </a:rPr>
              <a:t>Comment</a:t>
            </a:r>
            <a:endParaRPr lang="en-US" sz="1600" dirty="0">
              <a:solidFill>
                <a:schemeClr val="tx1"/>
              </a:solidFill>
            </a:endParaRPr>
          </a:p>
        </p:txBody>
      </p:sp>
      <p:sp>
        <p:nvSpPr>
          <p:cNvPr id="49" name="Rectangle 48"/>
          <p:cNvSpPr/>
          <p:nvPr/>
        </p:nvSpPr>
        <p:spPr bwMode="auto">
          <a:xfrm>
            <a:off x="1176176" y="3498622"/>
            <a:ext cx="1120140" cy="358775"/>
          </a:xfrm>
          <a:prstGeom prst="rect">
            <a:avLst/>
          </a:prstGeom>
          <a:noFill/>
          <a:ln w="41275">
            <a:solidFill>
              <a:schemeClr val="tx1"/>
            </a:solid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r>
              <a:rPr lang="en-US" sz="1600" dirty="0" smtClean="0">
                <a:solidFill>
                  <a:schemeClr val="tx1"/>
                </a:solidFill>
              </a:rPr>
              <a:t>URL</a:t>
            </a:r>
            <a:endParaRPr lang="en-US" sz="1600" dirty="0">
              <a:solidFill>
                <a:schemeClr val="tx1"/>
              </a:solidFill>
            </a:endParaRPr>
          </a:p>
        </p:txBody>
      </p:sp>
      <p:sp>
        <p:nvSpPr>
          <p:cNvPr id="50" name="Rectangle 49"/>
          <p:cNvSpPr/>
          <p:nvPr/>
        </p:nvSpPr>
        <p:spPr bwMode="auto">
          <a:xfrm>
            <a:off x="1033618" y="4327298"/>
            <a:ext cx="5233986" cy="1273175"/>
          </a:xfrm>
          <a:prstGeom prst="rect">
            <a:avLst/>
          </a:prstGeom>
          <a:noFill/>
          <a:ln w="41275">
            <a:solidFill>
              <a:schemeClr val="tx1"/>
            </a:solid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endParaRPr lang="en-US" sz="1600" dirty="0">
              <a:solidFill>
                <a:schemeClr val="tx1"/>
              </a:solidFill>
            </a:endParaRPr>
          </a:p>
        </p:txBody>
      </p:sp>
      <p:sp>
        <p:nvSpPr>
          <p:cNvPr id="51" name="Rectangle 50"/>
          <p:cNvSpPr/>
          <p:nvPr/>
        </p:nvSpPr>
        <p:spPr bwMode="auto">
          <a:xfrm>
            <a:off x="1193638" y="4495573"/>
            <a:ext cx="1120140" cy="358775"/>
          </a:xfrm>
          <a:prstGeom prst="rect">
            <a:avLst/>
          </a:prstGeom>
          <a:noFill/>
          <a:ln w="41275">
            <a:solidFill>
              <a:schemeClr val="tx1"/>
            </a:solid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r>
              <a:rPr lang="en-US" sz="1600" dirty="0" smtClean="0">
                <a:solidFill>
                  <a:schemeClr val="tx1"/>
                </a:solidFill>
              </a:rPr>
              <a:t>Title</a:t>
            </a:r>
            <a:endParaRPr lang="en-US" sz="1600" dirty="0">
              <a:solidFill>
                <a:schemeClr val="tx1"/>
              </a:solidFill>
            </a:endParaRPr>
          </a:p>
        </p:txBody>
      </p:sp>
      <p:sp>
        <p:nvSpPr>
          <p:cNvPr id="52" name="Rectangle 51"/>
          <p:cNvSpPr/>
          <p:nvPr/>
        </p:nvSpPr>
        <p:spPr bwMode="auto">
          <a:xfrm>
            <a:off x="4386561" y="4495646"/>
            <a:ext cx="1647711" cy="358775"/>
          </a:xfrm>
          <a:prstGeom prst="rect">
            <a:avLst/>
          </a:prstGeom>
          <a:noFill/>
          <a:ln w="41275">
            <a:solidFill>
              <a:schemeClr val="tx1"/>
            </a:solid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r>
              <a:rPr lang="en-US" sz="1600" dirty="0" smtClean="0">
                <a:solidFill>
                  <a:schemeClr val="tx1"/>
                </a:solidFill>
              </a:rPr>
              <a:t>Comment</a:t>
            </a:r>
            <a:endParaRPr lang="en-US" sz="1600" dirty="0">
              <a:solidFill>
                <a:schemeClr val="tx1"/>
              </a:solidFill>
            </a:endParaRPr>
          </a:p>
        </p:txBody>
      </p:sp>
      <p:sp>
        <p:nvSpPr>
          <p:cNvPr id="53" name="Rectangle 52"/>
          <p:cNvSpPr/>
          <p:nvPr/>
        </p:nvSpPr>
        <p:spPr bwMode="auto">
          <a:xfrm>
            <a:off x="2545297" y="4495572"/>
            <a:ext cx="1647711" cy="358775"/>
          </a:xfrm>
          <a:prstGeom prst="rect">
            <a:avLst/>
          </a:prstGeom>
          <a:noFill/>
          <a:ln w="41275">
            <a:solidFill>
              <a:schemeClr val="tx1"/>
            </a:solid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r>
              <a:rPr lang="en-US" sz="1600" dirty="0" smtClean="0">
                <a:solidFill>
                  <a:schemeClr val="tx1"/>
                </a:solidFill>
              </a:rPr>
              <a:t>Author</a:t>
            </a:r>
            <a:endParaRPr lang="en-US" sz="1600" dirty="0">
              <a:solidFill>
                <a:schemeClr val="tx1"/>
              </a:solidFill>
            </a:endParaRPr>
          </a:p>
        </p:txBody>
      </p:sp>
      <p:sp>
        <p:nvSpPr>
          <p:cNvPr id="54" name="Rectangle 53"/>
          <p:cNvSpPr/>
          <p:nvPr/>
        </p:nvSpPr>
        <p:spPr bwMode="auto">
          <a:xfrm>
            <a:off x="1193638" y="5022623"/>
            <a:ext cx="1120140" cy="358775"/>
          </a:xfrm>
          <a:prstGeom prst="rect">
            <a:avLst/>
          </a:prstGeom>
          <a:noFill/>
          <a:ln w="41275">
            <a:solidFill>
              <a:schemeClr val="tx1"/>
            </a:solid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r>
              <a:rPr lang="en-US" sz="1600" dirty="0" smtClean="0">
                <a:solidFill>
                  <a:schemeClr val="tx1"/>
                </a:solidFill>
              </a:rPr>
              <a:t>URL</a:t>
            </a:r>
            <a:endParaRPr lang="en-US" sz="1600" dirty="0">
              <a:solidFill>
                <a:schemeClr val="tx1"/>
              </a:solidFill>
            </a:endParaRPr>
          </a:p>
        </p:txBody>
      </p:sp>
      <p:pic>
        <p:nvPicPr>
          <p:cNvPr id="55" name="Picture 54"/>
          <p:cNvPicPr>
            <a:picLocks noChangeAspect="1"/>
          </p:cNvPicPr>
          <p:nvPr/>
        </p:nvPicPr>
        <p:blipFill>
          <a:blip r:embed="rId3"/>
          <a:stretch>
            <a:fillRect/>
          </a:stretch>
        </p:blipFill>
        <p:spPr>
          <a:xfrm>
            <a:off x="7971464" y="4137703"/>
            <a:ext cx="1283276" cy="1663565"/>
          </a:xfrm>
          <a:prstGeom prst="rect">
            <a:avLst/>
          </a:prstGeom>
        </p:spPr>
      </p:pic>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75587" y="1996359"/>
            <a:ext cx="2969485" cy="988862"/>
          </a:xfrm>
          <a:prstGeom prst="rect">
            <a:avLst/>
          </a:prstGeom>
        </p:spPr>
      </p:pic>
      <p:sp>
        <p:nvSpPr>
          <p:cNvPr id="21" name="Rectangle 20"/>
          <p:cNvSpPr/>
          <p:nvPr/>
        </p:nvSpPr>
        <p:spPr bwMode="auto">
          <a:xfrm>
            <a:off x="2545297" y="5022621"/>
            <a:ext cx="1647711" cy="358775"/>
          </a:xfrm>
          <a:prstGeom prst="rect">
            <a:avLst/>
          </a:prstGeom>
          <a:noFill/>
          <a:ln w="41275">
            <a:solidFill>
              <a:schemeClr val="tx1"/>
            </a:solid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r>
              <a:rPr lang="en-US" sz="1600" dirty="0" smtClean="0">
                <a:solidFill>
                  <a:schemeClr val="tx1"/>
                </a:solidFill>
              </a:rPr>
              <a:t>Author</a:t>
            </a:r>
            <a:endParaRPr lang="en-US" sz="1600" dirty="0">
              <a:solidFill>
                <a:schemeClr val="tx1"/>
              </a:solidFill>
            </a:endParaRPr>
          </a:p>
        </p:txBody>
      </p:sp>
      <p:sp>
        <p:nvSpPr>
          <p:cNvPr id="22" name="Rectangle 21"/>
          <p:cNvSpPr/>
          <p:nvPr/>
        </p:nvSpPr>
        <p:spPr bwMode="auto">
          <a:xfrm>
            <a:off x="2545297" y="2967307"/>
            <a:ext cx="1647711" cy="358775"/>
          </a:xfrm>
          <a:prstGeom prst="rect">
            <a:avLst/>
          </a:prstGeom>
          <a:noFill/>
          <a:ln w="41275">
            <a:solidFill>
              <a:schemeClr val="tx1"/>
            </a:solid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r>
              <a:rPr lang="en-US" sz="1600" dirty="0" smtClean="0">
                <a:solidFill>
                  <a:schemeClr val="tx1"/>
                </a:solidFill>
              </a:rPr>
              <a:t>Author</a:t>
            </a:r>
            <a:endParaRPr lang="en-US" sz="1600" dirty="0">
              <a:solidFill>
                <a:schemeClr val="tx1"/>
              </a:solidFill>
            </a:endParaRPr>
          </a:p>
        </p:txBody>
      </p:sp>
    </p:spTree>
    <p:extLst>
      <p:ext uri="{BB962C8B-B14F-4D97-AF65-F5344CB8AC3E}">
        <p14:creationId xmlns:p14="http://schemas.microsoft.com/office/powerpoint/2010/main" val="26205334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9"/>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55"/>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9"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qgqd_EtdK0mBCXdrjjRQh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qgqd_EtdK0mBCXdrjjRQh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qgqd_EtdK0mBCXdrjjRQh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qgqd_EtdK0mBCXdrjjRQh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qgqd_EtdK0mBCXdrjjRQh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qgqd_EtdK0mBCXdrjjRQh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qgqd_EtdK0mBCXdrjjRQh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qgqd_EtdK0mBCXdrjjRQh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5rEXt8STxUy5UIXINzsJ5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5rEXt8STxUy5UIXINzsJ5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qgqd_EtdK0mBCXdrjjRQh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qgqd_EtdK0mBCXdrjjRQh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qgqd_EtdK0mBCXdrjjRQh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qgqd_EtdK0mBCXdrjjRQhw"/>
</p:tagLst>
</file>

<file path=ppt/theme/theme1.xml><?xml version="1.0" encoding="utf-8"?>
<a:theme xmlns:a="http://schemas.openxmlformats.org/drawingml/2006/main" name="WHITE TEMPLATE">
  <a:themeElements>
    <a:clrScheme name="MSVID White and Purple">
      <a:dk1>
        <a:srgbClr val="505050"/>
      </a:dk1>
      <a:lt1>
        <a:srgbClr val="FFFFFF"/>
      </a:lt1>
      <a:dk2>
        <a:srgbClr val="5C2D91"/>
      </a:dk2>
      <a:lt2>
        <a:srgbClr val="E7DCF4"/>
      </a:lt2>
      <a:accent1>
        <a:srgbClr val="5C2D91"/>
      </a:accent1>
      <a:accent2>
        <a:srgbClr val="B4009E"/>
      </a:accent2>
      <a:accent3>
        <a:srgbClr val="32145A"/>
      </a:accent3>
      <a:accent4>
        <a:srgbClr val="0078D7"/>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bodyPr vert="horz" lIns="91440" tIns="45720" rIns="91440" bIns="45720" rtlCol="0" anchor="ctr"/>
      <a:lstStyle>
        <a:defPPr>
          <a:defRPr dirty="0" smtClean="0"/>
        </a:defPPr>
      </a:lstStyle>
    </a:txDef>
  </a:objectDefaults>
  <a:extraClrSchemeLst/>
  <a:extLst>
    <a:ext uri="{05A4C25C-085E-4340-85A3-A5531E510DB2}">
      <thm15:themeFamily xmlns:thm15="http://schemas.microsoft.com/office/thememl/2012/main" name="Template Techdays 2015.potx" id="{927978C5-0A74-4CF6-A016-C276384D08CB}" vid="{27EA675C-1438-40C5-892C-9271A9830D01}"/>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Company Meeting 2011">
    <a:dk1>
      <a:srgbClr val="292929"/>
    </a:dk1>
    <a:lt1>
      <a:srgbClr val="FFFFFF"/>
    </a:lt1>
    <a:dk2>
      <a:srgbClr val="5F5F5F"/>
    </a:dk2>
    <a:lt2>
      <a:srgbClr val="DDDDDD"/>
    </a:lt2>
    <a:accent1>
      <a:srgbClr val="FFBE0E"/>
    </a:accent1>
    <a:accent2>
      <a:srgbClr val="000092"/>
    </a:accent2>
    <a:accent3>
      <a:srgbClr val="FF0097"/>
    </a:accent3>
    <a:accent4>
      <a:srgbClr val="8CC600"/>
    </a:accent4>
    <a:accent5>
      <a:srgbClr val="09AEEF"/>
    </a:accent5>
    <a:accent6>
      <a:srgbClr val="910091"/>
    </a:accent6>
    <a:hlink>
      <a:srgbClr val="3F3F9B"/>
    </a:hlink>
    <a:folHlink>
      <a:srgbClr val="3F3F9B"/>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38FDE1AEFC2724EB5E89BA27808351C" ma:contentTypeVersion="3" ma:contentTypeDescription="Crée un document." ma:contentTypeScope="" ma:versionID="911e11aa3a7cf69374b71bd39d4c182f">
  <xsd:schema xmlns:xsd="http://www.w3.org/2001/XMLSchema" xmlns:xs="http://www.w3.org/2001/XMLSchema" xmlns:p="http://schemas.microsoft.com/office/2006/metadata/properties" xmlns:ns2="aa35d321-db2c-42ab-a621-b5e3f2de858c" targetNamespace="http://schemas.microsoft.com/office/2006/metadata/properties" ma:root="true" ma:fieldsID="84e7031b51a06c5a8c8ec1c8b23af2b0" ns2:_="">
    <xsd:import namespace="aa35d321-db2c-42ab-a621-b5e3f2de858c"/>
    <xsd:element name="properties">
      <xsd:complexType>
        <xsd:sequence>
          <xsd:element name="documentManagement">
            <xsd:complexType>
              <xsd:all>
                <xsd:element ref="ns2:SharedWithUsers" minOccurs="0"/>
                <xsd:element ref="ns2:SharingHintHash" minOccurs="0"/>
                <xsd:element ref="ns2: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a35d321-db2c-42ab-a621-b5e3f2de858c" elementFormDefault="qualified">
    <xsd:import namespace="http://schemas.microsoft.com/office/2006/documentManagement/types"/>
    <xsd:import namespace="http://schemas.microsoft.com/office/infopath/2007/PartnerControls"/>
    <xsd:element name="SharedWithUsers" ma:index="8"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ingHintHash" ma:index="9" nillable="true" ma:displayName="Partage du hachage d’indicateur" ma:internalName="SharingHintHash" ma:readOnly="true">
      <xsd:simpleType>
        <xsd:restriction base="dms:Text"/>
      </xsd:simpleType>
    </xsd:element>
    <xsd:element name="SharedWithDetails" ma:index="10" nillable="true" ma:displayName="Partagé avec dé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aa35d321-db2c-42ab-a621-b5e3f2de858c">
      <UserInfo>
        <DisplayName>Stéphane Goudeau</DisplayName>
        <AccountId>201</AccountId>
        <AccountType/>
      </UserInfo>
      <UserInfo>
        <DisplayName>Sébastien Pertus</DisplayName>
        <AccountId>191</AccountId>
        <AccountType/>
      </UserInfo>
    </SharedWithUsers>
    <SharingHintHash xmlns="aa35d321-db2c-42ab-a621-b5e3f2de858c">-690871027</SharingHintHash>
  </documentManagement>
</p:properties>
</file>

<file path=customXml/itemProps1.xml><?xml version="1.0" encoding="utf-8"?>
<ds:datastoreItem xmlns:ds="http://schemas.openxmlformats.org/officeDocument/2006/customXml" ds:itemID="{E401642A-157E-421F-8DC0-60E9E9457B91}"/>
</file>

<file path=customXml/itemProps2.xml><?xml version="1.0" encoding="utf-8"?>
<ds:datastoreItem xmlns:ds="http://schemas.openxmlformats.org/officeDocument/2006/customXml" ds:itemID="{758FDAC0-319D-4A54-8D8E-1D42CB1F8004}"/>
</file>

<file path=customXml/itemProps3.xml><?xml version="1.0" encoding="utf-8"?>
<ds:datastoreItem xmlns:ds="http://schemas.openxmlformats.org/officeDocument/2006/customXml" ds:itemID="{F990F116-B58F-4255-B05B-DA3808E0E5C6}"/>
</file>

<file path=docProps/app.xml><?xml version="1.0" encoding="utf-8"?>
<Properties xmlns="http://schemas.openxmlformats.org/officeDocument/2006/extended-properties" xmlns:vt="http://schemas.openxmlformats.org/officeDocument/2006/docPropsVTypes">
  <Template/>
  <TotalTime>3513</TotalTime>
  <Words>9634</Words>
  <Application>Microsoft Office PowerPoint</Application>
  <PresentationFormat>Custom</PresentationFormat>
  <Paragraphs>1387</Paragraphs>
  <Slides>64</Slides>
  <Notes>38</Notes>
  <HiddenSlides>1</HiddenSlides>
  <MMClips>0</MMClips>
  <ScaleCrop>false</ScaleCrop>
  <HeadingPairs>
    <vt:vector size="8" baseType="variant">
      <vt:variant>
        <vt:lpstr>Fonts Used</vt:lpstr>
      </vt:variant>
      <vt:variant>
        <vt:i4>17</vt:i4>
      </vt:variant>
      <vt:variant>
        <vt:lpstr>Theme</vt:lpstr>
      </vt:variant>
      <vt:variant>
        <vt:i4>1</vt:i4>
      </vt:variant>
      <vt:variant>
        <vt:lpstr>Embedded OLE Servers</vt:lpstr>
      </vt:variant>
      <vt:variant>
        <vt:i4>1</vt:i4>
      </vt:variant>
      <vt:variant>
        <vt:lpstr>Slide Titles</vt:lpstr>
      </vt:variant>
      <vt:variant>
        <vt:i4>64</vt:i4>
      </vt:variant>
    </vt:vector>
  </HeadingPairs>
  <TitlesOfParts>
    <vt:vector size="83" baseType="lpstr">
      <vt:lpstr>SimSun</vt:lpstr>
      <vt:lpstr>Arial</vt:lpstr>
      <vt:lpstr>Calibri</vt:lpstr>
      <vt:lpstr>Calibri Light</vt:lpstr>
      <vt:lpstr>Consolas</vt:lpstr>
      <vt:lpstr>MS PGothic</vt:lpstr>
      <vt:lpstr>MS PGothic</vt:lpstr>
      <vt:lpstr>Segoe Light</vt:lpstr>
      <vt:lpstr>Segoe Pro Display Light</vt:lpstr>
      <vt:lpstr>Segoe Pro Light</vt:lpstr>
      <vt:lpstr>Segoe UI</vt:lpstr>
      <vt:lpstr>Segoe UI Black</vt:lpstr>
      <vt:lpstr>Segoe UI Light</vt:lpstr>
      <vt:lpstr>Segoe UI Semibold</vt:lpstr>
      <vt:lpstr>SketchFlow Print</vt:lpstr>
      <vt:lpstr>Wingdings</vt:lpstr>
      <vt:lpstr>Wingdings 3</vt:lpstr>
      <vt:lpstr>WHITE TEMPLATE</vt:lpstr>
      <vt:lpstr>think-cell Slide</vt:lpstr>
      <vt:lpstr>PowerPoint Presentation</vt:lpstr>
      <vt:lpstr>SQL ou noSQL ?</vt:lpstr>
      <vt:lpstr>Données, données, données …. </vt:lpstr>
      <vt:lpstr>Catégoriser les données</vt:lpstr>
      <vt:lpstr>Technologies sur Azure</vt:lpstr>
      <vt:lpstr>La base du noSQL</vt:lpstr>
      <vt:lpstr>Les familles de bases de données noSQL</vt:lpstr>
      <vt:lpstr>Les familles de bases de données noSQL</vt:lpstr>
      <vt:lpstr>Les familles de bases de données noSQL</vt:lpstr>
      <vt:lpstr>Les familles de bases de données noSQL</vt:lpstr>
      <vt:lpstr>Azure DocumentDB</vt:lpstr>
      <vt:lpstr>Azure DocumentDB</vt:lpstr>
      <vt:lpstr>Azure DocumentDB customers</vt:lpstr>
      <vt:lpstr>Document database</vt:lpstr>
      <vt:lpstr>La hiérarchie</vt:lpstr>
      <vt:lpstr>Le requêtage</vt:lpstr>
      <vt:lpstr>Azure DocumentDB</vt:lpstr>
      <vt:lpstr>Azure SQL Database SQL 2016 CTP 2.2</vt:lpstr>
      <vt:lpstr>Base de données SQL Server sur Azure</vt:lpstr>
      <vt:lpstr>SQL Server 2016 Timeline</vt:lpstr>
      <vt:lpstr>SQL Server 2016</vt:lpstr>
      <vt:lpstr>Amélioration de la stack In Memory</vt:lpstr>
      <vt:lpstr>Toujours Encrypté </vt:lpstr>
      <vt:lpstr>Temporal</vt:lpstr>
      <vt:lpstr>Temporal. Comment ça marche</vt:lpstr>
      <vt:lpstr>Temporal. Comment ça marche</vt:lpstr>
      <vt:lpstr>Temporal</vt:lpstr>
      <vt:lpstr>Temporal</vt:lpstr>
      <vt:lpstr>JSON est une référence partout aujourd’hui</vt:lpstr>
      <vt:lpstr>JSON to Table</vt:lpstr>
      <vt:lpstr>Table to JSON</vt:lpstr>
      <vt:lpstr>Fonctions</vt:lpstr>
      <vt:lpstr>JSON</vt:lpstr>
      <vt:lpstr>Mais encore…</vt:lpstr>
      <vt:lpstr>SQL Server 2016</vt:lpstr>
      <vt:lpstr>PolyBase </vt:lpstr>
      <vt:lpstr>Polybase</vt:lpstr>
      <vt:lpstr>Intégration de scripts R</vt:lpstr>
      <vt:lpstr>Mais encore…</vt:lpstr>
      <vt:lpstr>SQL Server 2016</vt:lpstr>
      <vt:lpstr>Stretch : SQL Server &amp; Azure </vt:lpstr>
      <vt:lpstr>Stretch Database</vt:lpstr>
      <vt:lpstr>Temporal et Stretch : La killer feature que les autres ont pas</vt:lpstr>
      <vt:lpstr>Mais encore …</vt:lpstr>
      <vt:lpstr>Implémenter une application SaaS orientée données avec les innovations Azure SQL Database</vt:lpstr>
      <vt:lpstr>Notre cahier des charges…</vt:lpstr>
      <vt:lpstr>Le plus simple des trois…</vt:lpstr>
      <vt:lpstr>Problématique #1 : Factorisation multi-database</vt:lpstr>
      <vt:lpstr>Problématique #2 : Data-Dependent Routing</vt:lpstr>
      <vt:lpstr>Une solution existante : les outils Elastic Database</vt:lpstr>
      <vt:lpstr>Problématique #3 : Scale-Up, Scale-Down  </vt:lpstr>
      <vt:lpstr>Problématique #3 : Scale-Up, Scale-Down </vt:lpstr>
      <vt:lpstr>Une solution existante : Choix du niveau de service</vt:lpstr>
      <vt:lpstr>Problématique #4 : La performance n’est pas prédictible, le nombre de bases est très élevé</vt:lpstr>
      <vt:lpstr>Une nouvelle solution : Elastic database Pools</vt:lpstr>
      <vt:lpstr>Problématique #5 : Requête multi-database</vt:lpstr>
      <vt:lpstr>Une nouvelle solution : Elastic Database Query</vt:lpstr>
      <vt:lpstr>Problématique #6 : Administration multi-database</vt:lpstr>
      <vt:lpstr>Une nouvelle solution : Elastic Database Jobs</vt:lpstr>
      <vt:lpstr>Conclusion</vt:lpstr>
      <vt:lpstr>Elastic Database</vt:lpstr>
      <vt:lpstr>Ressources</vt:lpstr>
      <vt:lpstr>Démarrez avec votre Azure</vt:lpstr>
      <vt:lpstr>PowerPoint Presentation</vt:lpstr>
    </vt:vector>
  </TitlesOfParts>
  <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lt;Speech title here&gt;</dc:subject>
  <dc:creator>Benjamin Talmard</dc:creator>
  <cp:keywords>Techdays</cp:keywords>
  <dc:description>Template: Maryfj_x000d_
Formatting: _x000d_
Audience Type:</dc:description>
  <cp:lastModifiedBy>Benjamin Talmard</cp:lastModifiedBy>
  <cp:revision>286</cp:revision>
  <dcterms:created xsi:type="dcterms:W3CDTF">2015-01-22T17:31:49Z</dcterms:created>
  <dcterms:modified xsi:type="dcterms:W3CDTF">2015-08-27T09:19: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38FDE1AEFC2724EB5E89BA27808351C</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ies>
</file>